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3.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9" r:id="rId2"/>
    <p:sldMasterId id="2147483741" r:id="rId3"/>
    <p:sldMasterId id="2147483768" r:id="rId4"/>
    <p:sldMasterId id="2147483773" r:id="rId5"/>
  </p:sldMasterIdLst>
  <p:notesMasterIdLst>
    <p:notesMasterId r:id="rId29"/>
  </p:notesMasterIdLst>
  <p:sldIdLst>
    <p:sldId id="482" r:id="rId6"/>
    <p:sldId id="506" r:id="rId7"/>
    <p:sldId id="503" r:id="rId8"/>
    <p:sldId id="504" r:id="rId9"/>
    <p:sldId id="485" r:id="rId10"/>
    <p:sldId id="486" r:id="rId11"/>
    <p:sldId id="435" r:id="rId12"/>
    <p:sldId id="505" r:id="rId13"/>
    <p:sldId id="490" r:id="rId14"/>
    <p:sldId id="480" r:id="rId15"/>
    <p:sldId id="478" r:id="rId16"/>
    <p:sldId id="491" r:id="rId17"/>
    <p:sldId id="501" r:id="rId18"/>
    <p:sldId id="481" r:id="rId19"/>
    <p:sldId id="492" r:id="rId20"/>
    <p:sldId id="493" r:id="rId21"/>
    <p:sldId id="494" r:id="rId22"/>
    <p:sldId id="495" r:id="rId23"/>
    <p:sldId id="496" r:id="rId24"/>
    <p:sldId id="497" r:id="rId25"/>
    <p:sldId id="498" r:id="rId26"/>
    <p:sldId id="499" r:id="rId27"/>
    <p:sldId id="474"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204B"/>
    <a:srgbClr val="005EB8"/>
    <a:srgbClr val="F68D2E"/>
    <a:srgbClr val="00338D"/>
    <a:srgbClr val="00B050"/>
    <a:srgbClr val="0091DA"/>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434" autoAdjust="0"/>
  </p:normalViewPr>
  <p:slideViewPr>
    <p:cSldViewPr snapToGrid="0" showGuides="1">
      <p:cViewPr>
        <p:scale>
          <a:sx n="82" d="100"/>
          <a:sy n="82" d="100"/>
        </p:scale>
        <p:origin x="96"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presProps" Target="presProps.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867954911433206E-2"/>
          <c:y val="0.17992781581006526"/>
          <c:w val="0.92914653784219003"/>
          <c:h val="0.5329427167134686"/>
        </c:manualLayout>
      </c:layout>
      <c:barChart>
        <c:barDir val="col"/>
        <c:grouping val="clustered"/>
        <c:varyColors val="0"/>
        <c:ser>
          <c:idx val="0"/>
          <c:order val="0"/>
          <c:tx>
            <c:strRef>
              <c:f>Sheet1!$B$1</c:f>
              <c:strCache>
                <c:ptCount val="1"/>
                <c:pt idx="0">
                  <c:v>Total Population</c:v>
                </c:pt>
              </c:strCache>
            </c:strRef>
          </c:tx>
          <c:spPr>
            <a:solidFill>
              <a:schemeClr val="accent1"/>
            </a:solidFill>
            <a:ln>
              <a:noFill/>
            </a:ln>
            <a:effectLst/>
          </c:spPr>
          <c:invertIfNegative val="0"/>
          <c:dLbls>
            <c:dLbl>
              <c:idx val="6"/>
              <c:layout>
                <c:manualLayout>
                  <c:x val="1.1808773943670744E-16"/>
                  <c:y val="1.6132201058882092E-2"/>
                </c:manualLayout>
              </c:layout>
              <c:dLblPos val="outEnd"/>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ECC-423B-BBEE-E0324CBB5430}"/>
                </c:ext>
                <c:ext xmlns:c15="http://schemas.microsoft.com/office/drawing/2012/chart" uri="{CE6537A1-D6FC-4f65-9D91-7224C49458BB}"/>
              </c:extLst>
            </c:dLbl>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7:$A$13</c:f>
              <c:numCache>
                <c:formatCode>General</c:formatCode>
                <c:ptCount val="7"/>
                <c:pt idx="0">
                  <c:v>1951</c:v>
                </c:pt>
                <c:pt idx="1">
                  <c:v>1961</c:v>
                </c:pt>
                <c:pt idx="2">
                  <c:v>1971</c:v>
                </c:pt>
                <c:pt idx="3">
                  <c:v>1981</c:v>
                </c:pt>
                <c:pt idx="4">
                  <c:v>1991</c:v>
                </c:pt>
                <c:pt idx="5">
                  <c:v>2001</c:v>
                </c:pt>
                <c:pt idx="6">
                  <c:v>2011</c:v>
                </c:pt>
              </c:numCache>
            </c:numRef>
          </c:cat>
          <c:val>
            <c:numRef>
              <c:f>Sheet1!$B$7:$B$13</c:f>
              <c:numCache>
                <c:formatCode>General</c:formatCode>
                <c:ptCount val="7"/>
                <c:pt idx="0">
                  <c:v>361.1</c:v>
                </c:pt>
                <c:pt idx="1">
                  <c:v>439.2</c:v>
                </c:pt>
                <c:pt idx="2">
                  <c:v>548.20000000000005</c:v>
                </c:pt>
                <c:pt idx="3">
                  <c:v>683.3</c:v>
                </c:pt>
                <c:pt idx="4">
                  <c:v>846.3</c:v>
                </c:pt>
                <c:pt idx="5">
                  <c:v>1028.5999999999999</c:v>
                </c:pt>
                <c:pt idx="6">
                  <c:v>1210.8</c:v>
                </c:pt>
              </c:numCache>
            </c:numRef>
          </c:val>
          <c:extLst xmlns:c16r2="http://schemas.microsoft.com/office/drawing/2015/06/chart">
            <c:ext xmlns:c16="http://schemas.microsoft.com/office/drawing/2014/chart" uri="{C3380CC4-5D6E-409C-BE32-E72D297353CC}">
              <c16:uniqueId val="{00000001-DECC-423B-BBEE-E0324CBB5430}"/>
            </c:ext>
          </c:extLst>
        </c:ser>
        <c:ser>
          <c:idx val="1"/>
          <c:order val="1"/>
          <c:tx>
            <c:strRef>
              <c:f>Sheet1!$C$1</c:f>
              <c:strCache>
                <c:ptCount val="1"/>
                <c:pt idx="0">
                  <c:v>Urban Populatio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7:$A$13</c:f>
              <c:numCache>
                <c:formatCode>General</c:formatCode>
                <c:ptCount val="7"/>
                <c:pt idx="0">
                  <c:v>1951</c:v>
                </c:pt>
                <c:pt idx="1">
                  <c:v>1961</c:v>
                </c:pt>
                <c:pt idx="2">
                  <c:v>1971</c:v>
                </c:pt>
                <c:pt idx="3">
                  <c:v>1981</c:v>
                </c:pt>
                <c:pt idx="4">
                  <c:v>1991</c:v>
                </c:pt>
                <c:pt idx="5">
                  <c:v>2001</c:v>
                </c:pt>
                <c:pt idx="6">
                  <c:v>2011</c:v>
                </c:pt>
              </c:numCache>
            </c:numRef>
          </c:cat>
          <c:val>
            <c:numRef>
              <c:f>Sheet1!$C$7:$C$13</c:f>
              <c:numCache>
                <c:formatCode>General</c:formatCode>
                <c:ptCount val="7"/>
                <c:pt idx="0">
                  <c:v>62.4</c:v>
                </c:pt>
                <c:pt idx="1">
                  <c:v>78.900000000000006</c:v>
                </c:pt>
                <c:pt idx="2">
                  <c:v>109.1</c:v>
                </c:pt>
                <c:pt idx="3">
                  <c:v>159.5</c:v>
                </c:pt>
                <c:pt idx="4">
                  <c:v>217.6</c:v>
                </c:pt>
                <c:pt idx="5">
                  <c:v>286.10000000000002</c:v>
                </c:pt>
                <c:pt idx="6">
                  <c:v>377.1</c:v>
                </c:pt>
              </c:numCache>
            </c:numRef>
          </c:val>
          <c:extLst xmlns:c16r2="http://schemas.microsoft.com/office/drawing/2015/06/chart">
            <c:ext xmlns:c16="http://schemas.microsoft.com/office/drawing/2014/chart" uri="{C3380CC4-5D6E-409C-BE32-E72D297353CC}">
              <c16:uniqueId val="{00000002-DECC-423B-BBEE-E0324CBB5430}"/>
            </c:ext>
          </c:extLst>
        </c:ser>
        <c:dLbls>
          <c:showLegendKey val="0"/>
          <c:showVal val="1"/>
          <c:showCatName val="0"/>
          <c:showSerName val="0"/>
          <c:showPercent val="0"/>
          <c:showBubbleSize val="0"/>
        </c:dLbls>
        <c:gapWidth val="219"/>
        <c:overlap val="-27"/>
        <c:axId val="301625728"/>
        <c:axId val="301635520"/>
      </c:barChart>
      <c:catAx>
        <c:axId val="301625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301635520"/>
        <c:crosses val="autoZero"/>
        <c:auto val="1"/>
        <c:lblAlgn val="ctr"/>
        <c:lblOffset val="100"/>
        <c:noMultiLvlLbl val="0"/>
      </c:catAx>
      <c:valAx>
        <c:axId val="301635520"/>
        <c:scaling>
          <c:orientation val="minMax"/>
        </c:scaling>
        <c:delete val="1"/>
        <c:axPos val="l"/>
        <c:numFmt formatCode="General" sourceLinked="1"/>
        <c:majorTickMark val="none"/>
        <c:minorTickMark val="none"/>
        <c:tickLblPos val="none"/>
        <c:crossAx val="301625728"/>
        <c:crosses val="autoZero"/>
        <c:crossBetween val="between"/>
      </c:valAx>
      <c:spPr>
        <a:noFill/>
        <a:ln>
          <a:noFill/>
        </a:ln>
        <a:effectLst/>
      </c:spPr>
    </c:plotArea>
    <c:legend>
      <c:legendPos val="b"/>
      <c:layout>
        <c:manualLayout>
          <c:xMode val="edge"/>
          <c:yMode val="edge"/>
          <c:x val="6.5289157695867725E-2"/>
          <c:y val="0.87675548833569905"/>
          <c:w val="0.86942143101677538"/>
          <c:h val="0.12324451166430117"/>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solidFill>
        <a:schemeClr val="accent2"/>
      </a:solidFill>
    </a:ln>
    <a:effectLst/>
  </c:spPr>
  <c:txPr>
    <a:bodyPr/>
    <a:lstStyle/>
    <a:p>
      <a:pPr>
        <a:defRPr>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426731078905004E-2"/>
          <c:y val="0.23116583253586484"/>
          <c:w val="0.92914653784219003"/>
          <c:h val="0.51113054382643131"/>
        </c:manualLayout>
      </c:layout>
      <c:lineChart>
        <c:grouping val="standard"/>
        <c:varyColors val="0"/>
        <c:ser>
          <c:idx val="0"/>
          <c:order val="0"/>
          <c:tx>
            <c:strRef>
              <c:f>Sheet1!$B$1</c:f>
              <c:strCache>
                <c:ptCount val="1"/>
                <c:pt idx="0">
                  <c:v>Total Population</c:v>
                </c:pt>
              </c:strCache>
            </c:strRef>
          </c:tx>
          <c:spPr>
            <a:ln w="28575" cap="rnd">
              <a:solidFill>
                <a:schemeClr val="accent1"/>
              </a:solidFill>
              <a:round/>
            </a:ln>
            <a:effectLst/>
          </c:spPr>
          <c:marker>
            <c:symbol val="none"/>
          </c:marker>
          <c:dLbls>
            <c:dLbl>
              <c:idx val="0"/>
              <c:layout>
                <c:manualLayout>
                  <c:x val="-6.0901771336553966E-2"/>
                  <c:y val="4.1585451385271505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525-46A7-99AD-036DDA1AB620}"/>
                </c:ext>
                <c:ext xmlns:c15="http://schemas.microsoft.com/office/drawing/2012/chart" uri="{CE6537A1-D6FC-4f65-9D91-7224C49458BB}"/>
              </c:extLst>
            </c:dLbl>
            <c:dLbl>
              <c:idx val="1"/>
              <c:layout>
                <c:manualLayout>
                  <c:x val="-3.7173976441350648E-2"/>
                  <c:y val="4.6761800049494054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525-46A7-99AD-036DDA1AB620}"/>
                </c:ext>
                <c:ext xmlns:c15="http://schemas.microsoft.com/office/drawing/2012/chart" uri="{CE6537A1-D6FC-4f65-9D91-7224C49458BB}"/>
              </c:extLst>
            </c:dLbl>
            <c:dLbl>
              <c:idx val="2"/>
              <c:layout>
                <c:manualLayout>
                  <c:x val="-4.8019323671497575E-2"/>
                  <c:y val="0.10060651501144979"/>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525-46A7-99AD-036DDA1AB620}"/>
                </c:ext>
                <c:ext xmlns:c15="http://schemas.microsoft.com/office/drawing/2012/chart" uri="{CE6537A1-D6FC-4f65-9D91-7224C49458BB}"/>
              </c:extLst>
            </c:dLbl>
            <c:dLbl>
              <c:idx val="3"/>
              <c:layout>
                <c:manualLayout>
                  <c:x val="-7.0563607085346272E-2"/>
                  <c:y val="5.1422295322967985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525-46A7-99AD-036DDA1AB620}"/>
                </c:ext>
                <c:ext xmlns:c15="http://schemas.microsoft.com/office/drawing/2012/chart" uri="{CE6537A1-D6FC-4f65-9D91-7224C49458BB}"/>
              </c:extLst>
            </c:dLbl>
            <c:dLbl>
              <c:idx val="4"/>
              <c:layout>
                <c:manualLayout>
                  <c:x val="-6.4122383252818063E-2"/>
                  <c:y val="4.6503873354119707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D525-46A7-99AD-036DDA1AB620}"/>
                </c:ext>
                <c:ext xmlns:c15="http://schemas.microsoft.com/office/drawing/2012/chart" uri="{CE6537A1-D6FC-4f65-9D91-7224C49458BB}"/>
              </c:extLst>
            </c:dLbl>
            <c:dLbl>
              <c:idx val="5"/>
              <c:layout>
                <c:manualLayout>
                  <c:x val="-7.7004830917874412E-2"/>
                  <c:y val="7.1095983198360829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D525-46A7-99AD-036DDA1AB620}"/>
                </c:ext>
                <c:ext xmlns:c15="http://schemas.microsoft.com/office/drawing/2012/chart" uri="{CE6537A1-D6FC-4f65-9D91-7224C49458BB}"/>
              </c:extLst>
            </c:dLbl>
            <c:dLbl>
              <c:idx val="6"/>
              <c:layout>
                <c:manualLayout>
                  <c:x val="-5.353062751214073E-2"/>
                  <c:y val="3.1748607447575253E-2"/>
                </c:manualLayout>
              </c:layout>
              <c:dLblPos val="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D525-46A7-99AD-036DDA1AB620}"/>
                </c:ex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6:$A$12</c:f>
              <c:numCache>
                <c:formatCode>General</c:formatCode>
                <c:ptCount val="7"/>
                <c:pt idx="0">
                  <c:v>1951</c:v>
                </c:pt>
                <c:pt idx="1">
                  <c:v>1961</c:v>
                </c:pt>
                <c:pt idx="2">
                  <c:v>1971</c:v>
                </c:pt>
                <c:pt idx="3">
                  <c:v>1981</c:v>
                </c:pt>
                <c:pt idx="4">
                  <c:v>1991</c:v>
                </c:pt>
                <c:pt idx="5">
                  <c:v>2001</c:v>
                </c:pt>
                <c:pt idx="6">
                  <c:v>2011</c:v>
                </c:pt>
              </c:numCache>
            </c:numRef>
          </c:cat>
          <c:val>
            <c:numRef>
              <c:f>Sheet1!$B$6:$B$12</c:f>
              <c:numCache>
                <c:formatCode>General</c:formatCode>
                <c:ptCount val="7"/>
                <c:pt idx="0">
                  <c:v>1.26</c:v>
                </c:pt>
                <c:pt idx="1">
                  <c:v>1.9800000000000004</c:v>
                </c:pt>
                <c:pt idx="2">
                  <c:v>2.2400000000000002</c:v>
                </c:pt>
                <c:pt idx="3">
                  <c:v>2.23</c:v>
                </c:pt>
                <c:pt idx="4">
                  <c:v>2.16</c:v>
                </c:pt>
                <c:pt idx="5">
                  <c:v>1.9700000000000004</c:v>
                </c:pt>
                <c:pt idx="6">
                  <c:v>1.6400000000000001</c:v>
                </c:pt>
              </c:numCache>
            </c:numRef>
          </c:val>
          <c:smooth val="0"/>
          <c:extLst xmlns:c16r2="http://schemas.microsoft.com/office/drawing/2015/06/chart">
            <c:ext xmlns:c16="http://schemas.microsoft.com/office/drawing/2014/chart" uri="{C3380CC4-5D6E-409C-BE32-E72D297353CC}">
              <c16:uniqueId val="{00000007-D525-46A7-99AD-036DDA1AB620}"/>
            </c:ext>
          </c:extLst>
        </c:ser>
        <c:ser>
          <c:idx val="1"/>
          <c:order val="1"/>
          <c:tx>
            <c:strRef>
              <c:f>Sheet1!$C$1</c:f>
              <c:strCache>
                <c:ptCount val="1"/>
                <c:pt idx="0">
                  <c:v>Urban Population</c:v>
                </c:pt>
              </c:strCache>
            </c:strRef>
          </c:tx>
          <c:spPr>
            <a:ln w="28575" cap="rnd">
              <a:solidFill>
                <a:schemeClr val="accent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6:$A$12</c:f>
              <c:numCache>
                <c:formatCode>General</c:formatCode>
                <c:ptCount val="7"/>
                <c:pt idx="0">
                  <c:v>1951</c:v>
                </c:pt>
                <c:pt idx="1">
                  <c:v>1961</c:v>
                </c:pt>
                <c:pt idx="2">
                  <c:v>1971</c:v>
                </c:pt>
                <c:pt idx="3">
                  <c:v>1981</c:v>
                </c:pt>
                <c:pt idx="4">
                  <c:v>1991</c:v>
                </c:pt>
                <c:pt idx="5">
                  <c:v>2001</c:v>
                </c:pt>
                <c:pt idx="6">
                  <c:v>2011</c:v>
                </c:pt>
              </c:numCache>
            </c:numRef>
          </c:cat>
          <c:val>
            <c:numRef>
              <c:f>Sheet1!$C$6:$C$12</c:f>
              <c:numCache>
                <c:formatCode>General</c:formatCode>
                <c:ptCount val="7"/>
                <c:pt idx="0">
                  <c:v>3.53</c:v>
                </c:pt>
                <c:pt idx="1">
                  <c:v>2.3699999999999997</c:v>
                </c:pt>
                <c:pt idx="2">
                  <c:v>3.29</c:v>
                </c:pt>
                <c:pt idx="3">
                  <c:v>3.8699999999999997</c:v>
                </c:pt>
                <c:pt idx="4">
                  <c:v>3.15</c:v>
                </c:pt>
                <c:pt idx="5">
                  <c:v>2.77</c:v>
                </c:pt>
                <c:pt idx="6">
                  <c:v>2.8</c:v>
                </c:pt>
              </c:numCache>
            </c:numRef>
          </c:val>
          <c:smooth val="0"/>
          <c:extLst xmlns:c16r2="http://schemas.microsoft.com/office/drawing/2015/06/chart">
            <c:ext xmlns:c16="http://schemas.microsoft.com/office/drawing/2014/chart" uri="{C3380CC4-5D6E-409C-BE32-E72D297353CC}">
              <c16:uniqueId val="{00000008-D525-46A7-99AD-036DDA1AB620}"/>
            </c:ext>
          </c:extLst>
        </c:ser>
        <c:dLbls>
          <c:showLegendKey val="0"/>
          <c:showVal val="1"/>
          <c:showCatName val="0"/>
          <c:showSerName val="0"/>
          <c:showPercent val="0"/>
          <c:showBubbleSize val="0"/>
        </c:dLbls>
        <c:smooth val="0"/>
        <c:axId val="301627904"/>
        <c:axId val="301634432"/>
      </c:lineChart>
      <c:catAx>
        <c:axId val="301627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301634432"/>
        <c:crosses val="autoZero"/>
        <c:auto val="1"/>
        <c:lblAlgn val="ctr"/>
        <c:lblOffset val="100"/>
        <c:noMultiLvlLbl val="0"/>
      </c:catAx>
      <c:valAx>
        <c:axId val="301634432"/>
        <c:scaling>
          <c:orientation val="minMax"/>
        </c:scaling>
        <c:delete val="1"/>
        <c:axPos val="l"/>
        <c:numFmt formatCode="General" sourceLinked="1"/>
        <c:majorTickMark val="none"/>
        <c:minorTickMark val="none"/>
        <c:tickLblPos val="none"/>
        <c:crossAx val="301627904"/>
        <c:crosses val="autoZero"/>
        <c:crossBetween val="between"/>
      </c:valAx>
      <c:spPr>
        <a:noFill/>
        <a:ln>
          <a:noFill/>
        </a:ln>
        <a:effectLst/>
      </c:spPr>
    </c:plotArea>
    <c:legend>
      <c:legendPos val="b"/>
      <c:layout>
        <c:manualLayout>
          <c:xMode val="edge"/>
          <c:yMode val="edge"/>
          <c:x val="4.9999873204255273E-2"/>
          <c:y val="0.88727480307916462"/>
          <c:w val="0.9"/>
          <c:h val="0.112725196920835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showDLblsOverMax val="0"/>
  </c:chart>
  <c:spPr>
    <a:noFill/>
    <a:ln>
      <a:solidFill>
        <a:schemeClr val="accent2"/>
      </a:solid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F3E306-8BC9-4278-85CE-8D297A5B8986}" type="doc">
      <dgm:prSet loTypeId="urn:microsoft.com/office/officeart/2005/8/layout/process1" loCatId="process" qsTypeId="urn:microsoft.com/office/officeart/2005/8/quickstyle/simple1" qsCatId="simple" csTypeId="urn:microsoft.com/office/officeart/2005/8/colors/accent1_2" csCatId="accent1" phldr="1"/>
      <dgm:spPr/>
    </dgm:pt>
    <dgm:pt modelId="{F74185BC-C698-4BF0-AED1-17FDC394DD74}">
      <dgm:prSet phldrT="[Text]" custT="1"/>
      <dgm:spPr>
        <a:solidFill>
          <a:schemeClr val="tx2"/>
        </a:solidFill>
      </dgm:spPr>
      <dgm:t>
        <a:bodyPr/>
        <a:lstStyle/>
        <a:p>
          <a:r>
            <a:rPr lang="en-US" sz="1400" b="0" dirty="0">
              <a:latin typeface="Calibri" panose="020F0502020204030204" pitchFamily="34" charset="0"/>
              <a:cs typeface="Calibri" panose="020F0502020204030204" pitchFamily="34" charset="0"/>
            </a:rPr>
            <a:t>Poverty</a:t>
          </a:r>
        </a:p>
      </dgm:t>
    </dgm:pt>
    <dgm:pt modelId="{A4BAA169-A70B-4227-AC74-56C5D20F2B18}" type="parTrans" cxnId="{EADA3944-0217-44DA-8D30-7A3632FECE07}">
      <dgm:prSet/>
      <dgm:spPr/>
      <dgm:t>
        <a:bodyPr/>
        <a:lstStyle/>
        <a:p>
          <a:endParaRPr lang="en-US" sz="1200" b="0"/>
        </a:p>
      </dgm:t>
    </dgm:pt>
    <dgm:pt modelId="{872F94F1-DAE8-418C-A277-67E22F8A4B93}" type="sibTrans" cxnId="{EADA3944-0217-44DA-8D30-7A3632FECE07}">
      <dgm:prSet custT="1"/>
      <dgm:spPr>
        <a:solidFill>
          <a:schemeClr val="accent2"/>
        </a:solidFill>
      </dgm:spPr>
      <dgm:t>
        <a:bodyPr/>
        <a:lstStyle/>
        <a:p>
          <a:endParaRPr lang="en-US" sz="1200" b="0"/>
        </a:p>
      </dgm:t>
    </dgm:pt>
    <dgm:pt modelId="{C6F9BC5D-6E2A-4376-8512-AAEE237C39A5}">
      <dgm:prSet phldrT="[Text]" custT="1"/>
      <dgm:spPr>
        <a:solidFill>
          <a:schemeClr val="tx2"/>
        </a:solidFill>
      </dgm:spPr>
      <dgm:t>
        <a:bodyPr/>
        <a:lstStyle/>
        <a:p>
          <a:r>
            <a:rPr lang="en-US" sz="1400" b="0" dirty="0">
              <a:latin typeface="Calibri" panose="020F0502020204030204" pitchFamily="34" charset="0"/>
              <a:cs typeface="Calibri" panose="020F0502020204030204" pitchFamily="34" charset="0"/>
            </a:rPr>
            <a:t>Poor Living Conditions</a:t>
          </a:r>
        </a:p>
      </dgm:t>
    </dgm:pt>
    <dgm:pt modelId="{BC03DDEE-38B3-4F4B-A04C-E6049D05B45F}" type="parTrans" cxnId="{DF8A6ED9-2859-4C36-A54C-EEE3ECB84D36}">
      <dgm:prSet/>
      <dgm:spPr/>
      <dgm:t>
        <a:bodyPr/>
        <a:lstStyle/>
        <a:p>
          <a:endParaRPr lang="en-US" sz="1200" b="0"/>
        </a:p>
      </dgm:t>
    </dgm:pt>
    <dgm:pt modelId="{F1CB5A08-2118-49C6-91DB-E8E89A619F62}" type="sibTrans" cxnId="{DF8A6ED9-2859-4C36-A54C-EEE3ECB84D36}">
      <dgm:prSet custT="1"/>
      <dgm:spPr>
        <a:solidFill>
          <a:schemeClr val="accent2"/>
        </a:solidFill>
      </dgm:spPr>
      <dgm:t>
        <a:bodyPr/>
        <a:lstStyle/>
        <a:p>
          <a:endParaRPr lang="en-US" sz="1200" b="0"/>
        </a:p>
      </dgm:t>
    </dgm:pt>
    <dgm:pt modelId="{8DA1E6AB-F5DF-4B89-A747-AA4049E8D914}">
      <dgm:prSet phldrT="[Text]" custT="1"/>
      <dgm:spPr>
        <a:solidFill>
          <a:schemeClr val="tx2"/>
        </a:solidFill>
      </dgm:spPr>
      <dgm:t>
        <a:bodyPr/>
        <a:lstStyle/>
        <a:p>
          <a:r>
            <a:rPr lang="en-US" sz="1400" b="0" dirty="0">
              <a:latin typeface="Calibri" panose="020F0502020204030204" pitchFamily="34" charset="0"/>
              <a:cs typeface="Calibri" panose="020F0502020204030204" pitchFamily="34" charset="0"/>
            </a:rPr>
            <a:t>Limited access to skilled jobs</a:t>
          </a:r>
        </a:p>
      </dgm:t>
    </dgm:pt>
    <dgm:pt modelId="{10F26DEF-0CD8-4E1E-9729-0A74B65492F0}" type="parTrans" cxnId="{5F06FD47-C296-4E16-9D58-52C20BACE1E8}">
      <dgm:prSet/>
      <dgm:spPr/>
      <dgm:t>
        <a:bodyPr/>
        <a:lstStyle/>
        <a:p>
          <a:endParaRPr lang="en-US" sz="1200" b="0"/>
        </a:p>
      </dgm:t>
    </dgm:pt>
    <dgm:pt modelId="{7DD981BC-7664-49B8-BAC5-2F685F573F60}" type="sibTrans" cxnId="{5F06FD47-C296-4E16-9D58-52C20BACE1E8}">
      <dgm:prSet custT="1"/>
      <dgm:spPr>
        <a:solidFill>
          <a:schemeClr val="accent2"/>
        </a:solidFill>
      </dgm:spPr>
      <dgm:t>
        <a:bodyPr/>
        <a:lstStyle/>
        <a:p>
          <a:endParaRPr lang="en-US" sz="1200" b="0"/>
        </a:p>
      </dgm:t>
    </dgm:pt>
    <dgm:pt modelId="{7A31FA08-75A0-4A52-8FAC-87C2EB2C25A5}">
      <dgm:prSet custT="1"/>
      <dgm:spPr>
        <a:solidFill>
          <a:schemeClr val="tx2"/>
        </a:solidFill>
      </dgm:spPr>
      <dgm:t>
        <a:bodyPr/>
        <a:lstStyle/>
        <a:p>
          <a:r>
            <a:rPr lang="en-US" sz="1400" b="0" dirty="0">
              <a:latin typeface="Calibri" panose="020F0502020204030204" pitchFamily="34" charset="0"/>
              <a:cs typeface="Calibri" panose="020F0502020204030204" pitchFamily="34" charset="0"/>
            </a:rPr>
            <a:t>Limited Access to Education</a:t>
          </a:r>
        </a:p>
      </dgm:t>
    </dgm:pt>
    <dgm:pt modelId="{F27F17AA-6112-4067-BBB2-965C537B7AC5}" type="parTrans" cxnId="{37E734E1-12F3-4942-80E2-0591EB55861C}">
      <dgm:prSet/>
      <dgm:spPr/>
      <dgm:t>
        <a:bodyPr/>
        <a:lstStyle/>
        <a:p>
          <a:endParaRPr lang="en-US" sz="1200" b="0"/>
        </a:p>
      </dgm:t>
    </dgm:pt>
    <dgm:pt modelId="{48A41B70-1FEF-4A3F-AC62-D1107FB024DB}" type="sibTrans" cxnId="{37E734E1-12F3-4942-80E2-0591EB55861C}">
      <dgm:prSet custT="1"/>
      <dgm:spPr>
        <a:solidFill>
          <a:schemeClr val="accent2"/>
        </a:solidFill>
      </dgm:spPr>
      <dgm:t>
        <a:bodyPr/>
        <a:lstStyle/>
        <a:p>
          <a:endParaRPr lang="en-US" sz="1200" b="0"/>
        </a:p>
      </dgm:t>
    </dgm:pt>
    <dgm:pt modelId="{4EBD1048-6865-4CBC-8863-54FF7A0A4DF1}">
      <dgm:prSet custT="1"/>
      <dgm:spPr>
        <a:solidFill>
          <a:schemeClr val="tx2"/>
        </a:solidFill>
      </dgm:spPr>
      <dgm:t>
        <a:bodyPr/>
        <a:lstStyle/>
        <a:p>
          <a:r>
            <a:rPr lang="en-US" sz="1400" b="0" dirty="0">
              <a:latin typeface="Calibri" panose="020F0502020204030204" pitchFamily="34" charset="0"/>
              <a:cs typeface="Calibri" panose="020F0502020204030204" pitchFamily="34" charset="0"/>
            </a:rPr>
            <a:t>Poverty</a:t>
          </a:r>
        </a:p>
      </dgm:t>
    </dgm:pt>
    <dgm:pt modelId="{E57F7F3C-A696-4373-90E5-6659615CC887}" type="parTrans" cxnId="{14E7F40A-C6CF-411A-92CB-3F629184201C}">
      <dgm:prSet/>
      <dgm:spPr/>
      <dgm:t>
        <a:bodyPr/>
        <a:lstStyle/>
        <a:p>
          <a:endParaRPr lang="en-US" sz="1200" b="0"/>
        </a:p>
      </dgm:t>
    </dgm:pt>
    <dgm:pt modelId="{21333C88-BC8D-4C92-9844-E52DC89E63B4}" type="sibTrans" cxnId="{14E7F40A-C6CF-411A-92CB-3F629184201C}">
      <dgm:prSet/>
      <dgm:spPr/>
      <dgm:t>
        <a:bodyPr/>
        <a:lstStyle/>
        <a:p>
          <a:endParaRPr lang="en-US" sz="1200" b="0"/>
        </a:p>
      </dgm:t>
    </dgm:pt>
    <dgm:pt modelId="{C80B949D-F6D6-4E5F-A2F2-6922CDA215FC}" type="pres">
      <dgm:prSet presAssocID="{BAF3E306-8BC9-4278-85CE-8D297A5B8986}" presName="Name0" presStyleCnt="0">
        <dgm:presLayoutVars>
          <dgm:dir/>
          <dgm:resizeHandles val="exact"/>
        </dgm:presLayoutVars>
      </dgm:prSet>
      <dgm:spPr/>
    </dgm:pt>
    <dgm:pt modelId="{2EBCE671-6683-4597-9011-1F0559F73ECC}" type="pres">
      <dgm:prSet presAssocID="{F74185BC-C698-4BF0-AED1-17FDC394DD74}" presName="node" presStyleLbl="node1" presStyleIdx="0" presStyleCnt="5">
        <dgm:presLayoutVars>
          <dgm:bulletEnabled val="1"/>
        </dgm:presLayoutVars>
      </dgm:prSet>
      <dgm:spPr/>
      <dgm:t>
        <a:bodyPr/>
        <a:lstStyle/>
        <a:p>
          <a:endParaRPr lang="en-US"/>
        </a:p>
      </dgm:t>
    </dgm:pt>
    <dgm:pt modelId="{99CDF6F6-5BEB-4FAC-9A31-5DADABB775A6}" type="pres">
      <dgm:prSet presAssocID="{872F94F1-DAE8-418C-A277-67E22F8A4B93}" presName="sibTrans" presStyleLbl="sibTrans2D1" presStyleIdx="0" presStyleCnt="4"/>
      <dgm:spPr/>
      <dgm:t>
        <a:bodyPr/>
        <a:lstStyle/>
        <a:p>
          <a:endParaRPr lang="en-US"/>
        </a:p>
      </dgm:t>
    </dgm:pt>
    <dgm:pt modelId="{1EF663EC-9293-49AD-BF67-FD0741209B87}" type="pres">
      <dgm:prSet presAssocID="{872F94F1-DAE8-418C-A277-67E22F8A4B93}" presName="connectorText" presStyleLbl="sibTrans2D1" presStyleIdx="0" presStyleCnt="4"/>
      <dgm:spPr/>
      <dgm:t>
        <a:bodyPr/>
        <a:lstStyle/>
        <a:p>
          <a:endParaRPr lang="en-US"/>
        </a:p>
      </dgm:t>
    </dgm:pt>
    <dgm:pt modelId="{31A56690-831B-4B3F-9697-632262782A1A}" type="pres">
      <dgm:prSet presAssocID="{C6F9BC5D-6E2A-4376-8512-AAEE237C39A5}" presName="node" presStyleLbl="node1" presStyleIdx="1" presStyleCnt="5" custScaleX="114323">
        <dgm:presLayoutVars>
          <dgm:bulletEnabled val="1"/>
        </dgm:presLayoutVars>
      </dgm:prSet>
      <dgm:spPr/>
      <dgm:t>
        <a:bodyPr/>
        <a:lstStyle/>
        <a:p>
          <a:endParaRPr lang="en-US"/>
        </a:p>
      </dgm:t>
    </dgm:pt>
    <dgm:pt modelId="{18BA0653-88E0-41AF-AE89-3CF9E4589C35}" type="pres">
      <dgm:prSet presAssocID="{F1CB5A08-2118-49C6-91DB-E8E89A619F62}" presName="sibTrans" presStyleLbl="sibTrans2D1" presStyleIdx="1" presStyleCnt="4"/>
      <dgm:spPr/>
      <dgm:t>
        <a:bodyPr/>
        <a:lstStyle/>
        <a:p>
          <a:endParaRPr lang="en-US"/>
        </a:p>
      </dgm:t>
    </dgm:pt>
    <dgm:pt modelId="{1D904CE7-3163-4B68-8F7B-7F1CBB633326}" type="pres">
      <dgm:prSet presAssocID="{F1CB5A08-2118-49C6-91DB-E8E89A619F62}" presName="connectorText" presStyleLbl="sibTrans2D1" presStyleIdx="1" presStyleCnt="4"/>
      <dgm:spPr/>
      <dgm:t>
        <a:bodyPr/>
        <a:lstStyle/>
        <a:p>
          <a:endParaRPr lang="en-US"/>
        </a:p>
      </dgm:t>
    </dgm:pt>
    <dgm:pt modelId="{21145E13-394D-436E-B663-AD6F95BD9E68}" type="pres">
      <dgm:prSet presAssocID="{7A31FA08-75A0-4A52-8FAC-87C2EB2C25A5}" presName="node" presStyleLbl="node1" presStyleIdx="2" presStyleCnt="5">
        <dgm:presLayoutVars>
          <dgm:bulletEnabled val="1"/>
        </dgm:presLayoutVars>
      </dgm:prSet>
      <dgm:spPr/>
      <dgm:t>
        <a:bodyPr/>
        <a:lstStyle/>
        <a:p>
          <a:endParaRPr lang="en-US"/>
        </a:p>
      </dgm:t>
    </dgm:pt>
    <dgm:pt modelId="{B5ACD380-A0D9-4495-B174-FC21920D1BCF}" type="pres">
      <dgm:prSet presAssocID="{48A41B70-1FEF-4A3F-AC62-D1107FB024DB}" presName="sibTrans" presStyleLbl="sibTrans2D1" presStyleIdx="2" presStyleCnt="4"/>
      <dgm:spPr/>
      <dgm:t>
        <a:bodyPr/>
        <a:lstStyle/>
        <a:p>
          <a:endParaRPr lang="en-US"/>
        </a:p>
      </dgm:t>
    </dgm:pt>
    <dgm:pt modelId="{A39B0D2E-168A-49C8-B561-57017FCB1C25}" type="pres">
      <dgm:prSet presAssocID="{48A41B70-1FEF-4A3F-AC62-D1107FB024DB}" presName="connectorText" presStyleLbl="sibTrans2D1" presStyleIdx="2" presStyleCnt="4"/>
      <dgm:spPr/>
      <dgm:t>
        <a:bodyPr/>
        <a:lstStyle/>
        <a:p>
          <a:endParaRPr lang="en-US"/>
        </a:p>
      </dgm:t>
    </dgm:pt>
    <dgm:pt modelId="{DC1B9E50-4C29-483E-94AA-C9CA0DBA78C7}" type="pres">
      <dgm:prSet presAssocID="{8DA1E6AB-F5DF-4B89-A747-AA4049E8D914}" presName="node" presStyleLbl="node1" presStyleIdx="3" presStyleCnt="5">
        <dgm:presLayoutVars>
          <dgm:bulletEnabled val="1"/>
        </dgm:presLayoutVars>
      </dgm:prSet>
      <dgm:spPr/>
      <dgm:t>
        <a:bodyPr/>
        <a:lstStyle/>
        <a:p>
          <a:endParaRPr lang="en-US"/>
        </a:p>
      </dgm:t>
    </dgm:pt>
    <dgm:pt modelId="{E96FF2F0-AE02-4E7F-B66A-C0EA684BCA7B}" type="pres">
      <dgm:prSet presAssocID="{7DD981BC-7664-49B8-BAC5-2F685F573F60}" presName="sibTrans" presStyleLbl="sibTrans2D1" presStyleIdx="3" presStyleCnt="4"/>
      <dgm:spPr/>
      <dgm:t>
        <a:bodyPr/>
        <a:lstStyle/>
        <a:p>
          <a:endParaRPr lang="en-US"/>
        </a:p>
      </dgm:t>
    </dgm:pt>
    <dgm:pt modelId="{D4C42EFB-2260-41C4-B6F7-28B0458F09C0}" type="pres">
      <dgm:prSet presAssocID="{7DD981BC-7664-49B8-BAC5-2F685F573F60}" presName="connectorText" presStyleLbl="sibTrans2D1" presStyleIdx="3" presStyleCnt="4"/>
      <dgm:spPr/>
      <dgm:t>
        <a:bodyPr/>
        <a:lstStyle/>
        <a:p>
          <a:endParaRPr lang="en-US"/>
        </a:p>
      </dgm:t>
    </dgm:pt>
    <dgm:pt modelId="{AEDEACB5-D473-404D-B316-B0663039E9B1}" type="pres">
      <dgm:prSet presAssocID="{4EBD1048-6865-4CBC-8863-54FF7A0A4DF1}" presName="node" presStyleLbl="node1" presStyleIdx="4" presStyleCnt="5">
        <dgm:presLayoutVars>
          <dgm:bulletEnabled val="1"/>
        </dgm:presLayoutVars>
      </dgm:prSet>
      <dgm:spPr/>
      <dgm:t>
        <a:bodyPr/>
        <a:lstStyle/>
        <a:p>
          <a:endParaRPr lang="en-US"/>
        </a:p>
      </dgm:t>
    </dgm:pt>
  </dgm:ptLst>
  <dgm:cxnLst>
    <dgm:cxn modelId="{37E734E1-12F3-4942-80E2-0591EB55861C}" srcId="{BAF3E306-8BC9-4278-85CE-8D297A5B8986}" destId="{7A31FA08-75A0-4A52-8FAC-87C2EB2C25A5}" srcOrd="2" destOrd="0" parTransId="{F27F17AA-6112-4067-BBB2-965C537B7AC5}" sibTransId="{48A41B70-1FEF-4A3F-AC62-D1107FB024DB}"/>
    <dgm:cxn modelId="{6CF75D43-A72F-4042-AC83-2FDC1F440ECA}" type="presOf" srcId="{F74185BC-C698-4BF0-AED1-17FDC394DD74}" destId="{2EBCE671-6683-4597-9011-1F0559F73ECC}" srcOrd="0" destOrd="0" presId="urn:microsoft.com/office/officeart/2005/8/layout/process1"/>
    <dgm:cxn modelId="{1E166DA2-098B-4D07-AEA3-F15E1C07DE73}" type="presOf" srcId="{8DA1E6AB-F5DF-4B89-A747-AA4049E8D914}" destId="{DC1B9E50-4C29-483E-94AA-C9CA0DBA78C7}" srcOrd="0" destOrd="0" presId="urn:microsoft.com/office/officeart/2005/8/layout/process1"/>
    <dgm:cxn modelId="{7E6621F3-380A-4F30-90EA-3F295AB92886}" type="presOf" srcId="{872F94F1-DAE8-418C-A277-67E22F8A4B93}" destId="{99CDF6F6-5BEB-4FAC-9A31-5DADABB775A6}" srcOrd="0" destOrd="0" presId="urn:microsoft.com/office/officeart/2005/8/layout/process1"/>
    <dgm:cxn modelId="{9F3A32A0-103D-4080-938D-D358F4E2D192}" type="presOf" srcId="{872F94F1-DAE8-418C-A277-67E22F8A4B93}" destId="{1EF663EC-9293-49AD-BF67-FD0741209B87}" srcOrd="1" destOrd="0" presId="urn:microsoft.com/office/officeart/2005/8/layout/process1"/>
    <dgm:cxn modelId="{DF8A6ED9-2859-4C36-A54C-EEE3ECB84D36}" srcId="{BAF3E306-8BC9-4278-85CE-8D297A5B8986}" destId="{C6F9BC5D-6E2A-4376-8512-AAEE237C39A5}" srcOrd="1" destOrd="0" parTransId="{BC03DDEE-38B3-4F4B-A04C-E6049D05B45F}" sibTransId="{F1CB5A08-2118-49C6-91DB-E8E89A619F62}"/>
    <dgm:cxn modelId="{E9BA1BC7-7ED2-4165-B0D2-C3B992E30C6E}" type="presOf" srcId="{C6F9BC5D-6E2A-4376-8512-AAEE237C39A5}" destId="{31A56690-831B-4B3F-9697-632262782A1A}" srcOrd="0" destOrd="0" presId="urn:microsoft.com/office/officeart/2005/8/layout/process1"/>
    <dgm:cxn modelId="{933A67B5-3251-4653-A185-EDC6DE299567}" type="presOf" srcId="{BAF3E306-8BC9-4278-85CE-8D297A5B8986}" destId="{C80B949D-F6D6-4E5F-A2F2-6922CDA215FC}" srcOrd="0" destOrd="0" presId="urn:microsoft.com/office/officeart/2005/8/layout/process1"/>
    <dgm:cxn modelId="{D3FB24DF-A264-49FA-AE98-4F3F70E47A32}" type="presOf" srcId="{7A31FA08-75A0-4A52-8FAC-87C2EB2C25A5}" destId="{21145E13-394D-436E-B663-AD6F95BD9E68}" srcOrd="0" destOrd="0" presId="urn:microsoft.com/office/officeart/2005/8/layout/process1"/>
    <dgm:cxn modelId="{14E7F40A-C6CF-411A-92CB-3F629184201C}" srcId="{BAF3E306-8BC9-4278-85CE-8D297A5B8986}" destId="{4EBD1048-6865-4CBC-8863-54FF7A0A4DF1}" srcOrd="4" destOrd="0" parTransId="{E57F7F3C-A696-4373-90E5-6659615CC887}" sibTransId="{21333C88-BC8D-4C92-9844-E52DC89E63B4}"/>
    <dgm:cxn modelId="{EADA3944-0217-44DA-8D30-7A3632FECE07}" srcId="{BAF3E306-8BC9-4278-85CE-8D297A5B8986}" destId="{F74185BC-C698-4BF0-AED1-17FDC394DD74}" srcOrd="0" destOrd="0" parTransId="{A4BAA169-A70B-4227-AC74-56C5D20F2B18}" sibTransId="{872F94F1-DAE8-418C-A277-67E22F8A4B93}"/>
    <dgm:cxn modelId="{F54B6685-5204-421A-8017-197A2D717BF1}" type="presOf" srcId="{F1CB5A08-2118-49C6-91DB-E8E89A619F62}" destId="{1D904CE7-3163-4B68-8F7B-7F1CBB633326}" srcOrd="1" destOrd="0" presId="urn:microsoft.com/office/officeart/2005/8/layout/process1"/>
    <dgm:cxn modelId="{5F06FD47-C296-4E16-9D58-52C20BACE1E8}" srcId="{BAF3E306-8BC9-4278-85CE-8D297A5B8986}" destId="{8DA1E6AB-F5DF-4B89-A747-AA4049E8D914}" srcOrd="3" destOrd="0" parTransId="{10F26DEF-0CD8-4E1E-9729-0A74B65492F0}" sibTransId="{7DD981BC-7664-49B8-BAC5-2F685F573F60}"/>
    <dgm:cxn modelId="{FD409DB4-C92B-41F7-9729-70B3F66D0342}" type="presOf" srcId="{7DD981BC-7664-49B8-BAC5-2F685F573F60}" destId="{E96FF2F0-AE02-4E7F-B66A-C0EA684BCA7B}" srcOrd="0" destOrd="0" presId="urn:microsoft.com/office/officeart/2005/8/layout/process1"/>
    <dgm:cxn modelId="{1CCFA5EC-D0E6-41C4-B1B0-FE9FF302CFB1}" type="presOf" srcId="{48A41B70-1FEF-4A3F-AC62-D1107FB024DB}" destId="{B5ACD380-A0D9-4495-B174-FC21920D1BCF}" srcOrd="0" destOrd="0" presId="urn:microsoft.com/office/officeart/2005/8/layout/process1"/>
    <dgm:cxn modelId="{81728E51-4C89-45E2-9534-97791DA44C06}" type="presOf" srcId="{F1CB5A08-2118-49C6-91DB-E8E89A619F62}" destId="{18BA0653-88E0-41AF-AE89-3CF9E4589C35}" srcOrd="0" destOrd="0" presId="urn:microsoft.com/office/officeart/2005/8/layout/process1"/>
    <dgm:cxn modelId="{19D062CC-A30E-4681-8A4E-45C94096338E}" type="presOf" srcId="{48A41B70-1FEF-4A3F-AC62-D1107FB024DB}" destId="{A39B0D2E-168A-49C8-B561-57017FCB1C25}" srcOrd="1" destOrd="0" presId="urn:microsoft.com/office/officeart/2005/8/layout/process1"/>
    <dgm:cxn modelId="{E27344BF-DBD7-4E98-9B17-A040B2B0D3EE}" type="presOf" srcId="{4EBD1048-6865-4CBC-8863-54FF7A0A4DF1}" destId="{AEDEACB5-D473-404D-B316-B0663039E9B1}" srcOrd="0" destOrd="0" presId="urn:microsoft.com/office/officeart/2005/8/layout/process1"/>
    <dgm:cxn modelId="{0086FA06-FB39-47BA-B563-FBD3C08EE1B2}" type="presOf" srcId="{7DD981BC-7664-49B8-BAC5-2F685F573F60}" destId="{D4C42EFB-2260-41C4-B6F7-28B0458F09C0}" srcOrd="1" destOrd="0" presId="urn:microsoft.com/office/officeart/2005/8/layout/process1"/>
    <dgm:cxn modelId="{F6C0525B-3B8D-4073-87F2-E0E4E8657069}" type="presParOf" srcId="{C80B949D-F6D6-4E5F-A2F2-6922CDA215FC}" destId="{2EBCE671-6683-4597-9011-1F0559F73ECC}" srcOrd="0" destOrd="0" presId="urn:microsoft.com/office/officeart/2005/8/layout/process1"/>
    <dgm:cxn modelId="{9E265E32-E561-420C-92FB-A7707418D56B}" type="presParOf" srcId="{C80B949D-F6D6-4E5F-A2F2-6922CDA215FC}" destId="{99CDF6F6-5BEB-4FAC-9A31-5DADABB775A6}" srcOrd="1" destOrd="0" presId="urn:microsoft.com/office/officeart/2005/8/layout/process1"/>
    <dgm:cxn modelId="{FCA36F33-613A-45F1-B811-1878B02A19AC}" type="presParOf" srcId="{99CDF6F6-5BEB-4FAC-9A31-5DADABB775A6}" destId="{1EF663EC-9293-49AD-BF67-FD0741209B87}" srcOrd="0" destOrd="0" presId="urn:microsoft.com/office/officeart/2005/8/layout/process1"/>
    <dgm:cxn modelId="{32B0E533-2223-453E-A3D2-875F69CA1A9E}" type="presParOf" srcId="{C80B949D-F6D6-4E5F-A2F2-6922CDA215FC}" destId="{31A56690-831B-4B3F-9697-632262782A1A}" srcOrd="2" destOrd="0" presId="urn:microsoft.com/office/officeart/2005/8/layout/process1"/>
    <dgm:cxn modelId="{D6AB65A8-A9A8-47F7-A1A2-C642895B428C}" type="presParOf" srcId="{C80B949D-F6D6-4E5F-A2F2-6922CDA215FC}" destId="{18BA0653-88E0-41AF-AE89-3CF9E4589C35}" srcOrd="3" destOrd="0" presId="urn:microsoft.com/office/officeart/2005/8/layout/process1"/>
    <dgm:cxn modelId="{2FCEBAC7-4995-4CE1-B923-CB41D27F361E}" type="presParOf" srcId="{18BA0653-88E0-41AF-AE89-3CF9E4589C35}" destId="{1D904CE7-3163-4B68-8F7B-7F1CBB633326}" srcOrd="0" destOrd="0" presId="urn:microsoft.com/office/officeart/2005/8/layout/process1"/>
    <dgm:cxn modelId="{F76536D3-1C38-46FE-827A-35D5E96FA575}" type="presParOf" srcId="{C80B949D-F6D6-4E5F-A2F2-6922CDA215FC}" destId="{21145E13-394D-436E-B663-AD6F95BD9E68}" srcOrd="4" destOrd="0" presId="urn:microsoft.com/office/officeart/2005/8/layout/process1"/>
    <dgm:cxn modelId="{662DBFC3-C332-42BA-9AEC-AC0CDDEF6E62}" type="presParOf" srcId="{C80B949D-F6D6-4E5F-A2F2-6922CDA215FC}" destId="{B5ACD380-A0D9-4495-B174-FC21920D1BCF}" srcOrd="5" destOrd="0" presId="urn:microsoft.com/office/officeart/2005/8/layout/process1"/>
    <dgm:cxn modelId="{B03F189D-F64B-4F47-A55F-ED0489DB4AEE}" type="presParOf" srcId="{B5ACD380-A0D9-4495-B174-FC21920D1BCF}" destId="{A39B0D2E-168A-49C8-B561-57017FCB1C25}" srcOrd="0" destOrd="0" presId="urn:microsoft.com/office/officeart/2005/8/layout/process1"/>
    <dgm:cxn modelId="{90349B76-2F58-4CDB-8A63-50E652A01391}" type="presParOf" srcId="{C80B949D-F6D6-4E5F-A2F2-6922CDA215FC}" destId="{DC1B9E50-4C29-483E-94AA-C9CA0DBA78C7}" srcOrd="6" destOrd="0" presId="urn:microsoft.com/office/officeart/2005/8/layout/process1"/>
    <dgm:cxn modelId="{0127A553-3B6F-4CA7-8035-2E9672E60344}" type="presParOf" srcId="{C80B949D-F6D6-4E5F-A2F2-6922CDA215FC}" destId="{E96FF2F0-AE02-4E7F-B66A-C0EA684BCA7B}" srcOrd="7" destOrd="0" presId="urn:microsoft.com/office/officeart/2005/8/layout/process1"/>
    <dgm:cxn modelId="{A266A384-D340-45D3-A7AD-B8660094B5DC}" type="presParOf" srcId="{E96FF2F0-AE02-4E7F-B66A-C0EA684BCA7B}" destId="{D4C42EFB-2260-41C4-B6F7-28B0458F09C0}" srcOrd="0" destOrd="0" presId="urn:microsoft.com/office/officeart/2005/8/layout/process1"/>
    <dgm:cxn modelId="{FF69E697-6C06-43EB-BA35-12FD54DD111A}" type="presParOf" srcId="{C80B949D-F6D6-4E5F-A2F2-6922CDA215FC}" destId="{AEDEACB5-D473-404D-B316-B0663039E9B1}" srcOrd="8"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7916F64-9BD2-46EA-A94D-C14A236425B2}"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948E1BC-631D-4235-A2E6-66F70D9DAE07}">
      <dgm:prSet custT="1"/>
      <dgm:spPr>
        <a:solidFill>
          <a:schemeClr val="tx2"/>
        </a:solidFill>
      </dgm:spPr>
      <dgm:t>
        <a:bodyPr/>
        <a:lstStyle/>
        <a:p>
          <a:pPr rtl="0"/>
          <a:r>
            <a:rPr lang="en-US" sz="1600" dirty="0">
              <a:latin typeface="Calibri" panose="020F0502020204030204" pitchFamily="34" charset="0"/>
              <a:cs typeface="Calibri" panose="020F0502020204030204" pitchFamily="34" charset="0"/>
            </a:rPr>
            <a:t>BSNL</a:t>
          </a:r>
          <a:r>
            <a:rPr lang="en-US" sz="1600" baseline="0" dirty="0">
              <a:latin typeface="Calibri" panose="020F0502020204030204" pitchFamily="34" charset="0"/>
              <a:cs typeface="Calibri" panose="020F0502020204030204" pitchFamily="34" charset="0"/>
            </a:rPr>
            <a:t> is offering Online feedback initiatives in 7 states covering 110 ULBs</a:t>
          </a:r>
          <a:endParaRPr lang="en-US" sz="1600" dirty="0">
            <a:latin typeface="Calibri" panose="020F0502020204030204" pitchFamily="34" charset="0"/>
            <a:cs typeface="Calibri" panose="020F0502020204030204" pitchFamily="34" charset="0"/>
          </a:endParaRPr>
        </a:p>
      </dgm:t>
    </dgm:pt>
    <dgm:pt modelId="{B422B290-5E33-4380-8A1B-4FDFAE8CE4AC}" type="parTrans" cxnId="{EDEE4604-CB7F-4028-AFCC-C67D69FAC602}">
      <dgm:prSet/>
      <dgm:spPr/>
      <dgm:t>
        <a:bodyPr/>
        <a:lstStyle/>
        <a:p>
          <a:endParaRPr lang="en-US"/>
        </a:p>
      </dgm:t>
    </dgm:pt>
    <dgm:pt modelId="{E77AB9A2-90E7-4B50-8AF9-879599019A75}" type="sibTrans" cxnId="{EDEE4604-CB7F-4028-AFCC-C67D69FAC602}">
      <dgm:prSet/>
      <dgm:spPr/>
      <dgm:t>
        <a:bodyPr/>
        <a:lstStyle/>
        <a:p>
          <a:endParaRPr lang="en-US"/>
        </a:p>
      </dgm:t>
    </dgm:pt>
    <dgm:pt modelId="{C54DF6AF-66B0-4830-A8A2-57485EC7F27A}">
      <dgm:prSet custT="1"/>
      <dgm:spPr>
        <a:solidFill>
          <a:schemeClr val="bg1">
            <a:lumMod val="50000"/>
          </a:schemeClr>
        </a:solidFill>
      </dgm:spPr>
      <dgm:t>
        <a:bodyPr/>
        <a:lstStyle/>
        <a:p>
          <a:pPr rtl="0"/>
          <a:r>
            <a:rPr lang="en-US" sz="1600" dirty="0">
              <a:latin typeface="Calibri" panose="020F0502020204030204" pitchFamily="34" charset="0"/>
              <a:cs typeface="Calibri" panose="020F0502020204030204" pitchFamily="34" charset="0"/>
            </a:rPr>
            <a:t>1. Chhattisgarh</a:t>
          </a:r>
        </a:p>
      </dgm:t>
    </dgm:pt>
    <dgm:pt modelId="{7D059EF7-2FCE-4BA8-A347-F81DADCE9E9D}" type="parTrans" cxnId="{2A30CF0B-1463-47A7-83A3-5BC19F36A059}">
      <dgm:prSet/>
      <dgm:spPr/>
      <dgm:t>
        <a:bodyPr/>
        <a:lstStyle/>
        <a:p>
          <a:endParaRPr lang="en-US"/>
        </a:p>
      </dgm:t>
    </dgm:pt>
    <dgm:pt modelId="{E0E2513B-0BE8-413B-AE0A-42BB0CA0633A}" type="sibTrans" cxnId="{2A30CF0B-1463-47A7-83A3-5BC19F36A059}">
      <dgm:prSet/>
      <dgm:spPr/>
      <dgm:t>
        <a:bodyPr/>
        <a:lstStyle/>
        <a:p>
          <a:endParaRPr lang="en-US"/>
        </a:p>
      </dgm:t>
    </dgm:pt>
    <dgm:pt modelId="{B2CA0F9C-485A-4606-BA94-007EBF02CA74}">
      <dgm:prSet custT="1"/>
      <dgm:spPr>
        <a:solidFill>
          <a:schemeClr val="tx1">
            <a:lumMod val="50000"/>
            <a:lumOff val="50000"/>
          </a:schemeClr>
        </a:solidFill>
      </dgm:spPr>
      <dgm:t>
        <a:bodyPr/>
        <a:lstStyle/>
        <a:p>
          <a:pPr rtl="0"/>
          <a:r>
            <a:rPr lang="en-US" sz="1600" dirty="0">
              <a:latin typeface="Calibri" panose="020F0502020204030204" pitchFamily="34" charset="0"/>
              <a:cs typeface="Calibri" panose="020F0502020204030204" pitchFamily="34" charset="0"/>
            </a:rPr>
            <a:t>2. Himachal Pradesh</a:t>
          </a:r>
        </a:p>
      </dgm:t>
    </dgm:pt>
    <dgm:pt modelId="{C5F1577A-A247-4C8D-804C-93234FC58A4F}" type="parTrans" cxnId="{7BB370F4-4F05-43F5-A5A9-ECDE682FEEB5}">
      <dgm:prSet/>
      <dgm:spPr/>
      <dgm:t>
        <a:bodyPr/>
        <a:lstStyle/>
        <a:p>
          <a:endParaRPr lang="en-US"/>
        </a:p>
      </dgm:t>
    </dgm:pt>
    <dgm:pt modelId="{CB3B4B55-15FC-4734-897D-78983E2A8948}" type="sibTrans" cxnId="{7BB370F4-4F05-43F5-A5A9-ECDE682FEEB5}">
      <dgm:prSet/>
      <dgm:spPr/>
      <dgm:t>
        <a:bodyPr/>
        <a:lstStyle/>
        <a:p>
          <a:endParaRPr lang="en-US"/>
        </a:p>
      </dgm:t>
    </dgm:pt>
    <dgm:pt modelId="{A6356F89-1E52-4ACB-A885-F9605A44FC2B}">
      <dgm:prSet custT="1"/>
      <dgm:spPr>
        <a:solidFill>
          <a:schemeClr val="tx1">
            <a:lumMod val="50000"/>
            <a:lumOff val="50000"/>
          </a:schemeClr>
        </a:solidFill>
      </dgm:spPr>
      <dgm:t>
        <a:bodyPr/>
        <a:lstStyle/>
        <a:p>
          <a:pPr rtl="0"/>
          <a:r>
            <a:rPr lang="en-US" sz="1600" dirty="0">
              <a:latin typeface="Calibri" panose="020F0502020204030204" pitchFamily="34" charset="0"/>
              <a:cs typeface="Calibri" panose="020F0502020204030204" pitchFamily="34" charset="0"/>
            </a:rPr>
            <a:t>3. Jharkhand</a:t>
          </a:r>
        </a:p>
      </dgm:t>
    </dgm:pt>
    <dgm:pt modelId="{834DFBC8-1FD5-4B23-B11A-E39552B2FF5D}" type="parTrans" cxnId="{C601E2C2-2570-4E93-B45C-16D28DF2EF9B}">
      <dgm:prSet/>
      <dgm:spPr/>
      <dgm:t>
        <a:bodyPr/>
        <a:lstStyle/>
        <a:p>
          <a:endParaRPr lang="en-US"/>
        </a:p>
      </dgm:t>
    </dgm:pt>
    <dgm:pt modelId="{5B674D3B-91C5-4582-8E03-37445AA4B6BF}" type="sibTrans" cxnId="{C601E2C2-2570-4E93-B45C-16D28DF2EF9B}">
      <dgm:prSet/>
      <dgm:spPr/>
      <dgm:t>
        <a:bodyPr/>
        <a:lstStyle/>
        <a:p>
          <a:endParaRPr lang="en-US"/>
        </a:p>
      </dgm:t>
    </dgm:pt>
    <dgm:pt modelId="{78250EBE-6440-4FB6-A5A0-2BEEE406BEB9}">
      <dgm:prSet custT="1"/>
      <dgm:spPr>
        <a:solidFill>
          <a:schemeClr val="tx1">
            <a:lumMod val="50000"/>
            <a:lumOff val="50000"/>
          </a:schemeClr>
        </a:solidFill>
      </dgm:spPr>
      <dgm:t>
        <a:bodyPr/>
        <a:lstStyle/>
        <a:p>
          <a:pPr rtl="0"/>
          <a:r>
            <a:rPr lang="en-US" sz="1600" dirty="0">
              <a:latin typeface="Calibri" panose="020F0502020204030204" pitchFamily="34" charset="0"/>
              <a:cs typeface="Calibri" panose="020F0502020204030204" pitchFamily="34" charset="0"/>
            </a:rPr>
            <a:t>4. Madhya Pradesh</a:t>
          </a:r>
        </a:p>
      </dgm:t>
    </dgm:pt>
    <dgm:pt modelId="{2A27E742-10F3-4CD1-BBC0-D4223E6E1D15}" type="parTrans" cxnId="{CD188CA4-F8EE-47EC-BB26-E51F1609ED02}">
      <dgm:prSet/>
      <dgm:spPr/>
      <dgm:t>
        <a:bodyPr/>
        <a:lstStyle/>
        <a:p>
          <a:endParaRPr lang="en-US"/>
        </a:p>
      </dgm:t>
    </dgm:pt>
    <dgm:pt modelId="{07188C01-476E-4D89-A41C-E5DF12578FFE}" type="sibTrans" cxnId="{CD188CA4-F8EE-47EC-BB26-E51F1609ED02}">
      <dgm:prSet/>
      <dgm:spPr/>
      <dgm:t>
        <a:bodyPr/>
        <a:lstStyle/>
        <a:p>
          <a:endParaRPr lang="en-US"/>
        </a:p>
      </dgm:t>
    </dgm:pt>
    <dgm:pt modelId="{2693EDB3-2E0D-41E9-8588-B5117EC80343}">
      <dgm:prSet custT="1"/>
      <dgm:spPr>
        <a:solidFill>
          <a:schemeClr val="bg1">
            <a:lumMod val="50000"/>
          </a:schemeClr>
        </a:solidFill>
      </dgm:spPr>
      <dgm:t>
        <a:bodyPr/>
        <a:lstStyle/>
        <a:p>
          <a:pPr rtl="0"/>
          <a:r>
            <a:rPr lang="en-US" sz="1600" dirty="0">
              <a:latin typeface="Calibri" panose="020F0502020204030204" pitchFamily="34" charset="0"/>
              <a:cs typeface="Calibri" panose="020F0502020204030204" pitchFamily="34" charset="0"/>
            </a:rPr>
            <a:t>5. Punjab</a:t>
          </a:r>
        </a:p>
      </dgm:t>
    </dgm:pt>
    <dgm:pt modelId="{CB6DA1CF-CAE0-4E65-9EA9-DFCC005E9EE1}" type="parTrans" cxnId="{EFD2B075-8CCA-48DC-A67F-2F3B55369014}">
      <dgm:prSet/>
      <dgm:spPr/>
      <dgm:t>
        <a:bodyPr/>
        <a:lstStyle/>
        <a:p>
          <a:endParaRPr lang="en-US"/>
        </a:p>
      </dgm:t>
    </dgm:pt>
    <dgm:pt modelId="{50A895A3-D778-4206-B652-0E7C100D2CAB}" type="sibTrans" cxnId="{EFD2B075-8CCA-48DC-A67F-2F3B55369014}">
      <dgm:prSet/>
      <dgm:spPr/>
      <dgm:t>
        <a:bodyPr/>
        <a:lstStyle/>
        <a:p>
          <a:endParaRPr lang="en-US"/>
        </a:p>
      </dgm:t>
    </dgm:pt>
    <dgm:pt modelId="{37153CBB-512A-4362-8726-2F6E7A249F1F}">
      <dgm:prSet custT="1"/>
      <dgm:spPr>
        <a:solidFill>
          <a:schemeClr val="tx1">
            <a:lumMod val="50000"/>
            <a:lumOff val="50000"/>
          </a:schemeClr>
        </a:solidFill>
      </dgm:spPr>
      <dgm:t>
        <a:bodyPr/>
        <a:lstStyle/>
        <a:p>
          <a:pPr rtl="0"/>
          <a:r>
            <a:rPr lang="en-US" sz="1600" dirty="0">
              <a:latin typeface="Calibri" panose="020F0502020204030204" pitchFamily="34" charset="0"/>
              <a:cs typeface="Calibri" panose="020F0502020204030204" pitchFamily="34" charset="0"/>
            </a:rPr>
            <a:t>6. Uttar Pradesh </a:t>
          </a:r>
        </a:p>
      </dgm:t>
    </dgm:pt>
    <dgm:pt modelId="{B1931A5D-0558-44D5-B2D6-C54ABE96C2DB}" type="parTrans" cxnId="{69CEA2FC-B8E2-4336-AA8E-84F659B31B03}">
      <dgm:prSet/>
      <dgm:spPr/>
      <dgm:t>
        <a:bodyPr/>
        <a:lstStyle/>
        <a:p>
          <a:endParaRPr lang="en-US"/>
        </a:p>
      </dgm:t>
    </dgm:pt>
    <dgm:pt modelId="{A2C34094-A962-4458-8C34-2C68DD42B7A6}" type="sibTrans" cxnId="{69CEA2FC-B8E2-4336-AA8E-84F659B31B03}">
      <dgm:prSet/>
      <dgm:spPr/>
      <dgm:t>
        <a:bodyPr/>
        <a:lstStyle/>
        <a:p>
          <a:endParaRPr lang="en-US"/>
        </a:p>
      </dgm:t>
    </dgm:pt>
    <dgm:pt modelId="{E3A5EF76-7F2B-4AD9-AEB2-9AF0A7A14C2D}">
      <dgm:prSet custT="1"/>
      <dgm:spPr>
        <a:solidFill>
          <a:schemeClr val="tx1">
            <a:lumMod val="50000"/>
            <a:lumOff val="50000"/>
          </a:schemeClr>
        </a:solidFill>
      </dgm:spPr>
      <dgm:t>
        <a:bodyPr/>
        <a:lstStyle/>
        <a:p>
          <a:pPr rtl="0"/>
          <a:r>
            <a:rPr lang="en-US" sz="1600" dirty="0">
              <a:latin typeface="Calibri" panose="020F0502020204030204" pitchFamily="34" charset="0"/>
              <a:cs typeface="Calibri" panose="020F0502020204030204" pitchFamily="34" charset="0"/>
            </a:rPr>
            <a:t>7. </a:t>
          </a:r>
          <a:r>
            <a:rPr lang="en-US" sz="1600" dirty="0" err="1">
              <a:latin typeface="Calibri" panose="020F0502020204030204" pitchFamily="34" charset="0"/>
              <a:cs typeface="Calibri" panose="020F0502020204030204" pitchFamily="34" charset="0"/>
            </a:rPr>
            <a:t>Uttarakhand</a:t>
          </a:r>
          <a:endParaRPr lang="en-US" sz="1600" dirty="0">
            <a:latin typeface="Calibri" panose="020F0502020204030204" pitchFamily="34" charset="0"/>
            <a:cs typeface="Calibri" panose="020F0502020204030204" pitchFamily="34" charset="0"/>
          </a:endParaRPr>
        </a:p>
      </dgm:t>
    </dgm:pt>
    <dgm:pt modelId="{0D9B5A15-0561-471A-AD7E-F0905F2F3CF0}" type="parTrans" cxnId="{22A550F7-9DE0-40D8-8BF9-16BC18613DED}">
      <dgm:prSet/>
      <dgm:spPr/>
      <dgm:t>
        <a:bodyPr/>
        <a:lstStyle/>
        <a:p>
          <a:endParaRPr lang="en-US"/>
        </a:p>
      </dgm:t>
    </dgm:pt>
    <dgm:pt modelId="{8378064B-27FC-4109-964E-430DEEF126C1}" type="sibTrans" cxnId="{22A550F7-9DE0-40D8-8BF9-16BC18613DED}">
      <dgm:prSet/>
      <dgm:spPr/>
      <dgm:t>
        <a:bodyPr/>
        <a:lstStyle/>
        <a:p>
          <a:endParaRPr lang="en-US"/>
        </a:p>
      </dgm:t>
    </dgm:pt>
    <dgm:pt modelId="{6EF2F63A-B7AB-4CF3-A5BB-26A166E41FA8}" type="pres">
      <dgm:prSet presAssocID="{17916F64-9BD2-46EA-A94D-C14A236425B2}" presName="linear" presStyleCnt="0">
        <dgm:presLayoutVars>
          <dgm:animLvl val="lvl"/>
          <dgm:resizeHandles val="exact"/>
        </dgm:presLayoutVars>
      </dgm:prSet>
      <dgm:spPr/>
      <dgm:t>
        <a:bodyPr/>
        <a:lstStyle/>
        <a:p>
          <a:endParaRPr lang="en-US"/>
        </a:p>
      </dgm:t>
    </dgm:pt>
    <dgm:pt modelId="{83837BE1-C29D-462D-A8C3-21EBCC3CF7D6}" type="pres">
      <dgm:prSet presAssocID="{6948E1BC-631D-4235-A2E6-66F70D9DAE07}" presName="parentText" presStyleLbl="node1" presStyleIdx="0" presStyleCnt="8" custScaleY="313368" custLinFactY="-76782" custLinFactNeighborY="-100000">
        <dgm:presLayoutVars>
          <dgm:chMax val="0"/>
          <dgm:bulletEnabled val="1"/>
        </dgm:presLayoutVars>
      </dgm:prSet>
      <dgm:spPr/>
      <dgm:t>
        <a:bodyPr/>
        <a:lstStyle/>
        <a:p>
          <a:endParaRPr lang="en-US"/>
        </a:p>
      </dgm:t>
    </dgm:pt>
    <dgm:pt modelId="{BF41DE4E-9545-4352-9F2E-ACAEFF1395E9}" type="pres">
      <dgm:prSet presAssocID="{E77AB9A2-90E7-4B50-8AF9-879599019A75}" presName="spacer" presStyleCnt="0"/>
      <dgm:spPr/>
    </dgm:pt>
    <dgm:pt modelId="{126EDA69-9788-4EAA-AC62-C1B088BF0E5B}" type="pres">
      <dgm:prSet presAssocID="{C54DF6AF-66B0-4830-A8A2-57485EC7F27A}" presName="parentText" presStyleLbl="node1" presStyleIdx="1" presStyleCnt="8" custScaleY="106585" custLinFactY="-65012" custLinFactNeighborX="665" custLinFactNeighborY="-100000">
        <dgm:presLayoutVars>
          <dgm:chMax val="0"/>
          <dgm:bulletEnabled val="1"/>
        </dgm:presLayoutVars>
      </dgm:prSet>
      <dgm:spPr/>
      <dgm:t>
        <a:bodyPr/>
        <a:lstStyle/>
        <a:p>
          <a:endParaRPr lang="en-US"/>
        </a:p>
      </dgm:t>
    </dgm:pt>
    <dgm:pt modelId="{4C7B58BF-70B7-4935-9CDC-4FEDA7C52672}" type="pres">
      <dgm:prSet presAssocID="{E0E2513B-0BE8-413B-AE0A-42BB0CA0633A}" presName="spacer" presStyleCnt="0"/>
      <dgm:spPr/>
    </dgm:pt>
    <dgm:pt modelId="{CC1050E2-11D0-4467-9F41-F97C22470499}" type="pres">
      <dgm:prSet presAssocID="{B2CA0F9C-485A-4606-BA94-007EBF02CA74}" presName="parentText" presStyleLbl="node1" presStyleIdx="2" presStyleCnt="8" custLinFactY="-55318" custLinFactNeighborY="-100000">
        <dgm:presLayoutVars>
          <dgm:chMax val="0"/>
          <dgm:bulletEnabled val="1"/>
        </dgm:presLayoutVars>
      </dgm:prSet>
      <dgm:spPr/>
      <dgm:t>
        <a:bodyPr/>
        <a:lstStyle/>
        <a:p>
          <a:endParaRPr lang="en-US"/>
        </a:p>
      </dgm:t>
    </dgm:pt>
    <dgm:pt modelId="{CE7D439D-52F7-43A0-97CC-5682E4667740}" type="pres">
      <dgm:prSet presAssocID="{CB3B4B55-15FC-4734-897D-78983E2A8948}" presName="spacer" presStyleCnt="0"/>
      <dgm:spPr/>
    </dgm:pt>
    <dgm:pt modelId="{6159561F-0425-4749-BDAE-DC2DCDB00762}" type="pres">
      <dgm:prSet presAssocID="{A6356F89-1E52-4ACB-A885-F9605A44FC2B}" presName="parentText" presStyleLbl="node1" presStyleIdx="3" presStyleCnt="8" custLinFactY="-57066" custLinFactNeighborY="-100000">
        <dgm:presLayoutVars>
          <dgm:chMax val="0"/>
          <dgm:bulletEnabled val="1"/>
        </dgm:presLayoutVars>
      </dgm:prSet>
      <dgm:spPr/>
      <dgm:t>
        <a:bodyPr/>
        <a:lstStyle/>
        <a:p>
          <a:endParaRPr lang="en-US"/>
        </a:p>
      </dgm:t>
    </dgm:pt>
    <dgm:pt modelId="{359DD0C0-698A-4048-A103-2E0387F9F380}" type="pres">
      <dgm:prSet presAssocID="{5B674D3B-91C5-4582-8E03-37445AA4B6BF}" presName="spacer" presStyleCnt="0"/>
      <dgm:spPr/>
    </dgm:pt>
    <dgm:pt modelId="{5CD5F9CE-CC64-4706-9712-A888739106F2}" type="pres">
      <dgm:prSet presAssocID="{78250EBE-6440-4FB6-A5A0-2BEEE406BEB9}" presName="parentText" presStyleLbl="node1" presStyleIdx="4" presStyleCnt="8" custLinFactY="-60044" custLinFactNeighborY="-100000">
        <dgm:presLayoutVars>
          <dgm:chMax val="0"/>
          <dgm:bulletEnabled val="1"/>
        </dgm:presLayoutVars>
      </dgm:prSet>
      <dgm:spPr/>
      <dgm:t>
        <a:bodyPr/>
        <a:lstStyle/>
        <a:p>
          <a:endParaRPr lang="en-US"/>
        </a:p>
      </dgm:t>
    </dgm:pt>
    <dgm:pt modelId="{2FB2ACC0-AD49-44E5-A5BF-B1C32E928828}" type="pres">
      <dgm:prSet presAssocID="{07188C01-476E-4D89-A41C-E5DF12578FFE}" presName="spacer" presStyleCnt="0"/>
      <dgm:spPr/>
    </dgm:pt>
    <dgm:pt modelId="{9DFDB451-A403-4D7B-952E-C1EBC568B1BD}" type="pres">
      <dgm:prSet presAssocID="{2693EDB3-2E0D-41E9-8588-B5117EC80343}" presName="parentText" presStyleLbl="node1" presStyleIdx="5" presStyleCnt="8" custLinFactY="-62022" custLinFactNeighborY="-100000">
        <dgm:presLayoutVars>
          <dgm:chMax val="0"/>
          <dgm:bulletEnabled val="1"/>
        </dgm:presLayoutVars>
      </dgm:prSet>
      <dgm:spPr/>
      <dgm:t>
        <a:bodyPr/>
        <a:lstStyle/>
        <a:p>
          <a:endParaRPr lang="en-US"/>
        </a:p>
      </dgm:t>
    </dgm:pt>
    <dgm:pt modelId="{BC4B4656-E2C8-45E3-AED6-CED82552A3AD}" type="pres">
      <dgm:prSet presAssocID="{50A895A3-D778-4206-B652-0E7C100D2CAB}" presName="spacer" presStyleCnt="0"/>
      <dgm:spPr/>
    </dgm:pt>
    <dgm:pt modelId="{61343E17-79D9-4D6C-88C9-EB255C3E1FBC}" type="pres">
      <dgm:prSet presAssocID="{37153CBB-512A-4362-8726-2F6E7A249F1F}" presName="parentText" presStyleLbl="node1" presStyleIdx="6" presStyleCnt="8" custLinFactY="-57822" custLinFactNeighborY="-100000">
        <dgm:presLayoutVars>
          <dgm:chMax val="0"/>
          <dgm:bulletEnabled val="1"/>
        </dgm:presLayoutVars>
      </dgm:prSet>
      <dgm:spPr/>
      <dgm:t>
        <a:bodyPr/>
        <a:lstStyle/>
        <a:p>
          <a:endParaRPr lang="en-US"/>
        </a:p>
      </dgm:t>
    </dgm:pt>
    <dgm:pt modelId="{DD9DA5E5-3CDA-4908-9D01-CC055AE4B4C3}" type="pres">
      <dgm:prSet presAssocID="{A2C34094-A962-4458-8C34-2C68DD42B7A6}" presName="spacer" presStyleCnt="0"/>
      <dgm:spPr/>
    </dgm:pt>
    <dgm:pt modelId="{65B68446-514F-49C9-B32B-71C2EC86EF94}" type="pres">
      <dgm:prSet presAssocID="{E3A5EF76-7F2B-4AD9-AEB2-9AF0A7A14C2D}" presName="parentText" presStyleLbl="node1" presStyleIdx="7" presStyleCnt="8" custLinFactY="-53081" custLinFactNeighborY="-100000">
        <dgm:presLayoutVars>
          <dgm:chMax val="0"/>
          <dgm:bulletEnabled val="1"/>
        </dgm:presLayoutVars>
      </dgm:prSet>
      <dgm:spPr/>
      <dgm:t>
        <a:bodyPr/>
        <a:lstStyle/>
        <a:p>
          <a:endParaRPr lang="en-US"/>
        </a:p>
      </dgm:t>
    </dgm:pt>
  </dgm:ptLst>
  <dgm:cxnLst>
    <dgm:cxn modelId="{22A550F7-9DE0-40D8-8BF9-16BC18613DED}" srcId="{17916F64-9BD2-46EA-A94D-C14A236425B2}" destId="{E3A5EF76-7F2B-4AD9-AEB2-9AF0A7A14C2D}" srcOrd="7" destOrd="0" parTransId="{0D9B5A15-0561-471A-AD7E-F0905F2F3CF0}" sibTransId="{8378064B-27FC-4109-964E-430DEEF126C1}"/>
    <dgm:cxn modelId="{6231ACF7-598D-4354-A987-6C2CE60A7F9D}" type="presOf" srcId="{6948E1BC-631D-4235-A2E6-66F70D9DAE07}" destId="{83837BE1-C29D-462D-A8C3-21EBCC3CF7D6}" srcOrd="0" destOrd="0" presId="urn:microsoft.com/office/officeart/2005/8/layout/vList2"/>
    <dgm:cxn modelId="{7F143564-D82B-4BE2-9B82-4B6729DA86F3}" type="presOf" srcId="{A6356F89-1E52-4ACB-A885-F9605A44FC2B}" destId="{6159561F-0425-4749-BDAE-DC2DCDB00762}" srcOrd="0" destOrd="0" presId="urn:microsoft.com/office/officeart/2005/8/layout/vList2"/>
    <dgm:cxn modelId="{A5BEB646-8726-4C15-8E83-CF14FDA03682}" type="presOf" srcId="{37153CBB-512A-4362-8726-2F6E7A249F1F}" destId="{61343E17-79D9-4D6C-88C9-EB255C3E1FBC}" srcOrd="0" destOrd="0" presId="urn:microsoft.com/office/officeart/2005/8/layout/vList2"/>
    <dgm:cxn modelId="{7BB370F4-4F05-43F5-A5A9-ECDE682FEEB5}" srcId="{17916F64-9BD2-46EA-A94D-C14A236425B2}" destId="{B2CA0F9C-485A-4606-BA94-007EBF02CA74}" srcOrd="2" destOrd="0" parTransId="{C5F1577A-A247-4C8D-804C-93234FC58A4F}" sibTransId="{CB3B4B55-15FC-4734-897D-78983E2A8948}"/>
    <dgm:cxn modelId="{C601E2C2-2570-4E93-B45C-16D28DF2EF9B}" srcId="{17916F64-9BD2-46EA-A94D-C14A236425B2}" destId="{A6356F89-1E52-4ACB-A885-F9605A44FC2B}" srcOrd="3" destOrd="0" parTransId="{834DFBC8-1FD5-4B23-B11A-E39552B2FF5D}" sibTransId="{5B674D3B-91C5-4582-8E03-37445AA4B6BF}"/>
    <dgm:cxn modelId="{2A30CF0B-1463-47A7-83A3-5BC19F36A059}" srcId="{17916F64-9BD2-46EA-A94D-C14A236425B2}" destId="{C54DF6AF-66B0-4830-A8A2-57485EC7F27A}" srcOrd="1" destOrd="0" parTransId="{7D059EF7-2FCE-4BA8-A347-F81DADCE9E9D}" sibTransId="{E0E2513B-0BE8-413B-AE0A-42BB0CA0633A}"/>
    <dgm:cxn modelId="{2A28471E-BEF0-43FD-BBFE-C05041CCDE95}" type="presOf" srcId="{E3A5EF76-7F2B-4AD9-AEB2-9AF0A7A14C2D}" destId="{65B68446-514F-49C9-B32B-71C2EC86EF94}" srcOrd="0" destOrd="0" presId="urn:microsoft.com/office/officeart/2005/8/layout/vList2"/>
    <dgm:cxn modelId="{CD188CA4-F8EE-47EC-BB26-E51F1609ED02}" srcId="{17916F64-9BD2-46EA-A94D-C14A236425B2}" destId="{78250EBE-6440-4FB6-A5A0-2BEEE406BEB9}" srcOrd="4" destOrd="0" parTransId="{2A27E742-10F3-4CD1-BBC0-D4223E6E1D15}" sibTransId="{07188C01-476E-4D89-A41C-E5DF12578FFE}"/>
    <dgm:cxn modelId="{F09EFDDC-C71E-480A-BC47-7E5DE1A2828B}" type="presOf" srcId="{C54DF6AF-66B0-4830-A8A2-57485EC7F27A}" destId="{126EDA69-9788-4EAA-AC62-C1B088BF0E5B}" srcOrd="0" destOrd="0" presId="urn:microsoft.com/office/officeart/2005/8/layout/vList2"/>
    <dgm:cxn modelId="{0D22C275-BE36-49F8-8E35-26BB5425F63E}" type="presOf" srcId="{B2CA0F9C-485A-4606-BA94-007EBF02CA74}" destId="{CC1050E2-11D0-4467-9F41-F97C22470499}" srcOrd="0" destOrd="0" presId="urn:microsoft.com/office/officeart/2005/8/layout/vList2"/>
    <dgm:cxn modelId="{85D72682-D555-4B02-9671-AC06D763F5FD}" type="presOf" srcId="{78250EBE-6440-4FB6-A5A0-2BEEE406BEB9}" destId="{5CD5F9CE-CC64-4706-9712-A888739106F2}" srcOrd="0" destOrd="0" presId="urn:microsoft.com/office/officeart/2005/8/layout/vList2"/>
    <dgm:cxn modelId="{EFD2B075-8CCA-48DC-A67F-2F3B55369014}" srcId="{17916F64-9BD2-46EA-A94D-C14A236425B2}" destId="{2693EDB3-2E0D-41E9-8588-B5117EC80343}" srcOrd="5" destOrd="0" parTransId="{CB6DA1CF-CAE0-4E65-9EA9-DFCC005E9EE1}" sibTransId="{50A895A3-D778-4206-B652-0E7C100D2CAB}"/>
    <dgm:cxn modelId="{9C670EF9-AEA8-411D-822E-4E8E4F94255C}" type="presOf" srcId="{2693EDB3-2E0D-41E9-8588-B5117EC80343}" destId="{9DFDB451-A403-4D7B-952E-C1EBC568B1BD}" srcOrd="0" destOrd="0" presId="urn:microsoft.com/office/officeart/2005/8/layout/vList2"/>
    <dgm:cxn modelId="{DE1FD17C-E475-4A03-B53F-241E151F4038}" type="presOf" srcId="{17916F64-9BD2-46EA-A94D-C14A236425B2}" destId="{6EF2F63A-B7AB-4CF3-A5BB-26A166E41FA8}" srcOrd="0" destOrd="0" presId="urn:microsoft.com/office/officeart/2005/8/layout/vList2"/>
    <dgm:cxn modelId="{EDEE4604-CB7F-4028-AFCC-C67D69FAC602}" srcId="{17916F64-9BD2-46EA-A94D-C14A236425B2}" destId="{6948E1BC-631D-4235-A2E6-66F70D9DAE07}" srcOrd="0" destOrd="0" parTransId="{B422B290-5E33-4380-8A1B-4FDFAE8CE4AC}" sibTransId="{E77AB9A2-90E7-4B50-8AF9-879599019A75}"/>
    <dgm:cxn modelId="{69CEA2FC-B8E2-4336-AA8E-84F659B31B03}" srcId="{17916F64-9BD2-46EA-A94D-C14A236425B2}" destId="{37153CBB-512A-4362-8726-2F6E7A249F1F}" srcOrd="6" destOrd="0" parTransId="{B1931A5D-0558-44D5-B2D6-C54ABE96C2DB}" sibTransId="{A2C34094-A962-4458-8C34-2C68DD42B7A6}"/>
    <dgm:cxn modelId="{A185CA70-B2AE-4F84-8B3D-9729FEBEE07E}" type="presParOf" srcId="{6EF2F63A-B7AB-4CF3-A5BB-26A166E41FA8}" destId="{83837BE1-C29D-462D-A8C3-21EBCC3CF7D6}" srcOrd="0" destOrd="0" presId="urn:microsoft.com/office/officeart/2005/8/layout/vList2"/>
    <dgm:cxn modelId="{55DB8792-F543-4A34-81B7-5325762C93CB}" type="presParOf" srcId="{6EF2F63A-B7AB-4CF3-A5BB-26A166E41FA8}" destId="{BF41DE4E-9545-4352-9F2E-ACAEFF1395E9}" srcOrd="1" destOrd="0" presId="urn:microsoft.com/office/officeart/2005/8/layout/vList2"/>
    <dgm:cxn modelId="{6672A837-7990-44A6-AEE1-D94AE6A7EB75}" type="presParOf" srcId="{6EF2F63A-B7AB-4CF3-A5BB-26A166E41FA8}" destId="{126EDA69-9788-4EAA-AC62-C1B088BF0E5B}" srcOrd="2" destOrd="0" presId="urn:microsoft.com/office/officeart/2005/8/layout/vList2"/>
    <dgm:cxn modelId="{96036183-6870-4C96-ADB8-AC07E94A6868}" type="presParOf" srcId="{6EF2F63A-B7AB-4CF3-A5BB-26A166E41FA8}" destId="{4C7B58BF-70B7-4935-9CDC-4FEDA7C52672}" srcOrd="3" destOrd="0" presId="urn:microsoft.com/office/officeart/2005/8/layout/vList2"/>
    <dgm:cxn modelId="{608390AE-075C-4268-B163-9E1C1391018A}" type="presParOf" srcId="{6EF2F63A-B7AB-4CF3-A5BB-26A166E41FA8}" destId="{CC1050E2-11D0-4467-9F41-F97C22470499}" srcOrd="4" destOrd="0" presId="urn:microsoft.com/office/officeart/2005/8/layout/vList2"/>
    <dgm:cxn modelId="{A2EF1270-3F16-4AC7-9A1B-D0BD5AADE1F7}" type="presParOf" srcId="{6EF2F63A-B7AB-4CF3-A5BB-26A166E41FA8}" destId="{CE7D439D-52F7-43A0-97CC-5682E4667740}" srcOrd="5" destOrd="0" presId="urn:microsoft.com/office/officeart/2005/8/layout/vList2"/>
    <dgm:cxn modelId="{35E0FAD1-ECD6-4546-B3AD-71E9779131D8}" type="presParOf" srcId="{6EF2F63A-B7AB-4CF3-A5BB-26A166E41FA8}" destId="{6159561F-0425-4749-BDAE-DC2DCDB00762}" srcOrd="6" destOrd="0" presId="urn:microsoft.com/office/officeart/2005/8/layout/vList2"/>
    <dgm:cxn modelId="{3225E3E7-98F7-4A58-AC73-87691A049A1E}" type="presParOf" srcId="{6EF2F63A-B7AB-4CF3-A5BB-26A166E41FA8}" destId="{359DD0C0-698A-4048-A103-2E0387F9F380}" srcOrd="7" destOrd="0" presId="urn:microsoft.com/office/officeart/2005/8/layout/vList2"/>
    <dgm:cxn modelId="{1D98E831-6FB5-41B2-8F81-2330665D71EB}" type="presParOf" srcId="{6EF2F63A-B7AB-4CF3-A5BB-26A166E41FA8}" destId="{5CD5F9CE-CC64-4706-9712-A888739106F2}" srcOrd="8" destOrd="0" presId="urn:microsoft.com/office/officeart/2005/8/layout/vList2"/>
    <dgm:cxn modelId="{8DC34CC3-26A5-4B9E-A0CF-DA91A046221A}" type="presParOf" srcId="{6EF2F63A-B7AB-4CF3-A5BB-26A166E41FA8}" destId="{2FB2ACC0-AD49-44E5-A5BF-B1C32E928828}" srcOrd="9" destOrd="0" presId="urn:microsoft.com/office/officeart/2005/8/layout/vList2"/>
    <dgm:cxn modelId="{D949A1F3-21BC-4837-B05D-87376389388E}" type="presParOf" srcId="{6EF2F63A-B7AB-4CF3-A5BB-26A166E41FA8}" destId="{9DFDB451-A403-4D7B-952E-C1EBC568B1BD}" srcOrd="10" destOrd="0" presId="urn:microsoft.com/office/officeart/2005/8/layout/vList2"/>
    <dgm:cxn modelId="{2113F7EF-41A7-4231-B18A-D65D7F3446D5}" type="presParOf" srcId="{6EF2F63A-B7AB-4CF3-A5BB-26A166E41FA8}" destId="{BC4B4656-E2C8-45E3-AED6-CED82552A3AD}" srcOrd="11" destOrd="0" presId="urn:microsoft.com/office/officeart/2005/8/layout/vList2"/>
    <dgm:cxn modelId="{72AE6DAF-A759-4CD7-836F-EC569053F818}" type="presParOf" srcId="{6EF2F63A-B7AB-4CF3-A5BB-26A166E41FA8}" destId="{61343E17-79D9-4D6C-88C9-EB255C3E1FBC}" srcOrd="12" destOrd="0" presId="urn:microsoft.com/office/officeart/2005/8/layout/vList2"/>
    <dgm:cxn modelId="{1ABD91AA-0880-41A5-AED9-0E81791486FC}" type="presParOf" srcId="{6EF2F63A-B7AB-4CF3-A5BB-26A166E41FA8}" destId="{DD9DA5E5-3CDA-4908-9D01-CC055AE4B4C3}" srcOrd="13" destOrd="0" presId="urn:microsoft.com/office/officeart/2005/8/layout/vList2"/>
    <dgm:cxn modelId="{FF9372DC-70C6-42D9-9F95-BD81775215C1}" type="presParOf" srcId="{6EF2F63A-B7AB-4CF3-A5BB-26A166E41FA8}" destId="{65B68446-514F-49C9-B32B-71C2EC86EF94}" srcOrd="14"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D7B2E1-1EC6-4900-8464-0C73EC3086B7}" type="datetimeFigureOut">
              <a:rPr lang="en-US" smtClean="0"/>
              <a:pPr/>
              <a:t>10/2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1E5640-B5BD-4B96-BB6B-78DB52D30EA8}" type="slidenum">
              <a:rPr lang="en-US" smtClean="0"/>
              <a:pPr/>
              <a:t>‹#›</a:t>
            </a:fld>
            <a:endParaRPr lang="en-US"/>
          </a:p>
        </p:txBody>
      </p:sp>
    </p:spTree>
    <p:extLst>
      <p:ext uri="{BB962C8B-B14F-4D97-AF65-F5344CB8AC3E}">
        <p14:creationId xmlns:p14="http://schemas.microsoft.com/office/powerpoint/2010/main" val="413773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3</a:t>
            </a:fld>
            <a:endParaRPr lang="en-US" dirty="0">
              <a:solidFill>
                <a:prstClr val="black"/>
              </a:solidFill>
            </a:endParaRPr>
          </a:p>
        </p:txBody>
      </p:sp>
    </p:spTree>
    <p:extLst>
      <p:ext uri="{BB962C8B-B14F-4D97-AF65-F5344CB8AC3E}">
        <p14:creationId xmlns:p14="http://schemas.microsoft.com/office/powerpoint/2010/main" val="21766964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764067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3045931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16525493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7973135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427964167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isco.com/c/en_in/solutions/industries/smart-connected-communities.html</a:t>
            </a:r>
          </a:p>
          <a:p>
            <a:r>
              <a:rPr lang="en-US" dirty="0"/>
              <a:t>http://e.huawei.com/sg/solutions/industries/smart-city</a:t>
            </a:r>
          </a:p>
          <a:p>
            <a:r>
              <a:rPr lang="en-US" dirty="0"/>
              <a:t>https://www.sterlitetech.com/smart-city-solutions</a:t>
            </a:r>
          </a:p>
          <a:p>
            <a:endParaRPr lang="en-US" dirty="0"/>
          </a:p>
        </p:txBody>
      </p:sp>
      <p:sp>
        <p:nvSpPr>
          <p:cNvPr id="4" name="Slide Number Placeholder 3"/>
          <p:cNvSpPr>
            <a:spLocks noGrp="1"/>
          </p:cNvSpPr>
          <p:nvPr>
            <p:ph type="sldNum" sz="quarter" idx="10"/>
          </p:nvPr>
        </p:nvSpPr>
        <p:spPr/>
        <p:txBody>
          <a:bodyPr/>
          <a:lstStyle/>
          <a:p>
            <a:fld id="{5D1E5640-B5BD-4B96-BB6B-78DB52D30EA8}"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1249396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41425"/>
            <a:ext cx="5956300" cy="3349625"/>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pPr defTabSz="957657">
              <a:defRPr/>
            </a:pPr>
            <a:fld id="{394944F1-70C7-4746-9F7C-0C148EFE765A}" type="slidenum">
              <a:rPr lang="en-IN" smtClean="0">
                <a:solidFill>
                  <a:prstClr val="black"/>
                </a:solidFill>
              </a:rPr>
              <a:pPr defTabSz="957657">
                <a:defRPr/>
              </a:pPr>
              <a:t>10</a:t>
            </a:fld>
            <a:endParaRPr lang="en-IN" dirty="0">
              <a:solidFill>
                <a:prstClr val="black"/>
              </a:solidFill>
            </a:endParaRPr>
          </a:p>
        </p:txBody>
      </p:sp>
      <p:sp>
        <p:nvSpPr>
          <p:cNvPr id="5" name="Date Placeholder 4">
            <a:extLst>
              <a:ext uri="{FF2B5EF4-FFF2-40B4-BE49-F238E27FC236}">
                <a16:creationId xmlns:a16="http://schemas.microsoft.com/office/drawing/2014/main" xmlns="" id="{58CAFB74-1C02-433E-894B-7A9ACB1AED36}"/>
              </a:ext>
            </a:extLst>
          </p:cNvPr>
          <p:cNvSpPr>
            <a:spLocks noGrp="1"/>
          </p:cNvSpPr>
          <p:nvPr>
            <p:ph type="dt" idx="11"/>
          </p:nvPr>
        </p:nvSpPr>
        <p:spPr/>
        <p:txBody>
          <a:bodyPr/>
          <a:lstStyle/>
          <a:p>
            <a:pPr defTabSz="957657">
              <a:defRPr/>
            </a:pPr>
            <a:fld id="{1F48A600-791B-4472-AB00-8DF455889F5D}" type="datetime8">
              <a:rPr lang="en-US" smtClean="0">
                <a:solidFill>
                  <a:prstClr val="black"/>
                </a:solidFill>
              </a:rPr>
              <a:pPr defTabSz="957657">
                <a:defRPr/>
              </a:pPr>
              <a:t>10/29/2020 8:19 PM</a:t>
            </a:fld>
            <a:endParaRPr lang="en-IN" dirty="0">
              <a:solidFill>
                <a:prstClr val="black"/>
              </a:solidFill>
            </a:endParaRPr>
          </a:p>
        </p:txBody>
      </p:sp>
      <p:sp>
        <p:nvSpPr>
          <p:cNvPr id="6" name="Footer Placeholder 5">
            <a:extLst>
              <a:ext uri="{FF2B5EF4-FFF2-40B4-BE49-F238E27FC236}">
                <a16:creationId xmlns:a16="http://schemas.microsoft.com/office/drawing/2014/main" xmlns="" id="{684239DA-6A6F-4E10-A1A5-41434ADA5DB8}"/>
              </a:ext>
            </a:extLst>
          </p:cNvPr>
          <p:cNvSpPr>
            <a:spLocks noGrp="1"/>
          </p:cNvSpPr>
          <p:nvPr>
            <p:ph type="ftr" sz="quarter" idx="12"/>
          </p:nvPr>
        </p:nvSpPr>
        <p:spPr/>
        <p:txBody>
          <a:bodyPr/>
          <a:lstStyle/>
          <a:p>
            <a:pPr defTabSz="957657">
              <a:defRPr/>
            </a:pPr>
            <a:r>
              <a:rPr lang="en-US">
                <a:solidFill>
                  <a:prstClr val="black"/>
                </a:solidFill>
              </a:rPr>
              <a:t>2.9A_Richard Threlfall_FINAL.pptx</a:t>
            </a:r>
            <a:endParaRPr lang="en-IN" dirty="0">
              <a:solidFill>
                <a:prstClr val="black"/>
              </a:solidFill>
            </a:endParaRPr>
          </a:p>
        </p:txBody>
      </p:sp>
    </p:spTree>
    <p:extLst>
      <p:ext uri="{BB962C8B-B14F-4D97-AF65-F5344CB8AC3E}">
        <p14:creationId xmlns:p14="http://schemas.microsoft.com/office/powerpoint/2010/main" val="31768604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pPr/>
              <a:t>11</a:t>
            </a:fld>
            <a:endParaRPr lang="en-US" dirty="0"/>
          </a:p>
        </p:txBody>
      </p:sp>
    </p:spTree>
    <p:extLst>
      <p:ext uri="{BB962C8B-B14F-4D97-AF65-F5344CB8AC3E}">
        <p14:creationId xmlns:p14="http://schemas.microsoft.com/office/powerpoint/2010/main" val="32355639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2193417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37145582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0669033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4000" dirty="0"/>
          </a:p>
        </p:txBody>
      </p:sp>
      <p:sp>
        <p:nvSpPr>
          <p:cNvPr id="4" name="Slide Number Placeholder 3"/>
          <p:cNvSpPr>
            <a:spLocks noGrp="1"/>
          </p:cNvSpPr>
          <p:nvPr>
            <p:ph type="sldNum" sz="quarter" idx="10"/>
          </p:nvPr>
        </p:nvSpPr>
        <p:spPr/>
        <p:txBody>
          <a:bodyPr/>
          <a:lstStyle/>
          <a:p>
            <a:fld id="{6F0463BF-E419-4B23-B020-F0923D26BE7E}"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10020134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709863" y="1435300"/>
            <a:ext cx="7022748" cy="3510000"/>
          </a:xfrm>
        </p:spPr>
        <p:txBody>
          <a:bodyPr anchor="t" anchorCtr="0"/>
          <a:lstStyle>
            <a:lvl1pPr algn="l">
              <a:defRPr sz="11000" baseline="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7" name="Text Placeholder 3"/>
          <p:cNvSpPr>
            <a:spLocks noGrp="1"/>
          </p:cNvSpPr>
          <p:nvPr>
            <p:ph type="body" sz="quarter" idx="11"/>
          </p:nvPr>
        </p:nvSpPr>
        <p:spPr>
          <a:xfrm>
            <a:off x="2749463" y="5390900"/>
            <a:ext cx="6983148"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0815" cy="6858666"/>
          </a:xfrm>
          <a:prstGeom prst="rect">
            <a:avLst/>
          </a:prstGeom>
        </p:spPr>
      </p:pic>
    </p:spTree>
    <p:extLst>
      <p:ext uri="{BB962C8B-B14F-4D97-AF65-F5344CB8AC3E}">
        <p14:creationId xmlns:p14="http://schemas.microsoft.com/office/powerpoint/2010/main" val="3494990079"/>
      </p:ext>
    </p:extLst>
  </p:cSld>
  <p:clrMapOvr>
    <a:masterClrMapping/>
  </p:clrMapOvr>
  <p:extLst>
    <p:ext uri="{DCECCB84-F9BA-43D5-87BE-67443E8EF086}">
      <p15:sldGuideLst xmlns:p15="http://schemas.microsoft.com/office/powerpoint/2012/main">
        <p15:guide id="1" pos="173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72617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5024390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40078018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32235555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24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804580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14479825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p:spPr>
        <p:txBody>
          <a:bodyPr anchor="ctr"/>
          <a:lstStyle>
            <a:lvl1pPr algn="ctr">
              <a:defRPr/>
            </a:lvl1pPr>
          </a:lstStyle>
          <a:p>
            <a:r>
              <a:rPr lang="en-US" dirty="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3739807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159636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383576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13955348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820600" y="266700"/>
            <a:ext cx="10195200" cy="53340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6043585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20728248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10151381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4099838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32773978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21039979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31007360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Violet</a:t>
              </a:r>
            </a:p>
            <a:p>
              <a:pPr algn="ctr"/>
              <a:r>
                <a:rPr lang="en-GB" sz="900" dirty="0">
                  <a:solidFill>
                    <a:prstClr val="white"/>
                  </a:solidFill>
                </a:rPr>
                <a:t>72 / 54 / 152</a:t>
              </a: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3543311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6"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3" name="Text Placeholder 2"/>
          <p:cNvSpPr>
            <a:spLocks noGrp="1"/>
          </p:cNvSpPr>
          <p:nvPr>
            <p:ph type="body" sz="quarter" idx="11"/>
          </p:nvPr>
        </p:nvSpPr>
        <p:spPr>
          <a:xfrm>
            <a:off x="2729163" y="477139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sp>
        <p:nvSpPr>
          <p:cNvPr id="15" name="Text Placeholder 2"/>
          <p:cNvSpPr>
            <a:spLocks noGrp="1"/>
          </p:cNvSpPr>
          <p:nvPr>
            <p:ph type="body" sz="quarter" idx="13"/>
          </p:nvPr>
        </p:nvSpPr>
        <p:spPr>
          <a:xfrm>
            <a:off x="2729163"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sp>
        <p:nvSpPr>
          <p:cNvPr id="24" name="Text Placeholder 2"/>
          <p:cNvSpPr>
            <a:spLocks noGrp="1"/>
          </p:cNvSpPr>
          <p:nvPr>
            <p:ph type="body" sz="quarter" idx="15"/>
          </p:nvPr>
        </p:nvSpPr>
        <p:spPr>
          <a:xfrm>
            <a:off x="5920501" y="3480007"/>
            <a:ext cx="236126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pic>
        <p:nvPicPr>
          <p:cNvPr id="25" name="Picture 2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29091612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002776"/>
                </a:solidFill>
                <a:latin typeface="Arial"/>
                <a:cs typeface="Arial"/>
              </a:defRPr>
            </a:lvl1pPr>
          </a:lstStyle>
          <a:p>
            <a:endParaRPr/>
          </a:p>
        </p:txBody>
      </p:sp>
      <p:sp>
        <p:nvSpPr>
          <p:cNvPr id="3" name="Holder 3"/>
          <p:cNvSpPr>
            <a:spLocks noGrp="1"/>
          </p:cNvSpPr>
          <p:nvPr>
            <p:ph sz="half" idx="2"/>
          </p:nvPr>
        </p:nvSpPr>
        <p:spPr>
          <a:xfrm>
            <a:off x="512165" y="1493265"/>
            <a:ext cx="5311775" cy="4740275"/>
          </a:xfrm>
          <a:prstGeom prst="rect">
            <a:avLst/>
          </a:prstGeom>
        </p:spPr>
        <p:txBody>
          <a:bodyPr wrap="square" lIns="0" tIns="0" rIns="0" bIns="0">
            <a:spAutoFit/>
          </a:bodyPr>
          <a:lstStyle>
            <a:lvl1pPr>
              <a:defRPr sz="1000" b="1" i="0">
                <a:solidFill>
                  <a:srgbClr val="00A0DE"/>
                </a:solidFill>
                <a:latin typeface="Arial"/>
                <a:cs typeface="Arial"/>
              </a:defRPr>
            </a:lvl1pPr>
          </a:lstStyle>
          <a:p>
            <a:endParaRPr/>
          </a:p>
        </p:txBody>
      </p:sp>
      <p:sp>
        <p:nvSpPr>
          <p:cNvPr id="4" name="Holder 4"/>
          <p:cNvSpPr>
            <a:spLocks noGrp="1"/>
          </p:cNvSpPr>
          <p:nvPr>
            <p:ph sz="half" idx="3"/>
          </p:nvPr>
        </p:nvSpPr>
        <p:spPr>
          <a:xfrm>
            <a:off x="6371335" y="1551559"/>
            <a:ext cx="5326380" cy="4592955"/>
          </a:xfrm>
          <a:prstGeom prst="rect">
            <a:avLst/>
          </a:prstGeom>
        </p:spPr>
        <p:txBody>
          <a:bodyPr wrap="square" lIns="0" tIns="0" rIns="0" bIns="0">
            <a:spAutoFit/>
          </a:bodyPr>
          <a:lstStyle>
            <a:lvl1pPr>
              <a:defRPr sz="1000" b="1" i="0">
                <a:solidFill>
                  <a:srgbClr val="00A0DE"/>
                </a:solidFill>
                <a:latin typeface="Arial"/>
                <a:cs typeface="Arial"/>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pPr/>
              <a:t>10/29/2020</a:t>
            </a:fld>
            <a:endParaRPr lang="en-US"/>
          </a:p>
        </p:txBody>
      </p:sp>
      <p:sp>
        <p:nvSpPr>
          <p:cNvPr id="7" name="Holder 7"/>
          <p:cNvSpPr>
            <a:spLocks noGrp="1"/>
          </p:cNvSpPr>
          <p:nvPr>
            <p:ph type="sldNum" sz="quarter" idx="7"/>
          </p:nvPr>
        </p:nvSpPr>
        <p:spPr>
          <a:xfrm>
            <a:off x="485749" y="6617081"/>
            <a:ext cx="231140" cy="203834"/>
          </a:xfrm>
          <a:prstGeom prst="rect">
            <a:avLst/>
          </a:prstGeom>
        </p:spPr>
        <p:txBody>
          <a:bodyPr lIns="0" tIns="0" rIns="0" bIns="0"/>
          <a:lstStyle>
            <a:lvl1pPr>
              <a:defRPr sz="1400" b="1" i="0">
                <a:solidFill>
                  <a:schemeClr val="tx1"/>
                </a:solidFill>
                <a:latin typeface="Calibri"/>
                <a:cs typeface="Calibri"/>
              </a:defRPr>
            </a:lvl1pPr>
          </a:lstStyle>
          <a:p>
            <a:pPr marL="25400">
              <a:lnSpc>
                <a:spcPts val="1525"/>
              </a:lnSpc>
            </a:pPr>
            <a:fld id="{81D60167-4931-47E6-BA6A-407CBD079E47}" type="slidenum">
              <a:rPr dirty="0">
                <a:solidFill>
                  <a:srgbClr val="00A0DE"/>
                </a:solidFill>
              </a:rPr>
              <a:pPr marL="25400">
                <a:lnSpc>
                  <a:spcPts val="1525"/>
                </a:lnSpc>
              </a:pPr>
              <a:t>‹#›</a:t>
            </a:fld>
            <a:endParaRPr dirty="0">
              <a:solidFill>
                <a:srgbClr val="00A0DE"/>
              </a:solidFill>
            </a:endParaRPr>
          </a:p>
        </p:txBody>
      </p:sp>
    </p:spTree>
    <p:extLst>
      <p:ext uri="{BB962C8B-B14F-4D97-AF65-F5344CB8AC3E}">
        <p14:creationId xmlns:p14="http://schemas.microsoft.com/office/powerpoint/2010/main" val="19638882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709863" y="1435300"/>
            <a:ext cx="8489950" cy="3510000"/>
          </a:xfr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418093710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10"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chemeClr val="tx2"/>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sp>
        <p:nvSpPr>
          <p:cNvPr id="5" name="Text Placeholder 14"/>
          <p:cNvSpPr>
            <a:spLocks noGrp="1"/>
          </p:cNvSpPr>
          <p:nvPr>
            <p:ph type="body" sz="quarter" idx="44" hasCustomPrompt="1"/>
          </p:nvPr>
        </p:nvSpPr>
        <p:spPr>
          <a:xfrm>
            <a:off x="838200" y="1557339"/>
            <a:ext cx="10515600" cy="4284662"/>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spTree>
    <p:extLst>
      <p:ext uri="{BB962C8B-B14F-4D97-AF65-F5344CB8AC3E}">
        <p14:creationId xmlns:p14="http://schemas.microsoft.com/office/powerpoint/2010/main" val="3265404222"/>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7360466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465385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62208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1892428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1330126"/>
            <a:ext cx="49680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3"/>
          </p:nvPr>
        </p:nvSpPr>
        <p:spPr>
          <a:xfrm>
            <a:off x="62208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7465801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6220800" y="1330126"/>
            <a:ext cx="4968000" cy="4546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0126"/>
            <a:ext cx="4968000" cy="454680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264727875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3742126"/>
            <a:ext cx="10195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1003200" y="1331360"/>
            <a:ext cx="10195200" cy="2135740"/>
          </a:xfrm>
        </p:spPr>
        <p:txBody>
          <a:bodyPr anchor="ctr"/>
          <a:lstStyle>
            <a:lvl1pPr algn="ctr">
              <a:defRPr/>
            </a:lvl1pPr>
          </a:lstStyle>
          <a:p>
            <a:r>
              <a:rPr lang="en-US" dirty="0"/>
              <a:t>Click icon to add chart</a:t>
            </a:r>
            <a:endParaRPr lang="en-GB" dirty="0"/>
          </a:p>
        </p:txBody>
      </p:sp>
    </p:spTree>
    <p:extLst>
      <p:ext uri="{BB962C8B-B14F-4D97-AF65-F5344CB8AC3E}">
        <p14:creationId xmlns:p14="http://schemas.microsoft.com/office/powerpoint/2010/main" val="354656054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5" name="Chart Placeholder 4"/>
          <p:cNvSpPr>
            <a:spLocks noGrp="1"/>
          </p:cNvSpPr>
          <p:nvPr>
            <p:ph type="chart" sz="quarter" idx="11"/>
          </p:nvPr>
        </p:nvSpPr>
        <p:spPr>
          <a:xfrm>
            <a:off x="4550400" y="1331360"/>
            <a:ext cx="3139200" cy="2134800"/>
          </a:xfrm>
        </p:spPr>
        <p:txBody>
          <a:bodyPr anchor="ctr"/>
          <a:lstStyle>
            <a:lvl1pPr algn="ctr">
              <a:defRPr/>
            </a:lvl1pPr>
          </a:lstStyle>
          <a:p>
            <a:r>
              <a:rPr lang="en-US" dirty="0"/>
              <a:t>Click icon to add chart</a:t>
            </a:r>
            <a:endParaRPr lang="en-GB" dirty="0"/>
          </a:p>
        </p:txBody>
      </p:sp>
      <p:sp>
        <p:nvSpPr>
          <p:cNvPr id="6" name="Chart Placeholder 4"/>
          <p:cNvSpPr>
            <a:spLocks noGrp="1"/>
          </p:cNvSpPr>
          <p:nvPr>
            <p:ph type="chart" sz="quarter" idx="12"/>
          </p:nvPr>
        </p:nvSpPr>
        <p:spPr>
          <a:xfrm>
            <a:off x="1003200" y="1331360"/>
            <a:ext cx="3187200" cy="2134800"/>
          </a:xfrm>
        </p:spPr>
        <p:txBody>
          <a:bodyPr anchor="ctr"/>
          <a:lstStyle>
            <a:lvl1pPr algn="ctr">
              <a:defRPr/>
            </a:lvl1pPr>
          </a:lstStyle>
          <a:p>
            <a:r>
              <a:rPr lang="en-US" dirty="0"/>
              <a:t>Click icon to add chart</a:t>
            </a:r>
            <a:endParaRPr lang="en-GB" dirty="0"/>
          </a:p>
        </p:txBody>
      </p:sp>
      <p:sp>
        <p:nvSpPr>
          <p:cNvPr id="7" name="Text Placeholder 8"/>
          <p:cNvSpPr>
            <a:spLocks noGrp="1"/>
          </p:cNvSpPr>
          <p:nvPr>
            <p:ph type="body" sz="quarter" idx="10"/>
          </p:nvPr>
        </p:nvSpPr>
        <p:spPr>
          <a:xfrm>
            <a:off x="10032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8049600" y="1331360"/>
            <a:ext cx="3139200" cy="2134800"/>
          </a:xfrm>
        </p:spPr>
        <p:txBody>
          <a:bodyPr anchor="ctr"/>
          <a:lstStyle>
            <a:lvl1pPr algn="ctr">
              <a:defRPr/>
            </a:lvl1pPr>
          </a:lstStyle>
          <a:p>
            <a:r>
              <a:rPr lang="en-US" dirty="0"/>
              <a:t>Click icon to add chart</a:t>
            </a:r>
            <a:endParaRPr lang="en-GB" dirty="0"/>
          </a:p>
        </p:txBody>
      </p:sp>
      <p:sp>
        <p:nvSpPr>
          <p:cNvPr id="9" name="Text Placeholder 8"/>
          <p:cNvSpPr>
            <a:spLocks noGrp="1"/>
          </p:cNvSpPr>
          <p:nvPr>
            <p:ph type="body" sz="quarter" idx="14"/>
          </p:nvPr>
        </p:nvSpPr>
        <p:spPr>
          <a:xfrm>
            <a:off x="45024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8001600" y="3742126"/>
            <a:ext cx="3187200" cy="2134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220523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4" name="Picture Placeholder 3"/>
          <p:cNvSpPr>
            <a:spLocks noGrp="1"/>
          </p:cNvSpPr>
          <p:nvPr>
            <p:ph type="pic" sz="quarter" idx="10"/>
          </p:nvPr>
        </p:nvSpPr>
        <p:spPr>
          <a:xfrm>
            <a:off x="1003200" y="1330126"/>
            <a:ext cx="10195200" cy="4546800"/>
          </a:xfrm>
        </p:spPr>
        <p:txBody>
          <a:bodyPr anchor="ctr"/>
          <a:lstStyle>
            <a:lvl1pPr algn="ctr">
              <a:defRPr/>
            </a:lvl1pPr>
          </a:lstStyle>
          <a:p>
            <a:r>
              <a:rPr lang="en-US" dirty="0"/>
              <a:t>Click icon to add picture</a:t>
            </a:r>
            <a:endParaRPr lang="en-GB" dirty="0"/>
          </a:p>
        </p:txBody>
      </p:sp>
    </p:spTree>
    <p:extLst>
      <p:ext uri="{BB962C8B-B14F-4D97-AF65-F5344CB8AC3E}">
        <p14:creationId xmlns:p14="http://schemas.microsoft.com/office/powerpoint/2010/main" val="29235971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5876925"/>
          </a:xfrm>
        </p:spPr>
        <p:txBody>
          <a:bodyPr anchor="ctr"/>
          <a:lstStyle>
            <a:lvl1pPr algn="ctr">
              <a:defRPr/>
            </a:lvl1pPr>
          </a:lstStyle>
          <a:p>
            <a:r>
              <a:rPr lang="en-US" dirty="0"/>
              <a:t>Click icon to add picture</a:t>
            </a:r>
            <a:endParaRPr lang="en-GB" dirty="0"/>
          </a:p>
        </p:txBody>
      </p:sp>
      <p:sp>
        <p:nvSpPr>
          <p:cNvPr id="6"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7" name="TextBox 6"/>
          <p:cNvSpPr txBox="1"/>
          <p:nvPr userDrawn="1"/>
        </p:nvSpPr>
        <p:spPr>
          <a:xfrm>
            <a:off x="2234934" y="6266997"/>
            <a:ext cx="7756800" cy="370800"/>
          </a:xfrm>
          <a:prstGeom prst="rect">
            <a:avLst/>
          </a:prstGeom>
          <a:noFill/>
        </p:spPr>
        <p:txBody>
          <a:bodyPr wrap="square" lIns="0" tIns="0" rIns="0" bIns="0" rtlCol="0">
            <a:noAutofit/>
          </a:bodyPr>
          <a:lstStyle/>
          <a:p>
            <a:pPr>
              <a:defRPr/>
            </a:pPr>
            <a:r>
              <a:rPr lang="en-GB" sz="600" dirty="0">
                <a:solidFill>
                  <a:prstClr val="white">
                    <a:lumMod val="65000"/>
                  </a:prstClr>
                </a:solidFill>
              </a:rPr>
              <a:t>©KPMG 2016. Insert copyright information here. Imagnimus inciis sed maximus, acepedi psandi occum qui coribus et volumquia volo con pe quis ipsae con experfe raerovition pariorem fuga. Ita cores doluptae pro consed mi, ut et adi bea cus sum il magnita tiunteseque sae vel modi rem con errorpor sendiciendes et, optate est, sin non pro dolenda nimint ea doluptur sapernatius eum facernam adipit ex es inverferum eventio rempos inus exererum solutet la quia suntotatem explique mi, comnis es molut eic tem excestis et ellautes.</a:t>
            </a:r>
          </a:p>
        </p:txBody>
      </p:sp>
      <p:sp>
        <p:nvSpPr>
          <p:cNvPr id="8" name="TextBox 7"/>
          <p:cNvSpPr txBox="1"/>
          <p:nvPr userDrawn="1"/>
        </p:nvSpPr>
        <p:spPr>
          <a:xfrm>
            <a:off x="5059200" y="6637578"/>
            <a:ext cx="2256000" cy="10955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
        <p:nvSpPr>
          <p:cNvPr id="9" name="Freeform 19"/>
          <p:cNvSpPr>
            <a:spLocks noEditPoints="1"/>
          </p:cNvSpPr>
          <p:nvPr userDrawn="1"/>
        </p:nvSpPr>
        <p:spPr bwMode="auto">
          <a:xfrm>
            <a:off x="1003201" y="6266997"/>
            <a:ext cx="484029" cy="196893"/>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Tree>
    <p:extLst>
      <p:ext uri="{BB962C8B-B14F-4D97-AF65-F5344CB8AC3E}">
        <p14:creationId xmlns:p14="http://schemas.microsoft.com/office/powerpoint/2010/main" val="37377624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0804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1576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2348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1003200" y="1322388"/>
            <a:ext cx="18768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0804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1576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2348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9312000" y="1322388"/>
            <a:ext cx="18768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9312000" y="2172526"/>
            <a:ext cx="1876800" cy="3704400"/>
          </a:xfrm>
        </p:spPr>
        <p:txBody>
          <a:bodyPr/>
          <a:lstStyle>
            <a:lvl1pPr algn="l">
              <a:defRPr sz="1400"/>
            </a:lvl1pPr>
            <a:lvl2pPr algn="l">
              <a:defRPr sz="1400"/>
            </a:lvl2pPr>
            <a:lvl3pPr algn="l">
              <a:defRPr sz="1400"/>
            </a:lvl3pPr>
            <a:lvl4pPr algn="l">
              <a:defRPr sz="1400"/>
            </a:lvl4pPr>
            <a:lvl5pPr algn="l">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2942913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pic>
        <p:nvPicPr>
          <p:cNvPr id="2" name="Picture 2" descr="c:\Users\uktpahalls\Downloads\Thank you shutterstock_133319240.jp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73019" y="1098551"/>
            <a:ext cx="10410092" cy="5757863"/>
          </a:xfrm>
          <a:prstGeom prst="rect">
            <a:avLst/>
          </a:prstGeom>
          <a:noFill/>
        </p:spPr>
      </p:pic>
      <p:sp>
        <p:nvSpPr>
          <p:cNvPr id="4" name="Rectangle 3"/>
          <p:cNvSpPr/>
          <p:nvPr userDrawn="1"/>
        </p:nvSpPr>
        <p:spPr bwMode="gray">
          <a:xfrm>
            <a:off x="11236574" y="6477991"/>
            <a:ext cx="619369" cy="280987"/>
          </a:xfrm>
          <a:prstGeom prst="rect">
            <a:avLst/>
          </a:prstGeom>
          <a:ln>
            <a:miter lim="800000"/>
            <a:headEnd/>
            <a:tailEnd/>
          </a:ln>
        </p:spPr>
        <p:txBody>
          <a:bodyPr lIns="71987" tIns="71987" rIns="0" bIns="0">
            <a:noAutofit/>
          </a:bodyPr>
          <a:lstStyle/>
          <a:p>
            <a:pPr algn="r">
              <a:spcBef>
                <a:spcPct val="40000"/>
              </a:spcBef>
              <a:defRPr/>
            </a:pPr>
            <a:fld id="{6BA71C0A-9F0F-41ED-AE97-DBF05B351E59}" type="slidenum">
              <a:rPr lang="en-GB" sz="900">
                <a:solidFill>
                  <a:srgbClr val="009FDA"/>
                </a:solidFill>
                <a:latin typeface="Arial"/>
              </a:rPr>
              <a:pPr algn="r">
                <a:spcBef>
                  <a:spcPct val="40000"/>
                </a:spcBef>
                <a:defRPr/>
              </a:pPr>
              <a:t>‹#›</a:t>
            </a:fld>
            <a:endParaRPr lang="en-GB" sz="900" dirty="0">
              <a:solidFill>
                <a:srgbClr val="009FDA"/>
              </a:solidFill>
              <a:latin typeface="Arial"/>
            </a:endParaRPr>
          </a:p>
        </p:txBody>
      </p:sp>
      <p:sp>
        <p:nvSpPr>
          <p:cNvPr id="5" name="Text Box 8"/>
          <p:cNvSpPr txBox="1">
            <a:spLocks noChangeArrowheads="1"/>
          </p:cNvSpPr>
          <p:nvPr userDrawn="1">
            <p:custDataLst>
              <p:tags r:id="rId1"/>
            </p:custDataLst>
          </p:nvPr>
        </p:nvSpPr>
        <p:spPr bwMode="gray">
          <a:xfrm>
            <a:off x="336067" y="6489784"/>
            <a:ext cx="5672016" cy="257356"/>
          </a:xfrm>
          <a:prstGeom prst="rect">
            <a:avLst/>
          </a:prstGeom>
          <a:noFill/>
          <a:ln w="9525">
            <a:noFill/>
            <a:miter lim="800000"/>
            <a:headEnd/>
            <a:tailEnd/>
          </a:ln>
          <a:effectLst/>
        </p:spPr>
        <p:txBody>
          <a:bodyPr wrap="square" lIns="0" tIns="71987" rIns="0" bIns="0">
            <a:spAutoFit/>
          </a:bodyPr>
          <a:lstStyle/>
          <a:p>
            <a:pPr algn="l">
              <a:spcBef>
                <a:spcPts val="300"/>
              </a:spcBef>
            </a:pPr>
            <a:r>
              <a:rPr lang="en-GB" sz="400" dirty="0">
                <a:solidFill>
                  <a:schemeClr val="bg1"/>
                </a:solidFill>
                <a:latin typeface="+mn-lt"/>
              </a:rPr>
              <a:t>© 2013 KPMG International Cooperative (”KPMG International”), a Swiss entity. Member firms of the network of independent firms are affiliated with KPMG International. KPMG International provides no client services. No member firm has any authority to obligate or bind KPMG International or any other member firm vis-à-vis third parties, nor does KPMG International have any such authority to obligate or bind any member firm. All rights reserved. The KPMG name, logo and “cutting through complexity” are registered trademarks or trademarks of KPMG International.</a:t>
            </a:r>
          </a:p>
        </p:txBody>
      </p:sp>
    </p:spTree>
    <p:extLst>
      <p:ext uri="{BB962C8B-B14F-4D97-AF65-F5344CB8AC3E}">
        <p14:creationId xmlns:p14="http://schemas.microsoft.com/office/powerpoint/2010/main" val="3844619526"/>
      </p:ext>
    </p:extLst>
  </p:cSld>
  <p:clrMapOvr>
    <a:masterClrMapping/>
  </p:clrMapOvr>
  <p:transition spd="slow">
    <p:wipe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10032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36160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62288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8841600" y="2172526"/>
            <a:ext cx="2347200" cy="3704400"/>
          </a:xfrm>
        </p:spPr>
        <p:txBody>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994833" y="1322388"/>
            <a:ext cx="2347200" cy="604800"/>
          </a:xfrm>
          <a:prstGeom prst="homePlate">
            <a:avLst>
              <a:gd name="adj" fmla="val 31970"/>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3610422"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6226011"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8841600" y="1322388"/>
            <a:ext cx="2347200" cy="604800"/>
          </a:xfrm>
          <a:prstGeom prst="chevron">
            <a:avLst>
              <a:gd name="adj" fmla="val 31101"/>
            </a:avLst>
          </a:prstGeom>
          <a:solidFill>
            <a:schemeClr val="tx2"/>
          </a:solidFill>
        </p:spPr>
        <p:txBody>
          <a:bodyPr lIns="54000" tIns="54000" rIns="54000" bIns="54000" anchor="ctr"/>
          <a:lstStyle>
            <a:lvl1pPr algn="l">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Tree>
    <p:extLst>
      <p:ext uri="{BB962C8B-B14F-4D97-AF65-F5344CB8AC3E}">
        <p14:creationId xmlns:p14="http://schemas.microsoft.com/office/powerpoint/2010/main" val="201262411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6" name="Text Placeholder 10"/>
          <p:cNvSpPr>
            <a:spLocks noGrp="1" noChangeAspect="1"/>
          </p:cNvSpPr>
          <p:nvPr>
            <p:ph type="body" sz="quarter" idx="21"/>
          </p:nvPr>
        </p:nvSpPr>
        <p:spPr bwMode="gray">
          <a:xfrm>
            <a:off x="5306559" y="2757950"/>
            <a:ext cx="1660995" cy="1659600"/>
          </a:xfrm>
          <a:prstGeom prst="ellipse">
            <a:avLst/>
          </a:prstGeom>
          <a:solidFill>
            <a:schemeClr val="accent1"/>
          </a:solidFill>
          <a:ln>
            <a:noFill/>
          </a:ln>
        </p:spPr>
        <p:txBody>
          <a:bodyPr lIns="54000" tIns="54000" rIns="54000" bIns="54000" anchor="ctr" anchorCtr="1">
            <a:noAutofit/>
          </a:bodyPr>
          <a:lstStyle>
            <a:lvl1pPr algn="ctr">
              <a:defRPr sz="1400">
                <a:solidFill>
                  <a:schemeClr val="bg1"/>
                </a:solidFill>
                <a:latin typeface="+mn-lt"/>
                <a:cs typeface="Arial" panose="020B0604020202020204" pitchFamily="34" charset="0"/>
              </a:defRPr>
            </a:lvl1pPr>
          </a:lstStyle>
          <a:p>
            <a:pPr lvl="0"/>
            <a:r>
              <a:rPr lang="en-US"/>
              <a:t>Edit Master text styles</a:t>
            </a:r>
          </a:p>
        </p:txBody>
      </p:sp>
      <p:sp>
        <p:nvSpPr>
          <p:cNvPr id="17" name="Text Placeholder 20"/>
          <p:cNvSpPr>
            <a:spLocks noGrp="1"/>
          </p:cNvSpPr>
          <p:nvPr>
            <p:ph type="body" sz="quarter" idx="26"/>
          </p:nvPr>
        </p:nvSpPr>
        <p:spPr bwMode="gray">
          <a:xfrm>
            <a:off x="1003347"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6" name="Text Placeholder 20"/>
          <p:cNvSpPr>
            <a:spLocks noGrp="1"/>
          </p:cNvSpPr>
          <p:nvPr>
            <p:ph type="body" sz="quarter" idx="48"/>
          </p:nvPr>
        </p:nvSpPr>
        <p:spPr bwMode="gray">
          <a:xfrm>
            <a:off x="1003347" y="4015250"/>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2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7" name="Text Placeholder 20"/>
          <p:cNvSpPr>
            <a:spLocks noGrp="1"/>
          </p:cNvSpPr>
          <p:nvPr>
            <p:ph type="body" sz="quarter" idx="50"/>
          </p:nvPr>
        </p:nvSpPr>
        <p:spPr bwMode="gray">
          <a:xfrm>
            <a:off x="7344001" y="1322388"/>
            <a:ext cx="3847695" cy="388800"/>
          </a:xfrm>
          <a:prstGeom prst="rect">
            <a:avLst/>
          </a:prstGeom>
          <a:solidFill>
            <a:schemeClr val="tx2"/>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8" name="Text Placeholder 20"/>
          <p:cNvSpPr>
            <a:spLocks noGrp="1"/>
          </p:cNvSpPr>
          <p:nvPr>
            <p:ph type="body" sz="quarter" idx="52"/>
          </p:nvPr>
        </p:nvSpPr>
        <p:spPr bwMode="gray">
          <a:xfrm>
            <a:off x="7344001" y="4015250"/>
            <a:ext cx="3847695" cy="388800"/>
          </a:xfrm>
          <a:prstGeom prst="rect">
            <a:avLst/>
          </a:prstGeom>
          <a:solidFill>
            <a:srgbClr val="00338D"/>
          </a:solidFill>
          <a:ln w="12700">
            <a:solidFill>
              <a:srgbClr val="00338D"/>
            </a:solidFill>
          </a:ln>
        </p:spPr>
        <p:txBody>
          <a:bodyPr vert="horz" lIns="54000" tIns="54000" rIns="54000" bIns="54000" rtlCol="0" anchor="ctr" anchorCtr="0">
            <a:noAutofit/>
          </a:bodyPr>
          <a:lstStyle>
            <a:lvl1pPr>
              <a:defRPr lang="en-US" sz="1400" b="1" kern="1200" noProof="0" dirty="0" smtClean="0">
                <a:solidFill>
                  <a:schemeClr val="bg1"/>
                </a:solidFill>
                <a:latin typeface="+mn-lt"/>
                <a:ea typeface="+mn-ea"/>
                <a:cs typeface="Arial" panose="020B0604020202020204"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a:t>Edit Master text styles</a:t>
            </a:r>
          </a:p>
        </p:txBody>
      </p:sp>
      <p:sp>
        <p:nvSpPr>
          <p:cNvPr id="29" name="AutoShape 20"/>
          <p:cNvSpPr>
            <a:spLocks noChangeArrowheads="1"/>
          </p:cNvSpPr>
          <p:nvPr userDrawn="1"/>
        </p:nvSpPr>
        <p:spPr bwMode="gray">
          <a:xfrm rot="2700000">
            <a:off x="5088625"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31" name="Text Placeholder 3"/>
          <p:cNvSpPr>
            <a:spLocks noGrp="1"/>
          </p:cNvSpPr>
          <p:nvPr>
            <p:ph type="body" sz="quarter" idx="53"/>
          </p:nvPr>
        </p:nvSpPr>
        <p:spPr>
          <a:xfrm>
            <a:off x="1003347"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2" name="Text Placeholder 3"/>
          <p:cNvSpPr>
            <a:spLocks noGrp="1"/>
          </p:cNvSpPr>
          <p:nvPr>
            <p:ph type="body" sz="quarter" idx="54"/>
          </p:nvPr>
        </p:nvSpPr>
        <p:spPr>
          <a:xfrm>
            <a:off x="1003347"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3" name="Text Placeholder 3"/>
          <p:cNvSpPr>
            <a:spLocks noGrp="1"/>
          </p:cNvSpPr>
          <p:nvPr>
            <p:ph type="body" sz="quarter" idx="55"/>
          </p:nvPr>
        </p:nvSpPr>
        <p:spPr>
          <a:xfrm>
            <a:off x="7342095" y="1718873"/>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4" name="Text Placeholder 3"/>
          <p:cNvSpPr>
            <a:spLocks noGrp="1"/>
          </p:cNvSpPr>
          <p:nvPr>
            <p:ph type="body" sz="quarter" idx="56"/>
          </p:nvPr>
        </p:nvSpPr>
        <p:spPr>
          <a:xfrm>
            <a:off x="7342095" y="4404050"/>
            <a:ext cx="3849600" cy="1472876"/>
          </a:xfrm>
          <a:ln w="12700">
            <a:solidFill>
              <a:schemeClr val="tx2"/>
            </a:solidFill>
          </a:ln>
        </p:spPr>
        <p:txBody>
          <a:bodyPr lIns="54000" tIns="54000" rIns="54000" bIns="54000">
            <a:noAutofit/>
          </a:bodyPr>
          <a:lstStyle>
            <a:lvl1pPr>
              <a:defRPr sz="1400">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AutoShape 20"/>
          <p:cNvSpPr>
            <a:spLocks noChangeArrowheads="1"/>
          </p:cNvSpPr>
          <p:nvPr userDrawn="1"/>
        </p:nvSpPr>
        <p:spPr bwMode="gray">
          <a:xfrm rot="18900000" flipH="1">
            <a:off x="6742978" y="24685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1" name="AutoShape 20"/>
          <p:cNvSpPr>
            <a:spLocks noChangeArrowheads="1"/>
          </p:cNvSpPr>
          <p:nvPr userDrawn="1"/>
        </p:nvSpPr>
        <p:spPr bwMode="gray">
          <a:xfrm rot="18900000" flipV="1">
            <a:off x="5088624"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
        <p:nvSpPr>
          <p:cNvPr id="22" name="AutoShape 20"/>
          <p:cNvSpPr>
            <a:spLocks noChangeArrowheads="1"/>
          </p:cNvSpPr>
          <p:nvPr userDrawn="1"/>
        </p:nvSpPr>
        <p:spPr bwMode="gray">
          <a:xfrm rot="2700000" flipH="1" flipV="1">
            <a:off x="6742977" y="4310034"/>
            <a:ext cx="382279" cy="502740"/>
          </a:xfrm>
          <a:prstGeom prst="rightArrow">
            <a:avLst>
              <a:gd name="adj1" fmla="val 63333"/>
              <a:gd name="adj2" fmla="val 49582"/>
            </a:avLst>
          </a:prstGeom>
          <a:solidFill>
            <a:schemeClr val="tx2"/>
          </a:solidFill>
          <a:ln w="6350" algn="ctr">
            <a:noFill/>
            <a:miter lim="800000"/>
            <a:headEnd/>
            <a:tailEnd/>
          </a:ln>
          <a:effectLst/>
        </p:spPr>
        <p:txBody>
          <a:bodyPr rot="10800000" wrap="none" anchor="ctr">
            <a:noAutofit/>
          </a:bodyPr>
          <a:lstStyle/>
          <a:p>
            <a:endParaRPr lang="en-CA" sz="1200" dirty="0">
              <a:solidFill>
                <a:srgbClr val="483698"/>
              </a:solidFill>
            </a:endParaRPr>
          </a:p>
        </p:txBody>
      </p:sp>
    </p:spTree>
    <p:extLst>
      <p:ext uri="{BB962C8B-B14F-4D97-AF65-F5344CB8AC3E}">
        <p14:creationId xmlns:p14="http://schemas.microsoft.com/office/powerpoint/2010/main" val="33716777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9" name="Text Placeholder 8"/>
          <p:cNvSpPr>
            <a:spLocks noGrp="1"/>
          </p:cNvSpPr>
          <p:nvPr>
            <p:ph type="body" sz="quarter" idx="19"/>
          </p:nvPr>
        </p:nvSpPr>
        <p:spPr>
          <a:xfrm>
            <a:off x="10032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16" name="Text Placeholder 8"/>
          <p:cNvSpPr>
            <a:spLocks noGrp="1"/>
          </p:cNvSpPr>
          <p:nvPr>
            <p:ph type="body" sz="quarter" idx="21"/>
          </p:nvPr>
        </p:nvSpPr>
        <p:spPr>
          <a:xfrm>
            <a:off x="6220800" y="1708149"/>
            <a:ext cx="4968000" cy="4168775"/>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20461881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2" name="Title 1"/>
          <p:cNvSpPr>
            <a:spLocks noGrp="1"/>
          </p:cNvSpPr>
          <p:nvPr>
            <p:ph type="title"/>
          </p:nvPr>
        </p:nvSpPr>
        <p:spPr>
          <a:xfrm>
            <a:off x="1003200" y="432000"/>
            <a:ext cx="10185600" cy="518400"/>
          </a:xfrm>
        </p:spPr>
        <p:txBody>
          <a:bodyPr/>
          <a:lstStyle/>
          <a:p>
            <a:r>
              <a:rPr lang="en-US"/>
              <a:t>Click to edit Master title style</a:t>
            </a:r>
            <a:endParaRPr lang="en-US" dirty="0"/>
          </a:p>
        </p:txBody>
      </p:sp>
      <p:sp>
        <p:nvSpPr>
          <p:cNvPr id="13" name="Text Placeholder 8"/>
          <p:cNvSpPr>
            <a:spLocks noGrp="1"/>
          </p:cNvSpPr>
          <p:nvPr>
            <p:ph type="body" sz="quarter" idx="19"/>
          </p:nvPr>
        </p:nvSpPr>
        <p:spPr>
          <a:xfrm>
            <a:off x="10032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20"/>
          </p:nvPr>
        </p:nvSpPr>
        <p:spPr>
          <a:xfrm>
            <a:off x="10032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15" name="Text Placeholder 8"/>
          <p:cNvSpPr>
            <a:spLocks noGrp="1"/>
          </p:cNvSpPr>
          <p:nvPr>
            <p:ph type="body" sz="quarter" idx="21"/>
          </p:nvPr>
        </p:nvSpPr>
        <p:spPr>
          <a:xfrm>
            <a:off x="6220800" y="1708150"/>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22"/>
          </p:nvPr>
        </p:nvSpPr>
        <p:spPr>
          <a:xfrm>
            <a:off x="6220800" y="1322388"/>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21" name="Text Placeholder 8"/>
          <p:cNvSpPr>
            <a:spLocks noGrp="1"/>
          </p:cNvSpPr>
          <p:nvPr>
            <p:ph type="body" sz="quarter" idx="23"/>
          </p:nvPr>
        </p:nvSpPr>
        <p:spPr>
          <a:xfrm>
            <a:off x="10032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8"/>
          <p:cNvSpPr>
            <a:spLocks noGrp="1"/>
          </p:cNvSpPr>
          <p:nvPr>
            <p:ph type="body" sz="quarter" idx="24"/>
          </p:nvPr>
        </p:nvSpPr>
        <p:spPr>
          <a:xfrm>
            <a:off x="10032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
        <p:nvSpPr>
          <p:cNvPr id="23" name="Text Placeholder 8"/>
          <p:cNvSpPr>
            <a:spLocks noGrp="1"/>
          </p:cNvSpPr>
          <p:nvPr>
            <p:ph type="body" sz="quarter" idx="25"/>
          </p:nvPr>
        </p:nvSpPr>
        <p:spPr>
          <a:xfrm>
            <a:off x="6220800" y="4117976"/>
            <a:ext cx="4968000" cy="1758950"/>
          </a:xfrm>
          <a:ln w="12700">
            <a:solidFill>
              <a:schemeClr val="tx2"/>
            </a:solidFill>
          </a:ln>
        </p:spPr>
        <p:txBody>
          <a:bodyPr lIns="54000" tIns="54000" rIns="54000" bIns="54000"/>
          <a:lstStyle>
            <a:lvl1pPr>
              <a:defRPr sz="1500"/>
            </a:lvl1pPr>
            <a:lvl2pPr>
              <a:defRPr sz="15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Text Placeholder 8"/>
          <p:cNvSpPr>
            <a:spLocks noGrp="1"/>
          </p:cNvSpPr>
          <p:nvPr>
            <p:ph type="body" sz="quarter" idx="26"/>
          </p:nvPr>
        </p:nvSpPr>
        <p:spPr>
          <a:xfrm>
            <a:off x="6220800" y="3741920"/>
            <a:ext cx="4968000" cy="388800"/>
          </a:xfrm>
          <a:solidFill>
            <a:schemeClr val="tx2"/>
          </a:solidFill>
          <a:ln w="12700">
            <a:solidFill>
              <a:schemeClr val="tx2"/>
            </a:solidFill>
          </a:ln>
        </p:spPr>
        <p:txBody>
          <a:bodyPr lIns="54000" tIns="54000" rIns="54000" bIns="54000" anchor="ctr"/>
          <a:lstStyle>
            <a:lvl1pPr>
              <a:defRPr sz="1500">
                <a:solidFill>
                  <a:schemeClr val="bg1"/>
                </a:solidFill>
              </a:defRPr>
            </a:lvl1pPr>
            <a:lvl2pPr>
              <a:defRPr sz="1400"/>
            </a:lvl2pPr>
            <a:lvl3pPr>
              <a:defRPr sz="1400"/>
            </a:lvl3pPr>
            <a:lvl4pPr>
              <a:defRPr sz="1400"/>
            </a:lvl4pPr>
            <a:lvl5pPr>
              <a:defRPr sz="1400"/>
            </a:lvl5pPr>
          </a:lstStyle>
          <a:p>
            <a:pPr lvl="0"/>
            <a:r>
              <a:rPr lang="en-US"/>
              <a:t>Edit Master text styles</a:t>
            </a:r>
          </a:p>
        </p:txBody>
      </p:sp>
    </p:spTree>
    <p:extLst>
      <p:ext uri="{BB962C8B-B14F-4D97-AF65-F5344CB8AC3E}">
        <p14:creationId xmlns:p14="http://schemas.microsoft.com/office/powerpoint/2010/main" val="21072022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2852388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rgbClr val="6D2077"/>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A3A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21037900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13964456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rgbClr val="00A3A1"/>
        </a:solidFill>
        <a:effectLst/>
      </p:bgPr>
    </p:bg>
    <p:spTree>
      <p:nvGrpSpPr>
        <p:cNvPr id="1" name=""/>
        <p:cNvGrpSpPr/>
        <p:nvPr/>
      </p:nvGrpSpPr>
      <p:grpSpPr>
        <a:xfrm>
          <a:off x="0" y="0"/>
          <a:ext cx="0" cy="0"/>
          <a:chOff x="0" y="0"/>
          <a:chExt cx="0" cy="0"/>
        </a:xfrm>
      </p:grpSpPr>
      <p:sp>
        <p:nvSpPr>
          <p:cNvPr id="7" name="Title 1"/>
          <p:cNvSpPr>
            <a:spLocks noGrp="1"/>
          </p:cNvSpPr>
          <p:nvPr>
            <p:ph type="ctrTitle"/>
          </p:nvPr>
        </p:nvSpPr>
        <p:spPr>
          <a:xfrm>
            <a:off x="2709863" y="1435300"/>
            <a:ext cx="8489950" cy="3510000"/>
          </a:xfrm>
        </p:spPr>
        <p:txBody>
          <a:bodyPr anchor="t" anchorCtr="0"/>
          <a:lstStyle>
            <a:lvl1pPr algn="l">
              <a:defRPr sz="11000" baseline="0">
                <a:solidFill>
                  <a:schemeClr val="bg1"/>
                </a:solidFill>
              </a:defRPr>
            </a:lvl1pPr>
          </a:lstStyle>
          <a:p>
            <a:r>
              <a:rPr lang="en-US"/>
              <a:t>Click to edit Master title style</a:t>
            </a:r>
            <a:endParaRPr lang="en-US" dirty="0"/>
          </a:p>
        </p:txBody>
      </p:sp>
      <p:sp>
        <p:nvSpPr>
          <p:cNvPr id="9"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470A68"/>
          </a:solidFill>
        </p:spPr>
        <p:txBody>
          <a:bodyPr wrap="square" lIns="0" tIns="0" rIns="0" bIns="0" rtlCol="0">
            <a:noAutofit/>
          </a:bodyPr>
          <a:lstStyle/>
          <a:p>
            <a:endParaRPr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38218102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reserve="1">
  <p:cSld name="COLOR PALET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03200" y="432000"/>
            <a:ext cx="10185600" cy="518400"/>
          </a:xfrm>
        </p:spPr>
        <p:txBody>
          <a:bodyPr/>
          <a:lstStyle>
            <a:lvl1pPr>
              <a:defRPr/>
            </a:lvl1pPr>
          </a:lstStyle>
          <a:p>
            <a:r>
              <a:rPr lang="en-US" dirty="0"/>
              <a:t>Colors</a:t>
            </a:r>
          </a:p>
        </p:txBody>
      </p:sp>
      <p:grpSp>
        <p:nvGrpSpPr>
          <p:cNvPr id="20" name="Group 19"/>
          <p:cNvGrpSpPr/>
          <p:nvPr userDrawn="1"/>
        </p:nvGrpSpPr>
        <p:grpSpPr>
          <a:xfrm>
            <a:off x="1215696" y="1430719"/>
            <a:ext cx="9220656" cy="4323905"/>
            <a:chOff x="752400" y="1211263"/>
            <a:chExt cx="7647063" cy="4594225"/>
          </a:xfrm>
        </p:grpSpPr>
        <p:sp>
          <p:nvSpPr>
            <p:cNvPr id="37" name="TextBox 36"/>
            <p:cNvSpPr txBox="1"/>
            <p:nvPr userDrawn="1"/>
          </p:nvSpPr>
          <p:spPr>
            <a:xfrm>
              <a:off x="752400" y="1211263"/>
              <a:ext cx="828675" cy="504825"/>
            </a:xfrm>
            <a:prstGeom prst="rect">
              <a:avLst/>
            </a:prstGeom>
            <a:noFill/>
          </p:spPr>
          <p:txBody>
            <a:bodyPr wrap="square" lIns="0" tIns="0" rIns="54007" bIns="0" rtlCol="0">
              <a:noAutofit/>
            </a:bodyPr>
            <a:lstStyle/>
            <a:p>
              <a:r>
                <a:rPr lang="en-GB" sz="1000" b="1" dirty="0">
                  <a:solidFill>
                    <a:srgbClr val="00338D"/>
                  </a:solidFill>
                </a:rPr>
                <a:t>Primary</a:t>
              </a:r>
            </a:p>
          </p:txBody>
        </p:sp>
        <p:sp>
          <p:nvSpPr>
            <p:cNvPr id="38" name="TextBox 37"/>
            <p:cNvSpPr txBox="1"/>
            <p:nvPr userDrawn="1"/>
          </p:nvSpPr>
          <p:spPr>
            <a:xfrm>
              <a:off x="752400" y="2257893"/>
              <a:ext cx="898425" cy="504825"/>
            </a:xfrm>
            <a:prstGeom prst="rect">
              <a:avLst/>
            </a:prstGeom>
            <a:noFill/>
          </p:spPr>
          <p:txBody>
            <a:bodyPr wrap="square" lIns="0" tIns="0" rIns="54007" bIns="0" rtlCol="0">
              <a:noAutofit/>
            </a:bodyPr>
            <a:lstStyle/>
            <a:p>
              <a:r>
                <a:rPr lang="en-GB" sz="1000" b="1" dirty="0">
                  <a:solidFill>
                    <a:srgbClr val="00338D"/>
                  </a:solidFill>
                </a:rPr>
                <a:t>Secondary</a:t>
              </a:r>
            </a:p>
          </p:txBody>
        </p:sp>
        <p:sp>
          <p:nvSpPr>
            <p:cNvPr id="39" name="TextBox 38"/>
            <p:cNvSpPr txBox="1"/>
            <p:nvPr userDrawn="1"/>
          </p:nvSpPr>
          <p:spPr>
            <a:xfrm>
              <a:off x="752400" y="3304523"/>
              <a:ext cx="898425" cy="504825"/>
            </a:xfrm>
            <a:prstGeom prst="rect">
              <a:avLst/>
            </a:prstGeom>
            <a:noFill/>
          </p:spPr>
          <p:txBody>
            <a:bodyPr wrap="square" lIns="0" tIns="0" rIns="54007" bIns="0" rtlCol="0">
              <a:noAutofit/>
            </a:bodyPr>
            <a:lstStyle/>
            <a:p>
              <a:r>
                <a:rPr lang="en-GB" sz="1000" b="1" dirty="0">
                  <a:solidFill>
                    <a:srgbClr val="00338D"/>
                  </a:solidFill>
                </a:rPr>
                <a:t>Tertiary</a:t>
              </a:r>
            </a:p>
          </p:txBody>
        </p:sp>
        <p:sp>
          <p:nvSpPr>
            <p:cNvPr id="40" name="Rectangle 39"/>
            <p:cNvSpPr/>
            <p:nvPr userDrawn="1"/>
          </p:nvSpPr>
          <p:spPr>
            <a:xfrm>
              <a:off x="1566545" y="1211263"/>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41" name="Rectangle 40"/>
            <p:cNvSpPr/>
            <p:nvPr userDrawn="1"/>
          </p:nvSpPr>
          <p:spPr>
            <a:xfrm>
              <a:off x="2555365" y="1211263"/>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42" name="Rectangle 41"/>
            <p:cNvSpPr/>
            <p:nvPr userDrawn="1"/>
          </p:nvSpPr>
          <p:spPr>
            <a:xfrm>
              <a:off x="3544185" y="1211263"/>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43" name="Rectangle 42"/>
            <p:cNvSpPr/>
            <p:nvPr userDrawn="1"/>
          </p:nvSpPr>
          <p:spPr>
            <a:xfrm>
              <a:off x="1566545" y="2257893"/>
              <a:ext cx="90000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Violet</a:t>
              </a:r>
            </a:p>
            <a:p>
              <a:pPr algn="ctr"/>
              <a:r>
                <a:rPr lang="en-GB" sz="900" dirty="0">
                  <a:solidFill>
                    <a:prstClr val="white"/>
                  </a:solidFill>
                </a:rPr>
                <a:t>72 / 54 / 152</a:t>
              </a:r>
            </a:p>
          </p:txBody>
        </p:sp>
        <p:sp>
          <p:nvSpPr>
            <p:cNvPr id="44" name="Rectangle 43"/>
            <p:cNvSpPr/>
            <p:nvPr userDrawn="1"/>
          </p:nvSpPr>
          <p:spPr>
            <a:xfrm>
              <a:off x="2555365" y="2257893"/>
              <a:ext cx="900000" cy="720000"/>
            </a:xfrm>
            <a:prstGeom prst="rect">
              <a:avLst/>
            </a:prstGeom>
            <a:solidFill>
              <a:srgbClr val="470A6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urple</a:t>
              </a:r>
            </a:p>
            <a:p>
              <a:pPr algn="ctr"/>
              <a:r>
                <a:rPr lang="en-GB" sz="900" dirty="0">
                  <a:solidFill>
                    <a:prstClr val="white"/>
                  </a:solidFill>
                </a:rPr>
                <a:t>71 / 10 / 104</a:t>
              </a:r>
            </a:p>
          </p:txBody>
        </p:sp>
        <p:sp>
          <p:nvSpPr>
            <p:cNvPr id="45" name="Rectangle 44"/>
            <p:cNvSpPr/>
            <p:nvPr userDrawn="1"/>
          </p:nvSpPr>
          <p:spPr>
            <a:xfrm>
              <a:off x="3544185" y="2257893"/>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46" name="Rectangle 45"/>
            <p:cNvSpPr/>
            <p:nvPr userDrawn="1"/>
          </p:nvSpPr>
          <p:spPr>
            <a:xfrm>
              <a:off x="4533005" y="2257893"/>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47" name="Rectangle 46"/>
            <p:cNvSpPr/>
            <p:nvPr userDrawn="1"/>
          </p:nvSpPr>
          <p:spPr>
            <a:xfrm>
              <a:off x="1566545" y="3304523"/>
              <a:ext cx="900000" cy="720000"/>
            </a:xfrm>
            <a:prstGeom prst="rect">
              <a:avLst/>
            </a:prstGeom>
            <a:solidFill>
              <a:srgbClr val="009A4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Green</a:t>
              </a:r>
            </a:p>
            <a:p>
              <a:pPr algn="ctr"/>
              <a:r>
                <a:rPr lang="en-GB" sz="900" dirty="0">
                  <a:solidFill>
                    <a:prstClr val="white"/>
                  </a:solidFill>
                </a:rPr>
                <a:t>0 / 154 / 68</a:t>
              </a:r>
            </a:p>
          </p:txBody>
        </p:sp>
        <p:sp>
          <p:nvSpPr>
            <p:cNvPr id="48" name="Rectangle 47"/>
            <p:cNvSpPr/>
            <p:nvPr userDrawn="1"/>
          </p:nvSpPr>
          <p:spPr>
            <a:xfrm>
              <a:off x="2555365" y="3304523"/>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49" name="Rectangle 48"/>
            <p:cNvSpPr/>
            <p:nvPr userDrawn="1"/>
          </p:nvSpPr>
          <p:spPr>
            <a:xfrm>
              <a:off x="3544185" y="3304523"/>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50" name="Rectangle 49"/>
            <p:cNvSpPr/>
            <p:nvPr userDrawn="1"/>
          </p:nvSpPr>
          <p:spPr>
            <a:xfrm>
              <a:off x="4533005" y="3304523"/>
              <a:ext cx="900000" cy="720000"/>
            </a:xfrm>
            <a:prstGeom prst="rect">
              <a:avLst/>
            </a:prstGeom>
            <a:solidFill>
              <a:srgbClr val="F68D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range</a:t>
              </a:r>
            </a:p>
            <a:p>
              <a:pPr algn="ctr"/>
              <a:r>
                <a:rPr lang="en-GB" sz="900" dirty="0">
                  <a:solidFill>
                    <a:prstClr val="white"/>
                  </a:solidFill>
                </a:rPr>
                <a:t>246 / 141 / 46</a:t>
              </a:r>
            </a:p>
          </p:txBody>
        </p:sp>
        <p:sp>
          <p:nvSpPr>
            <p:cNvPr id="51" name="Rectangle 50"/>
            <p:cNvSpPr/>
            <p:nvPr userDrawn="1"/>
          </p:nvSpPr>
          <p:spPr>
            <a:xfrm>
              <a:off x="5521825" y="3304523"/>
              <a:ext cx="900000" cy="720000"/>
            </a:xfrm>
            <a:prstGeom prst="rect">
              <a:avLst/>
            </a:prstGeom>
            <a:solidFill>
              <a:srgbClr val="BC204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Red</a:t>
              </a:r>
            </a:p>
            <a:p>
              <a:pPr algn="ctr"/>
              <a:r>
                <a:rPr lang="en-GB" sz="900" dirty="0">
                  <a:solidFill>
                    <a:prstClr val="white"/>
                  </a:solidFill>
                </a:rPr>
                <a:t>188 / 32 / 75</a:t>
              </a:r>
            </a:p>
          </p:txBody>
        </p:sp>
        <p:sp>
          <p:nvSpPr>
            <p:cNvPr id="52" name="Rectangle 51"/>
            <p:cNvSpPr/>
            <p:nvPr userDrawn="1"/>
          </p:nvSpPr>
          <p:spPr>
            <a:xfrm>
              <a:off x="6510645" y="3304523"/>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53" name="Rectangle 52"/>
            <p:cNvSpPr/>
            <p:nvPr userDrawn="1"/>
          </p:nvSpPr>
          <p:spPr>
            <a:xfrm>
              <a:off x="1566545" y="4285386"/>
              <a:ext cx="900000" cy="72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KPMG Blue</a:t>
              </a:r>
            </a:p>
            <a:p>
              <a:pPr algn="ctr"/>
              <a:r>
                <a:rPr lang="en-GB" sz="900" dirty="0">
                  <a:solidFill>
                    <a:prstClr val="white"/>
                  </a:solidFill>
                </a:rPr>
                <a:t>0 / 51 / 141</a:t>
              </a:r>
            </a:p>
          </p:txBody>
        </p:sp>
        <p:sp>
          <p:nvSpPr>
            <p:cNvPr id="54" name="Rectangle 53"/>
            <p:cNvSpPr/>
            <p:nvPr userDrawn="1"/>
          </p:nvSpPr>
          <p:spPr>
            <a:xfrm>
              <a:off x="4533005" y="4285386"/>
              <a:ext cx="900000" cy="720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Medium Blue</a:t>
              </a:r>
            </a:p>
            <a:p>
              <a:pPr algn="ctr"/>
              <a:r>
                <a:rPr lang="en-GB" sz="900" dirty="0">
                  <a:solidFill>
                    <a:prstClr val="white"/>
                  </a:solidFill>
                </a:rPr>
                <a:t>0 / 94 / 184</a:t>
              </a:r>
            </a:p>
          </p:txBody>
        </p:sp>
        <p:sp>
          <p:nvSpPr>
            <p:cNvPr id="55" name="Rectangle 54"/>
            <p:cNvSpPr/>
            <p:nvPr userDrawn="1"/>
          </p:nvSpPr>
          <p:spPr>
            <a:xfrm>
              <a:off x="2555365" y="4285386"/>
              <a:ext cx="900000" cy="7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lue</a:t>
              </a:r>
            </a:p>
            <a:p>
              <a:pPr algn="ctr"/>
              <a:r>
                <a:rPr lang="en-GB" sz="900" dirty="0">
                  <a:solidFill>
                    <a:prstClr val="white"/>
                  </a:solidFill>
                </a:rPr>
                <a:t>0 / 145 / 218</a:t>
              </a:r>
            </a:p>
          </p:txBody>
        </p:sp>
        <p:sp>
          <p:nvSpPr>
            <p:cNvPr id="56" name="Rectangle 55"/>
            <p:cNvSpPr/>
            <p:nvPr userDrawn="1"/>
          </p:nvSpPr>
          <p:spPr>
            <a:xfrm>
              <a:off x="3544185" y="4285386"/>
              <a:ext cx="900000" cy="720000"/>
            </a:xfrm>
            <a:prstGeom prst="rect">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urple</a:t>
              </a:r>
            </a:p>
            <a:p>
              <a:pPr algn="ctr"/>
              <a:r>
                <a:rPr lang="en-GB" sz="900" dirty="0">
                  <a:solidFill>
                    <a:prstClr val="white"/>
                  </a:solidFill>
                </a:rPr>
                <a:t>109 / 32 / 119</a:t>
              </a:r>
            </a:p>
          </p:txBody>
        </p:sp>
        <p:sp>
          <p:nvSpPr>
            <p:cNvPr id="57" name="Rectangle 56"/>
            <p:cNvSpPr/>
            <p:nvPr userDrawn="1"/>
          </p:nvSpPr>
          <p:spPr>
            <a:xfrm>
              <a:off x="5521825" y="4285386"/>
              <a:ext cx="900000" cy="720000"/>
            </a:xfrm>
            <a:prstGeom prst="rect">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Green</a:t>
              </a:r>
            </a:p>
            <a:p>
              <a:pPr algn="ctr"/>
              <a:r>
                <a:rPr lang="en-GB" sz="900" dirty="0">
                  <a:solidFill>
                    <a:prstClr val="white"/>
                  </a:solidFill>
                </a:rPr>
                <a:t>0 / 163 / 161</a:t>
              </a:r>
            </a:p>
          </p:txBody>
        </p:sp>
        <p:sp>
          <p:nvSpPr>
            <p:cNvPr id="58" name="Rectangle 57"/>
            <p:cNvSpPr/>
            <p:nvPr userDrawn="1"/>
          </p:nvSpPr>
          <p:spPr>
            <a:xfrm>
              <a:off x="7499463" y="4285386"/>
              <a:ext cx="900000" cy="72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Green</a:t>
              </a:r>
            </a:p>
            <a:p>
              <a:pPr algn="ctr"/>
              <a:r>
                <a:rPr lang="en-GB" sz="900" dirty="0">
                  <a:solidFill>
                    <a:prstClr val="white"/>
                  </a:solidFill>
                </a:rPr>
                <a:t>67 / 176 / 42</a:t>
              </a:r>
            </a:p>
          </p:txBody>
        </p:sp>
        <p:sp>
          <p:nvSpPr>
            <p:cNvPr id="59" name="Rectangle 58"/>
            <p:cNvSpPr/>
            <p:nvPr userDrawn="1"/>
          </p:nvSpPr>
          <p:spPr>
            <a:xfrm>
              <a:off x="6510645" y="4285386"/>
              <a:ext cx="900000" cy="720000"/>
            </a:xfrm>
            <a:prstGeom prst="rect">
              <a:avLst/>
            </a:prstGeom>
            <a:solidFill>
              <a:srgbClr val="EAAA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Yellow</a:t>
              </a:r>
            </a:p>
            <a:p>
              <a:pPr algn="ctr"/>
              <a:r>
                <a:rPr lang="en-GB" sz="900" dirty="0">
                  <a:solidFill>
                    <a:prstClr val="white"/>
                  </a:solidFill>
                </a:rPr>
                <a:t>234 / 170 / 0</a:t>
              </a:r>
            </a:p>
          </p:txBody>
        </p:sp>
        <p:sp>
          <p:nvSpPr>
            <p:cNvPr id="60" name="Rectangle 59"/>
            <p:cNvSpPr/>
            <p:nvPr userDrawn="1"/>
          </p:nvSpPr>
          <p:spPr>
            <a:xfrm>
              <a:off x="1566545" y="5085488"/>
              <a:ext cx="900000" cy="720000"/>
            </a:xfrm>
            <a:prstGeom prst="rect">
              <a:avLst/>
            </a:prstGeom>
            <a:solidFill>
              <a:srgbClr val="C6007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Pink</a:t>
              </a:r>
            </a:p>
            <a:p>
              <a:pPr algn="ctr"/>
              <a:r>
                <a:rPr lang="en-GB" sz="900" dirty="0">
                  <a:solidFill>
                    <a:prstClr val="white"/>
                  </a:solidFill>
                </a:rPr>
                <a:t>198 / 0 / 126</a:t>
              </a:r>
            </a:p>
          </p:txBody>
        </p:sp>
        <p:sp>
          <p:nvSpPr>
            <p:cNvPr id="61" name="Rectangle 60"/>
            <p:cNvSpPr/>
            <p:nvPr userDrawn="1"/>
          </p:nvSpPr>
          <p:spPr>
            <a:xfrm>
              <a:off x="2555365" y="5085488"/>
              <a:ext cx="900000" cy="720000"/>
            </a:xfrm>
            <a:prstGeom prst="rect">
              <a:avLst/>
            </a:prstGeom>
            <a:solidFill>
              <a:srgbClr val="753F1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Dark Brown</a:t>
              </a:r>
            </a:p>
            <a:p>
              <a:pPr algn="ctr"/>
              <a:r>
                <a:rPr lang="en-GB" sz="900" dirty="0">
                  <a:solidFill>
                    <a:prstClr val="white"/>
                  </a:solidFill>
                </a:rPr>
                <a:t>117 / 63 / 25</a:t>
              </a:r>
            </a:p>
          </p:txBody>
        </p:sp>
        <p:sp>
          <p:nvSpPr>
            <p:cNvPr id="62" name="Rectangle 61"/>
            <p:cNvSpPr/>
            <p:nvPr userDrawn="1"/>
          </p:nvSpPr>
          <p:spPr>
            <a:xfrm>
              <a:off x="3544185" y="5085488"/>
              <a:ext cx="900000" cy="720000"/>
            </a:xfrm>
            <a:prstGeom prst="rect">
              <a:avLst/>
            </a:prstGeom>
            <a:solidFill>
              <a:srgbClr val="9B642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Brown</a:t>
              </a:r>
            </a:p>
            <a:p>
              <a:pPr algn="ctr"/>
              <a:r>
                <a:rPr lang="en-GB" sz="900" dirty="0">
                  <a:solidFill>
                    <a:prstClr val="white"/>
                  </a:solidFill>
                </a:rPr>
                <a:t>155 / 100 / 46</a:t>
              </a:r>
            </a:p>
          </p:txBody>
        </p:sp>
        <p:sp>
          <p:nvSpPr>
            <p:cNvPr id="63" name="Rectangle 62"/>
            <p:cNvSpPr/>
            <p:nvPr userDrawn="1"/>
          </p:nvSpPr>
          <p:spPr>
            <a:xfrm>
              <a:off x="5521825" y="5085488"/>
              <a:ext cx="900000" cy="720000"/>
            </a:xfrm>
            <a:prstGeom prst="rect">
              <a:avLst/>
            </a:prstGeom>
            <a:solidFill>
              <a:srgbClr val="E3BC9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Beige</a:t>
              </a:r>
            </a:p>
            <a:p>
              <a:pPr algn="ctr"/>
              <a:r>
                <a:rPr lang="en-GB" sz="900" dirty="0">
                  <a:solidFill>
                    <a:prstClr val="white"/>
                  </a:solidFill>
                </a:rPr>
                <a:t>227 / 188 / 159</a:t>
              </a:r>
            </a:p>
          </p:txBody>
        </p:sp>
        <p:sp>
          <p:nvSpPr>
            <p:cNvPr id="64" name="Rectangle 63"/>
            <p:cNvSpPr/>
            <p:nvPr userDrawn="1"/>
          </p:nvSpPr>
          <p:spPr>
            <a:xfrm>
              <a:off x="4533005" y="5085488"/>
              <a:ext cx="900000" cy="720000"/>
            </a:xfrm>
            <a:prstGeom prst="rect">
              <a:avLst/>
            </a:prstGeom>
            <a:solidFill>
              <a:srgbClr val="9D937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Olive</a:t>
              </a:r>
            </a:p>
            <a:p>
              <a:pPr algn="ctr"/>
              <a:r>
                <a:rPr lang="en-GB" sz="900" dirty="0">
                  <a:solidFill>
                    <a:prstClr val="white"/>
                  </a:solidFill>
                </a:rPr>
                <a:t>157 / 147 / 117</a:t>
              </a:r>
            </a:p>
          </p:txBody>
        </p:sp>
        <p:sp>
          <p:nvSpPr>
            <p:cNvPr id="65" name="Rectangle 64"/>
            <p:cNvSpPr/>
            <p:nvPr userDrawn="1"/>
          </p:nvSpPr>
          <p:spPr>
            <a:xfrm>
              <a:off x="6510645" y="5085488"/>
              <a:ext cx="900000" cy="720000"/>
            </a:xfrm>
            <a:prstGeom prst="rect">
              <a:avLst/>
            </a:prstGeom>
            <a:solidFill>
              <a:srgbClr val="E3687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ctr"/>
              <a:r>
                <a:rPr lang="en-GB" sz="900" dirty="0">
                  <a:solidFill>
                    <a:prstClr val="white"/>
                  </a:solidFill>
                </a:rPr>
                <a:t>Light Pink</a:t>
              </a:r>
            </a:p>
            <a:p>
              <a:pPr algn="ctr"/>
              <a:r>
                <a:rPr lang="en-GB" sz="900" dirty="0">
                  <a:solidFill>
                    <a:prstClr val="white"/>
                  </a:solidFill>
                </a:rPr>
                <a:t>227 / 104 / 119</a:t>
              </a:r>
            </a:p>
          </p:txBody>
        </p:sp>
        <p:sp>
          <p:nvSpPr>
            <p:cNvPr id="66" name="TextBox 65"/>
            <p:cNvSpPr txBox="1"/>
            <p:nvPr userDrawn="1"/>
          </p:nvSpPr>
          <p:spPr>
            <a:xfrm>
              <a:off x="752400" y="4285386"/>
              <a:ext cx="814145" cy="504825"/>
            </a:xfrm>
            <a:prstGeom prst="rect">
              <a:avLst/>
            </a:prstGeom>
            <a:noFill/>
          </p:spPr>
          <p:txBody>
            <a:bodyPr wrap="square" lIns="0" tIns="0" rIns="54007" bIns="0" rtlCol="0">
              <a:noAutofit/>
            </a:bodyPr>
            <a:lstStyle/>
            <a:p>
              <a:r>
                <a:rPr lang="en-GB" sz="1000" b="1" dirty="0">
                  <a:solidFill>
                    <a:srgbClr val="00338D"/>
                  </a:solidFill>
                </a:rPr>
                <a:t>Colour order for graphs</a:t>
              </a:r>
            </a:p>
          </p:txBody>
        </p:sp>
      </p:grpSp>
    </p:spTree>
    <p:extLst>
      <p:ext uri="{BB962C8B-B14F-4D97-AF65-F5344CB8AC3E}">
        <p14:creationId xmlns:p14="http://schemas.microsoft.com/office/powerpoint/2010/main" val="168309925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10" name="object 3"/>
          <p:cNvSpPr/>
          <p:nvPr userDrawn="1"/>
        </p:nvSpPr>
        <p:spPr>
          <a:xfrm>
            <a:off x="0" y="1"/>
            <a:ext cx="1587731"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dirty="0">
              <a:solidFill>
                <a:srgbClr val="000000"/>
              </a:solidFill>
            </a:endParaRPr>
          </a:p>
        </p:txBody>
      </p:sp>
      <p:sp>
        <p:nvSpPr>
          <p:cNvPr id="13" name="Text Placeholder 2"/>
          <p:cNvSpPr>
            <a:spLocks noGrp="1"/>
          </p:cNvSpPr>
          <p:nvPr>
            <p:ph type="body" sz="quarter" idx="11"/>
          </p:nvPr>
        </p:nvSpPr>
        <p:spPr>
          <a:xfrm>
            <a:off x="2729163" y="4771394"/>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a:p>
            <a:pPr lvl="1"/>
            <a:r>
              <a:rPr lang="en-US"/>
              <a:t>Second level</a:t>
            </a:r>
          </a:p>
        </p:txBody>
      </p:sp>
      <p:sp>
        <p:nvSpPr>
          <p:cNvPr id="14" name="Text Placeholder 2"/>
          <p:cNvSpPr>
            <a:spLocks noGrp="1"/>
          </p:cNvSpPr>
          <p:nvPr>
            <p:ph type="body" sz="quarter" idx="12"/>
          </p:nvPr>
        </p:nvSpPr>
        <p:spPr>
          <a:xfrm>
            <a:off x="2729163" y="5711030"/>
            <a:ext cx="7851751" cy="169277"/>
          </a:xfrm>
        </p:spPr>
        <p:txBody>
          <a:bodyPr>
            <a:noAutofit/>
          </a:bodyPr>
          <a:lstStyle>
            <a:lvl1pPr>
              <a:buFontTx/>
              <a:buNone/>
              <a:defRPr sz="11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sp>
        <p:nvSpPr>
          <p:cNvPr id="15" name="Text Placeholder 2"/>
          <p:cNvSpPr>
            <a:spLocks noGrp="1"/>
          </p:cNvSpPr>
          <p:nvPr>
            <p:ph type="body" sz="quarter" idx="13"/>
          </p:nvPr>
        </p:nvSpPr>
        <p:spPr>
          <a:xfrm>
            <a:off x="2729163" y="3831758"/>
            <a:ext cx="7851751" cy="643342"/>
          </a:xfrm>
        </p:spPr>
        <p:txBody>
          <a:bodyPr/>
          <a:lstStyle>
            <a:lvl1pPr>
              <a:buFontTx/>
              <a:buNone/>
              <a:defRPr sz="1100" b="0">
                <a:solidFill>
                  <a:schemeClr val="bg1">
                    <a:lumMod val="65000"/>
                  </a:schemeClr>
                </a:solidFill>
              </a:defRPr>
            </a:lvl1pPr>
            <a:lvl2pPr>
              <a:buFontTx/>
              <a:buNone/>
              <a:defRPr sz="11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a:p>
            <a:pPr lvl="1"/>
            <a:r>
              <a:rPr lang="en-US"/>
              <a:t>Second level</a:t>
            </a:r>
          </a:p>
        </p:txBody>
      </p:sp>
      <p:sp>
        <p:nvSpPr>
          <p:cNvPr id="23" name="Text Placeholder 2"/>
          <p:cNvSpPr>
            <a:spLocks noGrp="1"/>
          </p:cNvSpPr>
          <p:nvPr>
            <p:ph type="body" sz="quarter" idx="14"/>
          </p:nvPr>
        </p:nvSpPr>
        <p:spPr>
          <a:xfrm>
            <a:off x="2729163" y="3480007"/>
            <a:ext cx="241173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sp>
        <p:nvSpPr>
          <p:cNvPr id="24" name="Text Placeholder 2"/>
          <p:cNvSpPr>
            <a:spLocks noGrp="1"/>
          </p:cNvSpPr>
          <p:nvPr>
            <p:ph type="body" sz="quarter" idx="15"/>
          </p:nvPr>
        </p:nvSpPr>
        <p:spPr>
          <a:xfrm>
            <a:off x="5920501" y="3480007"/>
            <a:ext cx="2361268" cy="119064"/>
          </a:xfrm>
        </p:spPr>
        <p:txBody>
          <a:bodyPr/>
          <a:lstStyle>
            <a:lvl1pPr>
              <a:buFontTx/>
              <a:buNone/>
              <a:defRPr sz="12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Edit Master text styles</a:t>
            </a:r>
          </a:p>
        </p:txBody>
      </p:sp>
      <p:pic>
        <p:nvPicPr>
          <p:cNvPr id="25" name="Picture 2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920501" y="2974450"/>
            <a:ext cx="1325883" cy="381001"/>
          </a:xfrm>
          <a:prstGeom prst="rect">
            <a:avLst/>
          </a:prstGeom>
        </p:spPr>
      </p:pic>
      <p:pic>
        <p:nvPicPr>
          <p:cNvPr id="26" name="Picture 25"/>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2729163" y="2974450"/>
            <a:ext cx="2523749" cy="384049"/>
          </a:xfrm>
          <a:prstGeom prst="rect">
            <a:avLst/>
          </a:prstGeom>
        </p:spPr>
      </p:pic>
      <p:sp>
        <p:nvSpPr>
          <p:cNvPr id="11" name="TextBox 10"/>
          <p:cNvSpPr txBox="1"/>
          <p:nvPr userDrawn="1"/>
        </p:nvSpPr>
        <p:spPr>
          <a:xfrm>
            <a:off x="2594343" y="6637578"/>
            <a:ext cx="6953693" cy="135362"/>
          </a:xfrm>
          <a:prstGeom prst="rect">
            <a:avLst/>
          </a:prstGeom>
          <a:noFill/>
        </p:spPr>
        <p:txBody>
          <a:bodyPr wrap="square" lIns="0" tIns="0" rIns="0" bIns="0" rtlCol="0">
            <a:noAutofit/>
          </a:bodyPr>
          <a:lstStyle/>
          <a:p>
            <a:pPr algn="ctr">
              <a:defRPr/>
            </a:pPr>
            <a:r>
              <a:rPr lang="en-GB" sz="600" b="1" dirty="0">
                <a:solidFill>
                  <a:srgbClr val="000000"/>
                </a:solidFill>
              </a:rPr>
              <a:t>Document Classification: KPMG Confidential</a:t>
            </a:r>
          </a:p>
        </p:txBody>
      </p:sp>
    </p:spTree>
    <p:extLst>
      <p:ext uri="{BB962C8B-B14F-4D97-AF65-F5344CB8AC3E}">
        <p14:creationId xmlns:p14="http://schemas.microsoft.com/office/powerpoint/2010/main" val="12361977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57235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33"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2720718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56497B4-B6C9-4AF8-A4A1-F020AA3C683F}" type="datetimeFigureOut">
              <a:rPr lang="en-US" smtClean="0">
                <a:solidFill>
                  <a:srgbClr val="000000"/>
                </a:solidFill>
              </a:rPr>
              <a:pPr/>
              <a:t>10/29/2020</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0000"/>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77174A8D-CBAA-480A-AA5D-9BF9BF606211}" type="slidenum">
              <a:rPr lang="en-US" smtClean="0">
                <a:solidFill>
                  <a:srgbClr val="000000"/>
                </a:solidFill>
              </a:rPr>
              <a:pPr/>
              <a:t>‹#›</a:t>
            </a:fld>
            <a:endParaRPr lang="en-US">
              <a:solidFill>
                <a:srgbClr val="000000"/>
              </a:solidFill>
            </a:endParaRPr>
          </a:p>
        </p:txBody>
      </p:sp>
    </p:spTree>
    <p:extLst>
      <p:ext uri="{BB962C8B-B14F-4D97-AF65-F5344CB8AC3E}">
        <p14:creationId xmlns:p14="http://schemas.microsoft.com/office/powerpoint/2010/main" val="22577583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1" i="0">
                <a:solidFill>
                  <a:srgbClr val="002776"/>
                </a:solidFill>
                <a:latin typeface="Arial"/>
                <a:cs typeface="Arial"/>
              </a:defRPr>
            </a:lvl1pPr>
          </a:lstStyle>
          <a:p>
            <a:endParaRPr/>
          </a:p>
        </p:txBody>
      </p:sp>
      <p:sp>
        <p:nvSpPr>
          <p:cNvPr id="3" name="Holder 3"/>
          <p:cNvSpPr>
            <a:spLocks noGrp="1"/>
          </p:cNvSpPr>
          <p:nvPr>
            <p:ph sz="half" idx="2"/>
          </p:nvPr>
        </p:nvSpPr>
        <p:spPr>
          <a:xfrm>
            <a:off x="512165" y="1493265"/>
            <a:ext cx="5311775" cy="4740275"/>
          </a:xfrm>
          <a:prstGeom prst="rect">
            <a:avLst/>
          </a:prstGeom>
        </p:spPr>
        <p:txBody>
          <a:bodyPr wrap="square" lIns="0" tIns="0" rIns="0" bIns="0">
            <a:spAutoFit/>
          </a:bodyPr>
          <a:lstStyle>
            <a:lvl1pPr>
              <a:defRPr sz="1000" b="1" i="0">
                <a:solidFill>
                  <a:srgbClr val="00A0DE"/>
                </a:solidFill>
                <a:latin typeface="Arial"/>
                <a:cs typeface="Arial"/>
              </a:defRPr>
            </a:lvl1pPr>
          </a:lstStyle>
          <a:p>
            <a:endParaRPr/>
          </a:p>
        </p:txBody>
      </p:sp>
      <p:sp>
        <p:nvSpPr>
          <p:cNvPr id="4" name="Holder 4"/>
          <p:cNvSpPr>
            <a:spLocks noGrp="1"/>
          </p:cNvSpPr>
          <p:nvPr>
            <p:ph sz="half" idx="3"/>
          </p:nvPr>
        </p:nvSpPr>
        <p:spPr>
          <a:xfrm>
            <a:off x="6371335" y="1551559"/>
            <a:ext cx="5326380" cy="4592955"/>
          </a:xfrm>
          <a:prstGeom prst="rect">
            <a:avLst/>
          </a:prstGeom>
        </p:spPr>
        <p:txBody>
          <a:bodyPr wrap="square" lIns="0" tIns="0" rIns="0" bIns="0">
            <a:spAutoFit/>
          </a:bodyPr>
          <a:lstStyle>
            <a:lvl1pPr>
              <a:defRPr sz="1000" b="1" i="0">
                <a:solidFill>
                  <a:srgbClr val="00A0DE"/>
                </a:solidFill>
                <a:latin typeface="Arial"/>
                <a:cs typeface="Arial"/>
              </a:defRPr>
            </a:lvl1pPr>
          </a:lstStyle>
          <a:p>
            <a:endParaRPr/>
          </a:p>
        </p:txBody>
      </p:sp>
      <p:sp>
        <p:nvSpPr>
          <p:cNvPr id="5" name="Holder 5"/>
          <p:cNvSpPr>
            <a:spLocks noGrp="1"/>
          </p:cNvSpPr>
          <p:nvPr>
            <p:ph type="ftr" sz="quarter" idx="5"/>
          </p:nvPr>
        </p:nvSpPr>
        <p:spPr>
          <a:xfrm>
            <a:off x="4145280" y="6377940"/>
            <a:ext cx="3901440" cy="342900"/>
          </a:xfrm>
          <a:prstGeom prst="rect">
            <a:avLst/>
          </a:prstGeom>
        </p:spPr>
        <p:txBody>
          <a:bodyPr lIns="0" tIns="0" rIns="0" bIns="0"/>
          <a:lstStyle>
            <a:lvl1pPr algn="ctr">
              <a:defRPr>
                <a:solidFill>
                  <a:schemeClr val="tx1">
                    <a:tint val="75000"/>
                  </a:schemeClr>
                </a:solidFill>
              </a:defRPr>
            </a:lvl1pPr>
          </a:lstStyle>
          <a:p>
            <a:endParaRPr>
              <a:solidFill>
                <a:srgbClr val="000000">
                  <a:tint val="75000"/>
                </a:srgbClr>
              </a:solidFill>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srgbClr val="000000">
                    <a:tint val="75000"/>
                  </a:srgbClr>
                </a:solidFill>
              </a:rPr>
              <a:pPr/>
              <a:t>10/29/2020</a:t>
            </a:fld>
            <a:endParaRPr lang="en-US">
              <a:solidFill>
                <a:srgbClr val="000000">
                  <a:tint val="75000"/>
                </a:srgbClr>
              </a:solidFill>
            </a:endParaRPr>
          </a:p>
        </p:txBody>
      </p:sp>
      <p:sp>
        <p:nvSpPr>
          <p:cNvPr id="7" name="Holder 7"/>
          <p:cNvSpPr>
            <a:spLocks noGrp="1"/>
          </p:cNvSpPr>
          <p:nvPr>
            <p:ph type="sldNum" sz="quarter" idx="7"/>
          </p:nvPr>
        </p:nvSpPr>
        <p:spPr>
          <a:xfrm>
            <a:off x="485749" y="6617081"/>
            <a:ext cx="231140" cy="203834"/>
          </a:xfrm>
          <a:prstGeom prst="rect">
            <a:avLst/>
          </a:prstGeom>
        </p:spPr>
        <p:txBody>
          <a:bodyPr lIns="0" tIns="0" rIns="0" bIns="0"/>
          <a:lstStyle>
            <a:lvl1pPr>
              <a:defRPr sz="1400" b="1" i="0">
                <a:solidFill>
                  <a:schemeClr val="tx1"/>
                </a:solidFill>
                <a:latin typeface="Calibri"/>
                <a:cs typeface="Calibri"/>
              </a:defRPr>
            </a:lvl1pPr>
          </a:lstStyle>
          <a:p>
            <a:pPr marL="25400">
              <a:lnSpc>
                <a:spcPts val="1525"/>
              </a:lnSpc>
            </a:pPr>
            <a:fld id="{81D60167-4931-47E6-BA6A-407CBD079E47}" type="slidenum">
              <a:rPr dirty="0">
                <a:solidFill>
                  <a:srgbClr val="00A0DE"/>
                </a:solidFill>
              </a:rPr>
              <a:pPr marL="25400">
                <a:lnSpc>
                  <a:spcPts val="1525"/>
                </a:lnSpc>
              </a:pPr>
              <a:t>‹#›</a:t>
            </a:fld>
            <a:endParaRPr dirty="0">
              <a:solidFill>
                <a:srgbClr val="00A0DE"/>
              </a:solidFill>
            </a:endParaRPr>
          </a:p>
        </p:txBody>
      </p:sp>
    </p:spTree>
    <p:extLst>
      <p:ext uri="{BB962C8B-B14F-4D97-AF65-F5344CB8AC3E}">
        <p14:creationId xmlns:p14="http://schemas.microsoft.com/office/powerpoint/2010/main" val="179801551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6_TITLE SLIDE 6 - No image">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 y="0"/>
            <a:ext cx="12191997" cy="6857998"/>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1958" y="1594"/>
          <a:ext cx="1953" cy="1587"/>
        </p:xfrm>
        <a:graphic>
          <a:graphicData uri="http://schemas.openxmlformats.org/presentationml/2006/ole">
            <mc:AlternateContent xmlns:mc="http://schemas.openxmlformats.org/markup-compatibility/2006">
              <mc:Choice xmlns:v="urn:schemas-microsoft-com:vml" Requires="v">
                <p:oleObj spid="_x0000_s3087" name="think-cell Slide" r:id="rId5" imgW="360" imgH="360" progId="">
                  <p:embed/>
                </p:oleObj>
              </mc:Choice>
              <mc:Fallback>
                <p:oleObj name="think-cell Slide" r:id="rId5" imgW="360" imgH="360" progId="">
                  <p:embed/>
                  <p:pic>
                    <p:nvPicPr>
                      <p:cNvPr id="0"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8"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726400" y="1346400"/>
            <a:ext cx="8256000" cy="3510000"/>
          </a:xfrm>
        </p:spPr>
        <p:txBody>
          <a:bodyPr anchor="t" anchorCtr="0"/>
          <a:lstStyle>
            <a:lvl1pPr algn="l">
              <a:defRPr sz="10154">
                <a:solidFill>
                  <a:schemeClr val="bg1"/>
                </a:solidFill>
              </a:defRPr>
            </a:lvl1pPr>
          </a:lstStyle>
          <a:p>
            <a:r>
              <a:rPr lang="en-GB" dirty="0"/>
              <a:t>Title slide 6</a:t>
            </a:r>
            <a:br>
              <a:rPr lang="en-GB" dirty="0"/>
            </a:br>
            <a:r>
              <a:rPr lang="en-GB" dirty="0"/>
              <a:t>no image</a:t>
            </a:r>
            <a:endParaRPr lang="en-US" dirty="0"/>
          </a:p>
        </p:txBody>
      </p:sp>
      <p:sp>
        <p:nvSpPr>
          <p:cNvPr id="7" name="Text Placeholder 2"/>
          <p:cNvSpPr>
            <a:spLocks noGrp="1"/>
          </p:cNvSpPr>
          <p:nvPr>
            <p:ph type="body" sz="quarter" idx="10"/>
          </p:nvPr>
        </p:nvSpPr>
        <p:spPr>
          <a:xfrm>
            <a:off x="2752133" y="5036400"/>
            <a:ext cx="8230267" cy="216000"/>
          </a:xfrm>
          <a:prstGeom prst="rect">
            <a:avLst/>
          </a:prstGeom>
        </p:spPr>
        <p:txBody>
          <a:bodyPr/>
          <a:lstStyle>
            <a:lvl1pPr>
              <a:defRPr sz="1015">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320088947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10"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chemeClr val="tx2"/>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11" name="Straight Connector 10"/>
          <p:cNvCxnSpPr/>
          <p:nvPr/>
        </p:nvCxnSpPr>
        <p:spPr>
          <a:xfrm>
            <a:off x="838200" y="1099930"/>
            <a:ext cx="1051560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5" name="Text Placeholder 14"/>
          <p:cNvSpPr>
            <a:spLocks noGrp="1"/>
          </p:cNvSpPr>
          <p:nvPr>
            <p:ph type="body" sz="quarter" idx="44" hasCustomPrompt="1"/>
          </p:nvPr>
        </p:nvSpPr>
        <p:spPr>
          <a:xfrm>
            <a:off x="838200" y="1557339"/>
            <a:ext cx="10515600" cy="4284662"/>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spTree>
    <p:extLst>
      <p:ext uri="{BB962C8B-B14F-4D97-AF65-F5344CB8AC3E}">
        <p14:creationId xmlns:p14="http://schemas.microsoft.com/office/powerpoint/2010/main" val="1116268957"/>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_Dark Bkgrd - White Text">
    <p:spTree>
      <p:nvGrpSpPr>
        <p:cNvPr id="1" name=""/>
        <p:cNvGrpSpPr/>
        <p:nvPr/>
      </p:nvGrpSpPr>
      <p:grpSpPr>
        <a:xfrm>
          <a:off x="0" y="0"/>
          <a:ext cx="0" cy="0"/>
          <a:chOff x="0" y="0"/>
          <a:chExt cx="0" cy="0"/>
        </a:xfrm>
      </p:grpSpPr>
      <p:sp>
        <p:nvSpPr>
          <p:cNvPr id="2" name="Title 1"/>
          <p:cNvSpPr>
            <a:spLocks noGrp="1"/>
          </p:cNvSpPr>
          <p:nvPr>
            <p:ph type="title"/>
          </p:nvPr>
        </p:nvSpPr>
        <p:spPr>
          <a:xfrm>
            <a:off x="607137" y="2931735"/>
            <a:ext cx="7256268" cy="1143000"/>
          </a:xfrm>
        </p:spPr>
        <p:txBody>
          <a:bodyPr vert="horz" lIns="108804" tIns="54403" rIns="108804" bIns="54403" rtlCol="0" anchor="b" anchorCtr="0">
            <a:noAutofit/>
          </a:bodyPr>
          <a:lstStyle>
            <a:lvl1pPr>
              <a:lnSpc>
                <a:spcPct val="77000"/>
              </a:lnSpc>
              <a:defRPr lang="en-US" sz="10792" dirty="0">
                <a:solidFill>
                  <a:schemeClr val="bg1"/>
                </a:solidFill>
                <a:latin typeface="KPMG Light" panose="020B0403030202040204" charset="0"/>
              </a:defRPr>
            </a:lvl1pPr>
          </a:lstStyle>
          <a:p>
            <a:pPr lvl="0" defTabSz="1087200">
              <a:lnSpc>
                <a:spcPct val="80000"/>
              </a:lnSpc>
            </a:pPr>
            <a:r>
              <a:rPr lang="en-US" dirty="0"/>
              <a:t>Click to edit Master title style</a:t>
            </a:r>
          </a:p>
        </p:txBody>
      </p:sp>
      <p:sp>
        <p:nvSpPr>
          <p:cNvPr id="4" name="Text Placeholder 3"/>
          <p:cNvSpPr>
            <a:spLocks noGrp="1"/>
          </p:cNvSpPr>
          <p:nvPr>
            <p:ph type="body" sz="quarter" idx="10"/>
          </p:nvPr>
        </p:nvSpPr>
        <p:spPr>
          <a:xfrm>
            <a:off x="607136" y="4388246"/>
            <a:ext cx="4314710" cy="1160462"/>
          </a:xfrm>
          <a:prstGeom prst="rect">
            <a:avLst/>
          </a:prstGeom>
        </p:spPr>
        <p:txBody>
          <a:bodyPr anchor="t" anchorCtr="0">
            <a:normAutofit/>
          </a:bodyPr>
          <a:lstStyle>
            <a:lvl1pPr marL="0" indent="0">
              <a:spcBef>
                <a:spcPts val="0"/>
              </a:spcBef>
              <a:buNone/>
              <a:defRPr lang="en-US" sz="2698" b="1" kern="1200" dirty="0">
                <a:solidFill>
                  <a:schemeClr val="bg1"/>
                </a:solidFill>
                <a:latin typeface="Arial" panose="020B0604020202020204" pitchFamily="34" charset="0"/>
                <a:ea typeface="+mn-ea"/>
                <a:cs typeface="Arial" panose="020B0604020202020204" pitchFamily="34" charset="0"/>
              </a:defRPr>
            </a:lvl1pPr>
            <a:lvl2pPr marL="542502" indent="0">
              <a:buNone/>
              <a:defRPr/>
            </a:lvl2pPr>
            <a:lvl3pPr marL="1086590" indent="0">
              <a:buNone/>
              <a:defRPr/>
            </a:lvl3pPr>
            <a:lvl4pPr marL="1630677" indent="0">
              <a:buNone/>
              <a:defRPr/>
            </a:lvl4pPr>
            <a:lvl5pPr marL="2174401" indent="0">
              <a:buNone/>
              <a:defRPr/>
            </a:lvl5pPr>
          </a:lstStyle>
          <a:p>
            <a:pPr lvl="0"/>
            <a:r>
              <a:rPr lang="en-US" dirty="0"/>
              <a:t>Click to edit Master text styles</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716443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7"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rgbClr val="005EB8"/>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8" name="Straight Connector 7"/>
          <p:cNvCxnSpPr/>
          <p:nvPr userDrawn="1"/>
        </p:nvCxnSpPr>
        <p:spPr>
          <a:xfrm>
            <a:off x="838200" y="1099930"/>
            <a:ext cx="10515600" cy="0"/>
          </a:xfrm>
          <a:prstGeom prst="line">
            <a:avLst/>
          </a:prstGeom>
          <a:ln>
            <a:solidFill>
              <a:srgbClr val="005EB8"/>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69427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6_Title Only">
    <p:bg>
      <p:bgPr>
        <a:solidFill>
          <a:schemeClr val="accent5"/>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Tree>
    <p:extLst>
      <p:ext uri="{BB962C8B-B14F-4D97-AF65-F5344CB8AC3E}">
        <p14:creationId xmlns:p14="http://schemas.microsoft.com/office/powerpoint/2010/main" val="4160459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10" name="Title 9"/>
          <p:cNvSpPr>
            <a:spLocks noGrp="1"/>
          </p:cNvSpPr>
          <p:nvPr>
            <p:ph type="title"/>
          </p:nvPr>
        </p:nvSpPr>
        <p:spPr>
          <a:xfrm>
            <a:off x="838200" y="365126"/>
            <a:ext cx="10515600" cy="734804"/>
          </a:xfrm>
          <a:prstGeom prst="rect">
            <a:avLst/>
          </a:prstGeom>
        </p:spPr>
        <p:txBody>
          <a:bodyPr lIns="0" tIns="0" rIns="0" bIns="0" anchor="ctr"/>
          <a:lstStyle>
            <a:lvl1pPr algn="l" defTabSz="914400" rtl="0" eaLnBrk="1" latinLnBrk="0" hangingPunct="1">
              <a:lnSpc>
                <a:spcPct val="70000"/>
              </a:lnSpc>
              <a:spcBef>
                <a:spcPct val="0"/>
              </a:spcBef>
              <a:buNone/>
              <a:defRPr lang="en-US" sz="4400" kern="1200" dirty="0">
                <a:solidFill>
                  <a:schemeClr val="tx2"/>
                </a:solidFill>
                <a:latin typeface="KPMG Extralight" panose="020B0303030202040204" pitchFamily="34" charset="0"/>
                <a:ea typeface="+mj-ea"/>
                <a:cs typeface="KPMG Extralight" panose="020B0303030202040204" pitchFamily="34" charset="0"/>
              </a:defRPr>
            </a:lvl1pPr>
          </a:lstStyle>
          <a:p>
            <a:r>
              <a:rPr lang="en-US" dirty="0"/>
              <a:t>Click to edit Master title style</a:t>
            </a:r>
          </a:p>
        </p:txBody>
      </p:sp>
      <p:cxnSp>
        <p:nvCxnSpPr>
          <p:cNvPr id="11" name="Straight Connector 10"/>
          <p:cNvCxnSpPr/>
          <p:nvPr/>
        </p:nvCxnSpPr>
        <p:spPr>
          <a:xfrm>
            <a:off x="838200" y="1099930"/>
            <a:ext cx="1051560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
        <p:nvSpPr>
          <p:cNvPr id="5" name="Text Placeholder 14"/>
          <p:cNvSpPr>
            <a:spLocks noGrp="1"/>
          </p:cNvSpPr>
          <p:nvPr>
            <p:ph type="body" sz="quarter" idx="44" hasCustomPrompt="1"/>
          </p:nvPr>
        </p:nvSpPr>
        <p:spPr>
          <a:xfrm>
            <a:off x="838200" y="1557339"/>
            <a:ext cx="10515600" cy="4284662"/>
          </a:xfrm>
          <a:prstGeom prst="rect">
            <a:avLst/>
          </a:prstGeom>
        </p:spPr>
        <p:txBody>
          <a:bodyPr lIns="0" tIns="0" rIns="0" bIns="0"/>
          <a:lstStyle>
            <a:lvl1pPr marL="0" indent="0">
              <a:lnSpc>
                <a:spcPct val="90000"/>
              </a:lnSpc>
              <a:buNone/>
              <a:defRPr lang="en-US" sz="1200" kern="1200" baseline="0" dirty="0">
                <a:solidFill>
                  <a:schemeClr val="tx1"/>
                </a:solidFill>
                <a:latin typeface="Univers for KPMG" panose="020B0603020202020204" pitchFamily="34" charset="0"/>
                <a:ea typeface="+mn-ea"/>
                <a:cs typeface="+mn-cs"/>
              </a:defRPr>
            </a:lvl1pPr>
            <a:lvl2pPr marL="271463" indent="-271463">
              <a:lnSpc>
                <a:spcPct val="90000"/>
              </a:lnSpc>
              <a:buFont typeface="Arial" panose="020B0604020202020204" pitchFamily="34" charset="0"/>
              <a:buChar char="—"/>
              <a:defRPr lang="en-US" sz="1200" kern="1200" baseline="0" dirty="0">
                <a:solidFill>
                  <a:schemeClr val="tx1"/>
                </a:solidFill>
                <a:latin typeface="Univers for KPMG" panose="020B0603020202020204" pitchFamily="34" charset="0"/>
                <a:ea typeface="+mn-ea"/>
                <a:cs typeface="+mn-cs"/>
              </a:defRPr>
            </a:lvl2pPr>
          </a:lstStyle>
          <a:p>
            <a:pPr lvl="0"/>
            <a:r>
              <a:rPr lang="en-US" dirty="0"/>
              <a:t>Master text styles</a:t>
            </a:r>
          </a:p>
          <a:p>
            <a:pPr lvl="1"/>
            <a:r>
              <a:rPr lang="en-US" dirty="0"/>
              <a:t>Second level </a:t>
            </a:r>
          </a:p>
          <a:p>
            <a:pPr marL="0" lvl="0" indent="0" algn="l" defTabSz="914400" rtl="0" eaLnBrk="1" latinLnBrk="0" hangingPunct="1">
              <a:lnSpc>
                <a:spcPct val="90000"/>
              </a:lnSpc>
              <a:spcBef>
                <a:spcPts val="1000"/>
              </a:spcBef>
              <a:buFont typeface="Arial" panose="020B0604020202020204" pitchFamily="34" charset="0"/>
              <a:buNone/>
            </a:pPr>
            <a:r>
              <a:rPr lang="en-US" dirty="0"/>
              <a:t>Third leve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spTree>
    <p:extLst>
      <p:ext uri="{BB962C8B-B14F-4D97-AF65-F5344CB8AC3E}">
        <p14:creationId xmlns:p14="http://schemas.microsoft.com/office/powerpoint/2010/main" val="1453687962"/>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6_TITLE SLIDE 6 - No image">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 y="0"/>
            <a:ext cx="12191997" cy="6857998"/>
          </a:xfrm>
          <a:prstGeom prst="rect">
            <a:avLst/>
          </a:prstGeom>
        </p:spPr>
      </p:pic>
      <p:sp>
        <p:nvSpPr>
          <p:cNvPr id="4" name="object 3"/>
          <p:cNvSpPr/>
          <p:nvPr userDrawn="1"/>
        </p:nvSpPr>
        <p:spPr>
          <a:xfrm>
            <a:off x="3" y="0"/>
            <a:ext cx="1790697"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tx2"/>
          </a:solidFill>
        </p:spPr>
        <p:txBody>
          <a:bodyPr wrap="square" lIns="0" tIns="0" rIns="0" bIns="0" rtlCol="0">
            <a:noAutofit/>
          </a:bodyPr>
          <a:lstStyle/>
          <a:p>
            <a:endParaRPr sz="1662" dirty="0">
              <a:solidFill>
                <a:srgbClr val="000000"/>
              </a:solidFill>
            </a:endParaRPr>
          </a:p>
        </p:txBody>
      </p:sp>
      <p:graphicFrame>
        <p:nvGraphicFramePr>
          <p:cNvPr id="3" name="Object 2" hidden="1"/>
          <p:cNvGraphicFramePr>
            <a:graphicFrameLocks noChangeAspect="1"/>
          </p:cNvGraphicFramePr>
          <p:nvPr userDrawn="1">
            <p:custDataLst>
              <p:tags r:id="rId2"/>
            </p:custDataLst>
          </p:nvPr>
        </p:nvGraphicFramePr>
        <p:xfrm>
          <a:off x="1958" y="1594"/>
          <a:ext cx="1953" cy="1587"/>
        </p:xfrm>
        <a:graphic>
          <a:graphicData uri="http://schemas.openxmlformats.org/presentationml/2006/ole">
            <mc:AlternateContent xmlns:mc="http://schemas.openxmlformats.org/markup-compatibility/2006">
              <mc:Choice xmlns:v="urn:schemas-microsoft-com:vml" Requires="v">
                <p:oleObj spid="_x0000_s4102" name="think-cell Slide" r:id="rId5" imgW="360" imgH="360" progId="">
                  <p:embed/>
                </p:oleObj>
              </mc:Choice>
              <mc:Fallback>
                <p:oleObj name="think-cell Slide" r:id="rId5" imgW="360" imgH="360" progId="">
                  <p:embed/>
                  <p:pic>
                    <p:nvPicPr>
                      <p:cNvPr id="0"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58" y="1594"/>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a:xfrm>
            <a:off x="2726400" y="1346400"/>
            <a:ext cx="8256000" cy="3510000"/>
          </a:xfrm>
        </p:spPr>
        <p:txBody>
          <a:bodyPr anchor="t" anchorCtr="0"/>
          <a:lstStyle>
            <a:lvl1pPr algn="l">
              <a:defRPr sz="10154">
                <a:solidFill>
                  <a:schemeClr val="bg1"/>
                </a:solidFill>
              </a:defRPr>
            </a:lvl1pPr>
          </a:lstStyle>
          <a:p>
            <a:r>
              <a:rPr lang="en-GB" dirty="0"/>
              <a:t>Title slide 6</a:t>
            </a:r>
            <a:br>
              <a:rPr lang="en-GB" dirty="0"/>
            </a:br>
            <a:r>
              <a:rPr lang="en-GB" dirty="0"/>
              <a:t>no image</a:t>
            </a:r>
            <a:endParaRPr lang="en-US" dirty="0"/>
          </a:p>
        </p:txBody>
      </p:sp>
      <p:sp>
        <p:nvSpPr>
          <p:cNvPr id="7" name="Text Placeholder 2"/>
          <p:cNvSpPr>
            <a:spLocks noGrp="1"/>
          </p:cNvSpPr>
          <p:nvPr>
            <p:ph type="body" sz="quarter" idx="10"/>
          </p:nvPr>
        </p:nvSpPr>
        <p:spPr>
          <a:xfrm>
            <a:off x="2752133" y="5036400"/>
            <a:ext cx="8230267" cy="216000"/>
          </a:xfrm>
          <a:prstGeom prst="rect">
            <a:avLst/>
          </a:prstGeom>
        </p:spPr>
        <p:txBody>
          <a:bodyPr/>
          <a:lstStyle>
            <a:lvl1pPr>
              <a:defRPr sz="1015">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endParaRPr lang="en-GB" dirty="0"/>
          </a:p>
        </p:txBody>
      </p:sp>
    </p:spTree>
    <p:extLst>
      <p:ext uri="{BB962C8B-B14F-4D97-AF65-F5344CB8AC3E}">
        <p14:creationId xmlns:p14="http://schemas.microsoft.com/office/powerpoint/2010/main" val="3625044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4400" b="0" i="0">
                <a:solidFill>
                  <a:srgbClr val="473697"/>
                </a:solidFill>
                <a:latin typeface="KPMG Extralight"/>
                <a:cs typeface="KPMG Extralight"/>
              </a:defRPr>
            </a:lvl1pPr>
          </a:lstStyle>
          <a:p>
            <a:endParaRPr/>
          </a:p>
        </p:txBody>
      </p:sp>
      <p:sp>
        <p:nvSpPr>
          <p:cNvPr id="3" name="Holder 3"/>
          <p:cNvSpPr>
            <a:spLocks noGrp="1"/>
          </p:cNvSpPr>
          <p:nvPr>
            <p:ph type="body" idx="1"/>
          </p:nvPr>
        </p:nvSpPr>
        <p:spPr/>
        <p:txBody>
          <a:bodyPr lIns="0" tIns="0" rIns="0" bIns="0"/>
          <a:lstStyle>
            <a:lvl1pPr>
              <a:defRPr sz="1200" b="0" i="0">
                <a:solidFill>
                  <a:schemeClr val="tx1"/>
                </a:solidFill>
                <a:latin typeface="Univers for KPMG"/>
                <a:cs typeface="Univers for KPMG"/>
              </a:defRPr>
            </a:lvl1pPr>
          </a:lstStyle>
          <a:p>
            <a:endParaRPr/>
          </a:p>
        </p:txBody>
      </p:sp>
      <p:sp>
        <p:nvSpPr>
          <p:cNvPr id="4" name="Holder 4"/>
          <p:cNvSpPr>
            <a:spLocks noGrp="1"/>
          </p:cNvSpPr>
          <p:nvPr>
            <p:ph type="ftr" sz="quarter" idx="5"/>
          </p:nvPr>
        </p:nvSpPr>
        <p:spPr>
          <a:xfrm>
            <a:off x="2716783" y="6553892"/>
            <a:ext cx="6757670" cy="88900"/>
          </a:xfrm>
          <a:prstGeom prst="rect">
            <a:avLst/>
          </a:prstGeom>
        </p:spPr>
        <p:txBody>
          <a:bodyPr lIns="0" tIns="0" rIns="0" bIns="0"/>
          <a:lstStyle>
            <a:lvl1pPr>
              <a:defRPr sz="500" b="0" i="0">
                <a:solidFill>
                  <a:srgbClr val="A6A6A6"/>
                </a:solidFill>
                <a:latin typeface="Univers for KPMG"/>
                <a:cs typeface="Univers for KPMG"/>
              </a:defRPr>
            </a:lvl1pPr>
          </a:lstStyle>
          <a:p>
            <a:pPr marL="12700">
              <a:lnSpc>
                <a:spcPts val="560"/>
              </a:lnSpc>
            </a:pPr>
            <a:r>
              <a:rPr spc="-5" dirty="0"/>
              <a:t>© </a:t>
            </a:r>
            <a:r>
              <a:rPr spc="-5" dirty="0">
                <a:solidFill>
                  <a:srgbClr val="AEABAB"/>
                </a:solidFill>
              </a:rPr>
              <a:t>2018 </a:t>
            </a:r>
            <a:r>
              <a:rPr spc="-5" dirty="0"/>
              <a:t>KPMG, an Indian Registered Partnership and a member firm of the KPMG network of independent member firms affiliated with KPMG International Cooperative (“KPMG International”), a Swiss entity. All rights </a:t>
            </a:r>
            <a:r>
              <a:rPr spc="105" dirty="0"/>
              <a:t> </a:t>
            </a:r>
            <a:r>
              <a:rPr spc="-5" dirty="0"/>
              <a:t>reserved.</a:t>
            </a:r>
          </a:p>
        </p:txBody>
      </p:sp>
      <p:sp>
        <p:nvSpPr>
          <p:cNvPr id="5" name="Holder 5"/>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solidFill>
                  <a:prstClr val="black">
                    <a:tint val="75000"/>
                  </a:prstClr>
                </a:solidFill>
              </a:rPr>
              <a:pPr/>
              <a:t>10/29/2020</a:t>
            </a:fld>
            <a:endParaRPr lang="en-US">
              <a:solidFill>
                <a:prstClr val="black">
                  <a:tint val="75000"/>
                </a:prstClr>
              </a:solidFill>
            </a:endParaRPr>
          </a:p>
        </p:txBody>
      </p:sp>
      <p:sp>
        <p:nvSpPr>
          <p:cNvPr id="6" name="Holder 6"/>
          <p:cNvSpPr>
            <a:spLocks noGrp="1"/>
          </p:cNvSpPr>
          <p:nvPr>
            <p:ph type="sldNum" sz="quarter" idx="7"/>
          </p:nvPr>
        </p:nvSpPr>
        <p:spPr>
          <a:xfrm>
            <a:off x="11250930" y="6523513"/>
            <a:ext cx="163829" cy="127000"/>
          </a:xfrm>
          <a:prstGeom prst="rect">
            <a:avLst/>
          </a:prstGeom>
        </p:spPr>
        <p:txBody>
          <a:bodyPr lIns="0" tIns="0" rIns="0" bIns="0"/>
          <a:lstStyle>
            <a:lvl1pPr>
              <a:defRPr sz="800" b="0" i="0">
                <a:solidFill>
                  <a:schemeClr val="tx1"/>
                </a:solidFill>
                <a:latin typeface="Univers for KPMG"/>
                <a:cs typeface="Univers for KPMG"/>
              </a:defRPr>
            </a:lvl1pPr>
          </a:lstStyle>
          <a:p>
            <a:pPr marL="81280">
              <a:lnSpc>
                <a:spcPts val="840"/>
              </a:lnSpc>
            </a:pPr>
            <a:fld id="{81D60167-4931-47E6-BA6A-407CBD079E47}" type="slidenum">
              <a:rPr spc="-5" dirty="0">
                <a:solidFill>
                  <a:prstClr val="black"/>
                </a:solidFill>
              </a:rPr>
              <a:pPr marL="81280">
                <a:lnSpc>
                  <a:spcPts val="840"/>
                </a:lnSpc>
              </a:pPr>
              <a:t>‹#›</a:t>
            </a:fld>
            <a:endParaRPr spc="-5" dirty="0">
              <a:solidFill>
                <a:prstClr val="black"/>
              </a:solidFill>
            </a:endParaRPr>
          </a:p>
        </p:txBody>
      </p:sp>
    </p:spTree>
    <p:extLst>
      <p:ext uri="{BB962C8B-B14F-4D97-AF65-F5344CB8AC3E}">
        <p14:creationId xmlns:p14="http://schemas.microsoft.com/office/powerpoint/2010/main" val="1618347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hasCustomPrompt="1"/>
          </p:nvPr>
        </p:nvSpPr>
        <p:spPr>
          <a:xfrm>
            <a:off x="2709863" y="1435300"/>
            <a:ext cx="8489950" cy="3510000"/>
          </a:xfrm>
        </p:spPr>
        <p:txBody>
          <a:bodyPr anchor="t" anchorCtr="0"/>
          <a:lstStyle>
            <a:lvl1pPr algn="l">
              <a:defRPr sz="11000" baseline="0">
                <a:solidFill>
                  <a:schemeClr val="bg1"/>
                </a:solidFill>
              </a:defRPr>
            </a:lvl1pPr>
          </a:lstStyle>
          <a:p>
            <a:r>
              <a:rPr lang="en-GB" dirty="0"/>
              <a:t>Title Slide 6 – </a:t>
            </a:r>
            <a:br>
              <a:rPr lang="en-GB" dirty="0"/>
            </a:br>
            <a:r>
              <a:rPr lang="en-GB" dirty="0"/>
              <a:t>no image</a:t>
            </a:r>
            <a:endParaRPr lang="en-US" dirty="0"/>
          </a:p>
        </p:txBody>
      </p:sp>
      <p:sp>
        <p:nvSpPr>
          <p:cNvPr id="10" name="Freeform 19"/>
          <p:cNvSpPr>
            <a:spLocks noChangeAspect="1" noEditPoints="1"/>
          </p:cNvSpPr>
          <p:nvPr userDrawn="1"/>
        </p:nvSpPr>
        <p:spPr bwMode="auto">
          <a:xfrm>
            <a:off x="2729163" y="524433"/>
            <a:ext cx="1079150" cy="439654"/>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solidFill>
                <a:srgbClr val="000000"/>
              </a:solidFill>
            </a:endParaRPr>
          </a:p>
        </p:txBody>
      </p:sp>
      <p:sp>
        <p:nvSpPr>
          <p:cNvPr id="6" name="Text Placeholder 3"/>
          <p:cNvSpPr>
            <a:spLocks noGrp="1"/>
          </p:cNvSpPr>
          <p:nvPr>
            <p:ph type="body" sz="quarter" idx="11"/>
          </p:nvPr>
        </p:nvSpPr>
        <p:spPr>
          <a:xfrm>
            <a:off x="2749463" y="5390900"/>
            <a:ext cx="845035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Edit Master text styles</a:t>
            </a:r>
          </a:p>
        </p:txBody>
      </p:sp>
    </p:spTree>
    <p:extLst>
      <p:ext uri="{BB962C8B-B14F-4D97-AF65-F5344CB8AC3E}">
        <p14:creationId xmlns:p14="http://schemas.microsoft.com/office/powerpoint/2010/main" val="10784605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941138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998400" y="1330126"/>
            <a:ext cx="10195200" cy="4546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40938996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 Type="http://schemas.openxmlformats.org/officeDocument/2006/relationships/slideLayout" Target="../slideLayouts/slideLayout9.xml"/><Relationship Id="rId21" Type="http://schemas.openxmlformats.org/officeDocument/2006/relationships/slideLayout" Target="../slideLayouts/slideLayout27.xml"/><Relationship Id="rId7" Type="http://schemas.openxmlformats.org/officeDocument/2006/relationships/slideLayout" Target="../slideLayouts/slideLayout13.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 Type="http://schemas.openxmlformats.org/officeDocument/2006/relationships/slideLayout" Target="../slideLayouts/slideLayout8.xml"/><Relationship Id="rId16" Type="http://schemas.openxmlformats.org/officeDocument/2006/relationships/slideLayout" Target="../slideLayouts/slideLayout22.xml"/><Relationship Id="rId20" Type="http://schemas.openxmlformats.org/officeDocument/2006/relationships/slideLayout" Target="../slideLayouts/slideLayout26.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24" Type="http://schemas.openxmlformats.org/officeDocument/2006/relationships/image" Target="../media/image1.png"/><Relationship Id="rId5" Type="http://schemas.openxmlformats.org/officeDocument/2006/relationships/slideLayout" Target="../slideLayouts/slideLayout11.xml"/><Relationship Id="rId15" Type="http://schemas.openxmlformats.org/officeDocument/2006/relationships/slideLayout" Target="../slideLayouts/slideLayout21.xml"/><Relationship Id="rId23" Type="http://schemas.openxmlformats.org/officeDocument/2006/relationships/theme" Target="../theme/theme2.xml"/><Relationship Id="rId10" Type="http://schemas.openxmlformats.org/officeDocument/2006/relationships/slideLayout" Target="../slideLayouts/slideLayout16.xml"/><Relationship Id="rId19" Type="http://schemas.openxmlformats.org/officeDocument/2006/relationships/slideLayout" Target="../slideLayouts/slideLayout25.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4" Type="http://schemas.openxmlformats.org/officeDocument/2006/relationships/slideLayout" Target="../slideLayouts/slideLayout20.xml"/><Relationship Id="rId22"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theme" Target="../theme/theme3.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slideLayout" Target="../slideLayouts/slideLayout5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image" Target="../media/image1.png"/><Relationship Id="rId5" Type="http://schemas.openxmlformats.org/officeDocument/2006/relationships/theme" Target="../theme/theme4.xml"/><Relationship Id="rId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59.xml"/><Relationship Id="rId1"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10739438" y="6266997"/>
            <a:ext cx="449655"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pic>
        <p:nvPicPr>
          <p:cNvPr id="8" name="Picture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cxnSp>
        <p:nvCxnSpPr>
          <p:cNvPr id="9" name="Straight Connector 8"/>
          <p:cNvCxnSpPr/>
          <p:nvPr userDrawn="1"/>
        </p:nvCxnSpPr>
        <p:spPr>
          <a:xfrm>
            <a:off x="838200" y="884030"/>
            <a:ext cx="10515600" cy="0"/>
          </a:xfrm>
          <a:prstGeom prst="line">
            <a:avLst/>
          </a:prstGeom>
          <a:ln>
            <a:solidFill>
              <a:srgbClr val="6D2077"/>
            </a:solidFill>
            <a:headEnd type="none"/>
            <a:tailEnd type="diamo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75" r:id="rId1"/>
    <p:sldLayoutId id="2147483664" r:id="rId2"/>
    <p:sldLayoutId id="2147483715" r:id="rId3"/>
    <p:sldLayoutId id="2147483716" r:id="rId4"/>
    <p:sldLayoutId id="2147483717" r:id="rId5"/>
    <p:sldLayoutId id="2147483718" r:id="rId6"/>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userDrawn="1">
          <p15:clr>
            <a:srgbClr val="F26B43"/>
          </p15:clr>
        </p15:guide>
        <p15:guide id="2" pos="627" userDrawn="1">
          <p15:clr>
            <a:srgbClr val="F26B43"/>
          </p15:clr>
        </p15:guide>
        <p15:guide id="3" pos="7055" userDrawn="1">
          <p15:clr>
            <a:srgbClr val="F26B43"/>
          </p15:clr>
        </p15:guide>
        <p15:guide id="4" orient="horz" pos="833" userDrawn="1">
          <p15:clr>
            <a:srgbClr val="F26B43"/>
          </p15:clr>
        </p15:guide>
        <p15:guide id="5" orient="horz" pos="608" userDrawn="1">
          <p15:clr>
            <a:srgbClr val="F26B43"/>
          </p15:clr>
        </p15:guide>
        <p15:guide id="6" orient="horz" pos="27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spTree>
    <p:extLst>
      <p:ext uri="{BB962C8B-B14F-4D97-AF65-F5344CB8AC3E}">
        <p14:creationId xmlns:p14="http://schemas.microsoft.com/office/powerpoint/2010/main" val="1909382882"/>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 id="2147483737" r:id="rId18"/>
    <p:sldLayoutId id="2147483738" r:id="rId19"/>
    <p:sldLayoutId id="2147483739" r:id="rId20"/>
    <p:sldLayoutId id="2147483740" r:id="rId21"/>
    <p:sldLayoutId id="2147483767" r:id="rId22"/>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98400" y="431800"/>
            <a:ext cx="10195200" cy="5334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03201" y="1331360"/>
            <a:ext cx="10194470" cy="4545566"/>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spTree>
    <p:extLst>
      <p:ext uri="{BB962C8B-B14F-4D97-AF65-F5344CB8AC3E}">
        <p14:creationId xmlns:p14="http://schemas.microsoft.com/office/powerpoint/2010/main" val="457245575"/>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Lst>
  <p:txStyles>
    <p:titleStyle>
      <a:lvl1pPr algn="l" defTabSz="914400" rtl="0" eaLnBrk="1" latinLnBrk="0" hangingPunct="1">
        <a:lnSpc>
          <a:spcPct val="70000"/>
        </a:lnSpc>
        <a:spcBef>
          <a:spcPct val="0"/>
        </a:spcBef>
        <a:buNone/>
        <a:defRPr sz="54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5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5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02">
          <p15:clr>
            <a:srgbClr val="F26B43"/>
          </p15:clr>
        </p15:guide>
        <p15:guide id="2" pos="627">
          <p15:clr>
            <a:srgbClr val="F26B43"/>
          </p15:clr>
        </p15:guide>
        <p15:guide id="3" pos="7055">
          <p15:clr>
            <a:srgbClr val="F26B43"/>
          </p15:clr>
        </p15:guide>
        <p15:guide id="4" orient="horz" pos="833">
          <p15:clr>
            <a:srgbClr val="F26B43"/>
          </p15:clr>
        </p15:guide>
        <p15:guide id="5" orient="horz" pos="608">
          <p15:clr>
            <a:srgbClr val="F26B43"/>
          </p15:clr>
        </p15:guide>
        <p15:guide id="6" orient="horz" pos="27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Shape 8"/>
          <p:cNvSpPr txBox="1">
            <a:spLocks/>
          </p:cNvSpPr>
          <p:nvPr userDrawn="1"/>
        </p:nvSpPr>
        <p:spPr>
          <a:xfrm>
            <a:off x="9587480" y="6501093"/>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dirty="0"/>
              <a:t>Click to edit Master title style</a:t>
            </a:r>
          </a:p>
        </p:txBody>
      </p:sp>
      <p:cxnSp>
        <p:nvCxnSpPr>
          <p:cNvPr id="171" name="Straight Connector 170"/>
          <p:cNvCxnSpPr/>
          <p:nvPr userDrawn="1"/>
        </p:nvCxnSpPr>
        <p:spPr>
          <a:xfrm>
            <a:off x="837600" y="6412171"/>
            <a:ext cx="1051680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0100" y="6463532"/>
            <a:ext cx="314220" cy="301704"/>
          </a:xfrm>
          <a:prstGeom prst="rect">
            <a:avLst/>
          </a:prstGeom>
        </p:spPr>
      </p:pic>
    </p:spTree>
    <p:extLst>
      <p:ext uri="{BB962C8B-B14F-4D97-AF65-F5344CB8AC3E}">
        <p14:creationId xmlns:p14="http://schemas.microsoft.com/office/powerpoint/2010/main" val="2117616715"/>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Lst>
  <p:txStyles>
    <p:titleStyle>
      <a:lvl1pPr algn="l" defTabSz="914400" rtl="0" eaLnBrk="1" latinLnBrk="0" hangingPunct="1">
        <a:lnSpc>
          <a:spcPct val="70000"/>
        </a:lnSpc>
        <a:spcBef>
          <a:spcPct val="0"/>
        </a:spcBef>
        <a:buNone/>
        <a:defRPr sz="5400" kern="1200" spc="100" baseline="0">
          <a:solidFill>
            <a:schemeClr val="tx2"/>
          </a:solidFill>
          <a:latin typeface="KPMG Light" panose="020B040303020204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8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8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504">
          <p15:clr>
            <a:srgbClr val="F26B43"/>
          </p15:clr>
        </p15:guide>
        <p15:guide id="3" pos="7176">
          <p15:clr>
            <a:srgbClr val="F26B43"/>
          </p15:clr>
        </p15:guide>
        <p15:guide id="4" orient="horz" pos="240">
          <p15:clr>
            <a:srgbClr val="F26B43"/>
          </p15:clr>
        </p15:guide>
        <p15:guide id="5" orient="horz" pos="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Shape 8"/>
          <p:cNvSpPr txBox="1">
            <a:spLocks/>
          </p:cNvSpPr>
          <p:nvPr userDrawn="1"/>
        </p:nvSpPr>
        <p:spPr>
          <a:xfrm>
            <a:off x="9587480" y="6501093"/>
            <a:ext cx="1601613"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rgbClr val="00338D"/>
                </a:solidFill>
                <a:cs typeface="Arial" panose="020B0604020202020204" pitchFamily="34" charset="0"/>
              </a:rPr>
              <a:pPr algn="r"/>
              <a:t>‹#›</a:t>
            </a:fld>
            <a:endParaRPr lang="en-US" dirty="0">
              <a:solidFill>
                <a:srgbClr val="00338D"/>
              </a:solidFill>
              <a:cs typeface="Arial" panose="020B0604020202020204" pitchFamily="34" charset="0"/>
            </a:endParaRPr>
          </a:p>
        </p:txBody>
      </p:sp>
      <p:sp>
        <p:nvSpPr>
          <p:cNvPr id="2" name="Title Placeholder 1"/>
          <p:cNvSpPr>
            <a:spLocks noGrp="1"/>
          </p:cNvSpPr>
          <p:nvPr>
            <p:ph type="title"/>
          </p:nvPr>
        </p:nvSpPr>
        <p:spPr>
          <a:xfrm>
            <a:off x="1003200" y="432000"/>
            <a:ext cx="10185600" cy="518400"/>
          </a:xfrm>
          <a:prstGeom prst="rect">
            <a:avLst/>
          </a:prstGeom>
        </p:spPr>
        <p:txBody>
          <a:bodyPr vert="horz" lIns="0" tIns="0" rIns="0" bIns="0" rtlCol="0" anchor="t" anchorCtr="0">
            <a:noAutofit/>
          </a:bodyPr>
          <a:lstStyle/>
          <a:p>
            <a:r>
              <a:rPr lang="en-US" dirty="0"/>
              <a:t>Click to edit Master title style</a:t>
            </a:r>
          </a:p>
        </p:txBody>
      </p:sp>
      <p:cxnSp>
        <p:nvCxnSpPr>
          <p:cNvPr id="171" name="Straight Connector 170"/>
          <p:cNvCxnSpPr/>
          <p:nvPr userDrawn="1"/>
        </p:nvCxnSpPr>
        <p:spPr>
          <a:xfrm>
            <a:off x="837600" y="6412171"/>
            <a:ext cx="10516800" cy="0"/>
          </a:xfrm>
          <a:prstGeom prst="line">
            <a:avLst/>
          </a:prstGeom>
          <a:ln>
            <a:solidFill>
              <a:schemeClr val="bg1">
                <a:lumMod val="50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0403321"/>
      </p:ext>
    </p:extLst>
  </p:cSld>
  <p:clrMap bg1="lt1" tx1="dk1" bg2="lt2" tx2="dk2" accent1="accent1" accent2="accent2" accent3="accent3" accent4="accent4" accent5="accent5" accent6="accent6" hlink="hlink" folHlink="folHlink"/>
  <p:sldLayoutIdLst>
    <p:sldLayoutId id="2147483774" r:id="rId1"/>
    <p:sldLayoutId id="2147483775" r:id="rId2"/>
  </p:sldLayoutIdLst>
  <p:txStyles>
    <p:titleStyle>
      <a:lvl1pPr algn="l" defTabSz="914400" rtl="0" eaLnBrk="1" latinLnBrk="0" hangingPunct="1">
        <a:lnSpc>
          <a:spcPct val="70000"/>
        </a:lnSpc>
        <a:spcBef>
          <a:spcPct val="0"/>
        </a:spcBef>
        <a:buNone/>
        <a:defRPr sz="5400" kern="1200" spc="100" baseline="0">
          <a:solidFill>
            <a:schemeClr val="tx2"/>
          </a:solidFill>
          <a:latin typeface="KPMG Light" panose="020B0403030202040204" pitchFamily="34" charset="0"/>
          <a:ea typeface="+mj-ea"/>
          <a:cs typeface="+mj-cs"/>
        </a:defRPr>
      </a:lvl1pPr>
    </p:titleStyle>
    <p:bodyStyle>
      <a:lvl1pPr marL="0" indent="0" algn="l" defTabSz="914400" rtl="0" eaLnBrk="1" latinLnBrk="0" hangingPunct="1">
        <a:lnSpc>
          <a:spcPct val="100000"/>
        </a:lnSpc>
        <a:spcBef>
          <a:spcPts val="0"/>
        </a:spcBef>
        <a:spcAft>
          <a:spcPts val="600"/>
        </a:spcAft>
        <a:buFontTx/>
        <a:buNone/>
        <a:defRPr sz="18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800" kern="1200">
          <a:solidFill>
            <a:schemeClr val="tx2"/>
          </a:solidFill>
          <a:latin typeface="+mn-lt"/>
          <a:ea typeface="+mn-ea"/>
          <a:cs typeface="+mn-cs"/>
        </a:defRPr>
      </a:lvl2pPr>
      <a:lvl3pPr marL="28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3pPr>
      <a:lvl4pPr marL="576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a:solidFill>
            <a:schemeClr val="tx2"/>
          </a:solidFill>
          <a:latin typeface="+mn-lt"/>
          <a:ea typeface="+mn-ea"/>
          <a:cs typeface="+mn-cs"/>
        </a:defRPr>
      </a:lvl4pPr>
      <a:lvl5pPr marL="8244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8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5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32">
          <p15:clr>
            <a:srgbClr val="F26B43"/>
          </p15:clr>
        </p15:guide>
        <p15:guide id="2" pos="504">
          <p15:clr>
            <a:srgbClr val="F26B43"/>
          </p15:clr>
        </p15:guide>
        <p15:guide id="3" pos="7176">
          <p15:clr>
            <a:srgbClr val="F26B43"/>
          </p15:clr>
        </p15:guide>
        <p15:guide id="4" orient="horz" pos="240">
          <p15:clr>
            <a:srgbClr val="F26B43"/>
          </p15:clr>
        </p15:guide>
        <p15:guide id="5" orient="horz" pos="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assets.kpmg.com/content/dam/kpmg/nz/pdf/Dec/AcceleratingInnovationGloballessonsineHealthimplementationReport-kpmg-nz.pdf" TargetMode="External"/><Relationship Id="rId2" Type="http://schemas.openxmlformats.org/officeDocument/2006/relationships/image" Target="../media/image9.png"/><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0.xml"/></Relationships>
</file>

<file path=ppt/slides/_rels/slide14.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png"/><Relationship Id="rId7" Type="http://schemas.openxmlformats.org/officeDocument/2006/relationships/image" Target="../media/image23.jpeg"/><Relationship Id="rId12" Type="http://schemas.openxmlformats.org/officeDocument/2006/relationships/image" Target="../media/image28.jpeg"/><Relationship Id="rId2" Type="http://schemas.openxmlformats.org/officeDocument/2006/relationships/image" Target="../media/image18.png"/><Relationship Id="rId16" Type="http://schemas.openxmlformats.org/officeDocument/2006/relationships/image" Target="../media/image32.jpeg"/><Relationship Id="rId1" Type="http://schemas.openxmlformats.org/officeDocument/2006/relationships/slideLayout" Target="../slideLayouts/slideLayout6.xml"/><Relationship Id="rId6" Type="http://schemas.openxmlformats.org/officeDocument/2006/relationships/image" Target="../media/image22.jpeg"/><Relationship Id="rId11" Type="http://schemas.openxmlformats.org/officeDocument/2006/relationships/image" Target="../media/image27.png"/><Relationship Id="rId5" Type="http://schemas.openxmlformats.org/officeDocument/2006/relationships/image" Target="../media/image21.jpeg"/><Relationship Id="rId15" Type="http://schemas.openxmlformats.org/officeDocument/2006/relationships/image" Target="../media/image31.png"/><Relationship Id="rId10" Type="http://schemas.openxmlformats.org/officeDocument/2006/relationships/image" Target="../media/image26.jpeg"/><Relationship Id="rId4" Type="http://schemas.openxmlformats.org/officeDocument/2006/relationships/image" Target="../media/image20.png"/><Relationship Id="rId9" Type="http://schemas.openxmlformats.org/officeDocument/2006/relationships/image" Target="../media/image25.png"/><Relationship Id="rId14"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4.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8.xml"/><Relationship Id="rId1" Type="http://schemas.openxmlformats.org/officeDocument/2006/relationships/slideLayout" Target="../slideLayouts/slideLayout54.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54.xml"/><Relationship Id="rId5" Type="http://schemas.openxmlformats.org/officeDocument/2006/relationships/image" Target="../media/image37.jpeg"/><Relationship Id="rId4" Type="http://schemas.openxmlformats.org/officeDocument/2006/relationships/image" Target="../media/image36.jpeg"/></Relationships>
</file>

<file path=ppt/slides/_rels/slide1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0.xml"/></Relationships>
</file>

<file path=ppt/slides/_rels/slide20.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9.jpeg"/><Relationship Id="rId7" Type="http://schemas.openxmlformats.org/officeDocument/2006/relationships/diagramQuickStyle" Target="../diagrams/quickStyle2.xml"/><Relationship Id="rId2" Type="http://schemas.openxmlformats.org/officeDocument/2006/relationships/notesSlide" Target="../notesSlides/notesSlide11.xml"/><Relationship Id="rId1" Type="http://schemas.openxmlformats.org/officeDocument/2006/relationships/slideLayout" Target="../slideLayouts/slideLayout54.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40.png"/><Relationship Id="rId9" Type="http://schemas.microsoft.com/office/2007/relationships/diagramDrawing" Target="../diagrams/drawing2.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54.xml"/><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13.xml"/><Relationship Id="rId1" Type="http://schemas.openxmlformats.org/officeDocument/2006/relationships/slideLayout" Target="../slideLayouts/slideLayout54.xml"/><Relationship Id="rId6" Type="http://schemas.openxmlformats.org/officeDocument/2006/relationships/image" Target="../media/image47.png"/><Relationship Id="rId5" Type="http://schemas.openxmlformats.org/officeDocument/2006/relationships/image" Target="../media/image46.pn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png"/></Relationships>
</file>

<file path=ppt/slides/_rels/slide2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58.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3.png"/><Relationship Id="rId7" Type="http://schemas.openxmlformats.org/officeDocument/2006/relationships/diagramColors" Target="../diagrams/colors1.xml"/><Relationship Id="rId2" Type="http://schemas.openxmlformats.org/officeDocument/2006/relationships/notesSlide" Target="../notesSlides/notesSlide2.xml"/><Relationship Id="rId1" Type="http://schemas.openxmlformats.org/officeDocument/2006/relationships/slideLayout" Target="../slideLayouts/slideLayout58.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5.png"/><Relationship Id="rId1" Type="http://schemas.openxmlformats.org/officeDocument/2006/relationships/slideLayout" Target="../slideLayouts/slideLayout28.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tx2"/>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xmlns="" id="{6AAEF7CA-22B4-437C-BF23-6E5AA4F99635}"/>
              </a:ext>
            </a:extLst>
          </p:cNvPr>
          <p:cNvSpPr/>
          <p:nvPr/>
        </p:nvSpPr>
        <p:spPr>
          <a:xfrm>
            <a:off x="0" y="12701"/>
            <a:ext cx="12192000" cy="68707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a:solidFill>
                <a:prstClr val="white"/>
              </a:solidFill>
            </a:endParaRPr>
          </a:p>
        </p:txBody>
      </p:sp>
      <p:sp>
        <p:nvSpPr>
          <p:cNvPr id="21" name="Rectangle 20">
            <a:extLst>
              <a:ext uri="{FF2B5EF4-FFF2-40B4-BE49-F238E27FC236}">
                <a16:creationId xmlns:a16="http://schemas.microsoft.com/office/drawing/2014/main" xmlns="" id="{16FE0C01-EB6E-4763-9320-6CF9ACDDB07B}"/>
              </a:ext>
            </a:extLst>
          </p:cNvPr>
          <p:cNvSpPr/>
          <p:nvPr/>
        </p:nvSpPr>
        <p:spPr>
          <a:xfrm>
            <a:off x="0" y="12701"/>
            <a:ext cx="12192000" cy="68707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a:solidFill>
                <a:prstClr val="white"/>
              </a:solidFill>
            </a:endParaRPr>
          </a:p>
        </p:txBody>
      </p:sp>
      <p:pic>
        <p:nvPicPr>
          <p:cNvPr id="22" name="Picture 2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 y="-1"/>
            <a:ext cx="12191997" cy="6883401"/>
          </a:xfrm>
          <a:prstGeom prst="rect">
            <a:avLst/>
          </a:prstGeom>
        </p:spPr>
      </p:pic>
      <p:sp>
        <p:nvSpPr>
          <p:cNvPr id="10" name="Rectangle 9">
            <a:hlinkClick r:id="rId3"/>
            <a:extLst>
              <a:ext uri="{FF2B5EF4-FFF2-40B4-BE49-F238E27FC236}">
                <a16:creationId xmlns:a16="http://schemas.microsoft.com/office/drawing/2014/main" xmlns="" id="{0C4A9F71-2169-472E-BD61-259A7C10FABF}"/>
              </a:ext>
            </a:extLst>
          </p:cNvPr>
          <p:cNvSpPr/>
          <p:nvPr/>
        </p:nvSpPr>
        <p:spPr>
          <a:xfrm>
            <a:off x="1000126" y="5430802"/>
            <a:ext cx="895350" cy="895350"/>
          </a:xfrm>
          <a:prstGeom prst="rect">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endParaRPr lang="en-US" sz="1500" dirty="0">
              <a:solidFill>
                <a:prstClr val="white"/>
              </a:solidFill>
            </a:endParaRPr>
          </a:p>
        </p:txBody>
      </p:sp>
      <p:sp>
        <p:nvSpPr>
          <p:cNvPr id="13" name="Oval 12">
            <a:extLst>
              <a:ext uri="{FF2B5EF4-FFF2-40B4-BE49-F238E27FC236}">
                <a16:creationId xmlns:a16="http://schemas.microsoft.com/office/drawing/2014/main" xmlns="" id="{C775E51A-485B-4C98-8ECF-6A54EE7DE46E}"/>
              </a:ext>
            </a:extLst>
          </p:cNvPr>
          <p:cNvSpPr/>
          <p:nvPr/>
        </p:nvSpPr>
        <p:spPr>
          <a:xfrm rot="5400000">
            <a:off x="452382" y="5830796"/>
            <a:ext cx="95363" cy="95363"/>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endParaRPr lang="en-US" sz="1500" dirty="0">
              <a:solidFill>
                <a:prstClr val="white"/>
              </a:solidFill>
            </a:endParaRPr>
          </a:p>
        </p:txBody>
      </p:sp>
      <p:cxnSp>
        <p:nvCxnSpPr>
          <p:cNvPr id="14" name="Straight Connector 13">
            <a:extLst>
              <a:ext uri="{FF2B5EF4-FFF2-40B4-BE49-F238E27FC236}">
                <a16:creationId xmlns:a16="http://schemas.microsoft.com/office/drawing/2014/main" xmlns="" id="{9225B314-C718-43BF-B657-464BB4629345}"/>
              </a:ext>
            </a:extLst>
          </p:cNvPr>
          <p:cNvCxnSpPr>
            <a:stCxn id="13" idx="0"/>
          </p:cNvCxnSpPr>
          <p:nvPr/>
        </p:nvCxnSpPr>
        <p:spPr>
          <a:xfrm flipV="1">
            <a:off x="547745" y="5878477"/>
            <a:ext cx="452381" cy="1"/>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xmlns="" id="{BAA1BEBF-9C51-4531-B6DB-522D379F8D36}"/>
              </a:ext>
            </a:extLst>
          </p:cNvPr>
          <p:cNvGrpSpPr/>
          <p:nvPr/>
        </p:nvGrpSpPr>
        <p:grpSpPr>
          <a:xfrm>
            <a:off x="1221745" y="5622097"/>
            <a:ext cx="422845" cy="512759"/>
            <a:chOff x="1657350" y="1743075"/>
            <a:chExt cx="2135188" cy="2589213"/>
          </a:xfrm>
          <a:solidFill>
            <a:schemeClr val="bg1"/>
          </a:solidFill>
        </p:grpSpPr>
        <p:sp>
          <p:nvSpPr>
            <p:cNvPr id="16" name="Freeform 5">
              <a:extLst>
                <a:ext uri="{FF2B5EF4-FFF2-40B4-BE49-F238E27FC236}">
                  <a16:creationId xmlns:a16="http://schemas.microsoft.com/office/drawing/2014/main" xmlns="" id="{5F0018D3-FAA7-4C78-AF24-9B3ED4D4D6D3}"/>
                </a:ext>
              </a:extLst>
            </p:cNvPr>
            <p:cNvSpPr>
              <a:spLocks/>
            </p:cNvSpPr>
            <p:nvPr/>
          </p:nvSpPr>
          <p:spPr bwMode="auto">
            <a:xfrm>
              <a:off x="3105150" y="1743075"/>
              <a:ext cx="687388" cy="641350"/>
            </a:xfrm>
            <a:custGeom>
              <a:avLst/>
              <a:gdLst>
                <a:gd name="T0" fmla="*/ 44 w 206"/>
                <a:gd name="T1" fmla="*/ 193 h 193"/>
                <a:gd name="T2" fmla="*/ 206 w 206"/>
                <a:gd name="T3" fmla="*/ 193 h 193"/>
                <a:gd name="T4" fmla="*/ 0 w 206"/>
                <a:gd name="T5" fmla="*/ 0 h 193"/>
                <a:gd name="T6" fmla="*/ 0 w 206"/>
                <a:gd name="T7" fmla="*/ 148 h 193"/>
                <a:gd name="T8" fmla="*/ 44 w 206"/>
                <a:gd name="T9" fmla="*/ 193 h 193"/>
              </a:gdLst>
              <a:ahLst/>
              <a:cxnLst>
                <a:cxn ang="0">
                  <a:pos x="T0" y="T1"/>
                </a:cxn>
                <a:cxn ang="0">
                  <a:pos x="T2" y="T3"/>
                </a:cxn>
                <a:cxn ang="0">
                  <a:pos x="T4" y="T5"/>
                </a:cxn>
                <a:cxn ang="0">
                  <a:pos x="T6" y="T7"/>
                </a:cxn>
                <a:cxn ang="0">
                  <a:pos x="T8" y="T9"/>
                </a:cxn>
              </a:cxnLst>
              <a:rect l="0" t="0" r="r" b="b"/>
              <a:pathLst>
                <a:path w="206" h="193">
                  <a:moveTo>
                    <a:pt x="44" y="193"/>
                  </a:moveTo>
                  <a:cubicBezTo>
                    <a:pt x="206" y="193"/>
                    <a:pt x="206" y="193"/>
                    <a:pt x="206" y="193"/>
                  </a:cubicBezTo>
                  <a:cubicBezTo>
                    <a:pt x="0" y="0"/>
                    <a:pt x="0" y="0"/>
                    <a:pt x="0" y="0"/>
                  </a:cubicBezTo>
                  <a:cubicBezTo>
                    <a:pt x="0" y="148"/>
                    <a:pt x="0" y="148"/>
                    <a:pt x="0" y="148"/>
                  </a:cubicBezTo>
                  <a:cubicBezTo>
                    <a:pt x="0" y="173"/>
                    <a:pt x="20" y="193"/>
                    <a:pt x="44"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7" name="Freeform 6">
              <a:extLst>
                <a:ext uri="{FF2B5EF4-FFF2-40B4-BE49-F238E27FC236}">
                  <a16:creationId xmlns:a16="http://schemas.microsoft.com/office/drawing/2014/main" xmlns="" id="{7BFE25DB-35C1-49F7-8AA3-CEA374E39AB7}"/>
                </a:ext>
              </a:extLst>
            </p:cNvPr>
            <p:cNvSpPr>
              <a:spLocks/>
            </p:cNvSpPr>
            <p:nvPr/>
          </p:nvSpPr>
          <p:spPr bwMode="auto">
            <a:xfrm>
              <a:off x="1847850" y="1743075"/>
              <a:ext cx="1944688" cy="2589213"/>
            </a:xfrm>
            <a:custGeom>
              <a:avLst/>
              <a:gdLst>
                <a:gd name="T0" fmla="*/ 414 w 583"/>
                <a:gd name="T1" fmla="*/ 232 h 779"/>
                <a:gd name="T2" fmla="*/ 337 w 583"/>
                <a:gd name="T3" fmla="*/ 154 h 779"/>
                <a:gd name="T4" fmla="*/ 337 w 583"/>
                <a:gd name="T5" fmla="*/ 0 h 779"/>
                <a:gd name="T6" fmla="*/ 81 w 583"/>
                <a:gd name="T7" fmla="*/ 0 h 779"/>
                <a:gd name="T8" fmla="*/ 0 w 583"/>
                <a:gd name="T9" fmla="*/ 81 h 779"/>
                <a:gd name="T10" fmla="*/ 0 w 583"/>
                <a:gd name="T11" fmla="*/ 371 h 779"/>
                <a:gd name="T12" fmla="*/ 130 w 583"/>
                <a:gd name="T13" fmla="*/ 332 h 779"/>
                <a:gd name="T14" fmla="*/ 255 w 583"/>
                <a:gd name="T15" fmla="*/ 368 h 779"/>
                <a:gd name="T16" fmla="*/ 437 w 583"/>
                <a:gd name="T17" fmla="*/ 368 h 779"/>
                <a:gd name="T18" fmla="*/ 462 w 583"/>
                <a:gd name="T19" fmla="*/ 392 h 779"/>
                <a:gd name="T20" fmla="*/ 437 w 583"/>
                <a:gd name="T21" fmla="*/ 417 h 779"/>
                <a:gd name="T22" fmla="*/ 313 w 583"/>
                <a:gd name="T23" fmla="*/ 417 h 779"/>
                <a:gd name="T24" fmla="*/ 354 w 583"/>
                <a:gd name="T25" fmla="*/ 485 h 779"/>
                <a:gd name="T26" fmla="*/ 437 w 583"/>
                <a:gd name="T27" fmla="*/ 485 h 779"/>
                <a:gd name="T28" fmla="*/ 462 w 583"/>
                <a:gd name="T29" fmla="*/ 509 h 779"/>
                <a:gd name="T30" fmla="*/ 437 w 583"/>
                <a:gd name="T31" fmla="*/ 534 h 779"/>
                <a:gd name="T32" fmla="*/ 366 w 583"/>
                <a:gd name="T33" fmla="*/ 534 h 779"/>
                <a:gd name="T34" fmla="*/ 369 w 583"/>
                <a:gd name="T35" fmla="*/ 571 h 779"/>
                <a:gd name="T36" fmla="*/ 367 w 583"/>
                <a:gd name="T37" fmla="*/ 603 h 779"/>
                <a:gd name="T38" fmla="*/ 437 w 583"/>
                <a:gd name="T39" fmla="*/ 603 h 779"/>
                <a:gd name="T40" fmla="*/ 462 w 583"/>
                <a:gd name="T41" fmla="*/ 628 h 779"/>
                <a:gd name="T42" fmla="*/ 437 w 583"/>
                <a:gd name="T43" fmla="*/ 652 h 779"/>
                <a:gd name="T44" fmla="*/ 355 w 583"/>
                <a:gd name="T45" fmla="*/ 652 h 779"/>
                <a:gd name="T46" fmla="*/ 246 w 583"/>
                <a:gd name="T47" fmla="*/ 779 h 779"/>
                <a:gd name="T48" fmla="*/ 503 w 583"/>
                <a:gd name="T49" fmla="*/ 779 h 779"/>
                <a:gd name="T50" fmla="*/ 583 w 583"/>
                <a:gd name="T51" fmla="*/ 699 h 779"/>
                <a:gd name="T52" fmla="*/ 583 w 583"/>
                <a:gd name="T53" fmla="*/ 232 h 779"/>
                <a:gd name="T54" fmla="*/ 414 w 583"/>
                <a:gd name="T55" fmla="*/ 232 h 779"/>
                <a:gd name="T56" fmla="*/ 414 w 583"/>
                <a:gd name="T57" fmla="*/ 232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83" h="779">
                  <a:moveTo>
                    <a:pt x="414" y="232"/>
                  </a:moveTo>
                  <a:cubicBezTo>
                    <a:pt x="372" y="232"/>
                    <a:pt x="337" y="198"/>
                    <a:pt x="337" y="154"/>
                  </a:cubicBezTo>
                  <a:cubicBezTo>
                    <a:pt x="337" y="0"/>
                    <a:pt x="337" y="0"/>
                    <a:pt x="337" y="0"/>
                  </a:cubicBezTo>
                  <a:cubicBezTo>
                    <a:pt x="81" y="0"/>
                    <a:pt x="81" y="0"/>
                    <a:pt x="81" y="0"/>
                  </a:cubicBezTo>
                  <a:cubicBezTo>
                    <a:pt x="36" y="0"/>
                    <a:pt x="0" y="36"/>
                    <a:pt x="0" y="81"/>
                  </a:cubicBezTo>
                  <a:cubicBezTo>
                    <a:pt x="0" y="371"/>
                    <a:pt x="0" y="371"/>
                    <a:pt x="0" y="371"/>
                  </a:cubicBezTo>
                  <a:cubicBezTo>
                    <a:pt x="37" y="346"/>
                    <a:pt x="82" y="332"/>
                    <a:pt x="130" y="332"/>
                  </a:cubicBezTo>
                  <a:cubicBezTo>
                    <a:pt x="176" y="332"/>
                    <a:pt x="219" y="346"/>
                    <a:pt x="255" y="368"/>
                  </a:cubicBezTo>
                  <a:cubicBezTo>
                    <a:pt x="437" y="368"/>
                    <a:pt x="437" y="368"/>
                    <a:pt x="437" y="368"/>
                  </a:cubicBezTo>
                  <a:cubicBezTo>
                    <a:pt x="451" y="368"/>
                    <a:pt x="462" y="379"/>
                    <a:pt x="462" y="392"/>
                  </a:cubicBezTo>
                  <a:cubicBezTo>
                    <a:pt x="462" y="406"/>
                    <a:pt x="451" y="417"/>
                    <a:pt x="437" y="417"/>
                  </a:cubicBezTo>
                  <a:cubicBezTo>
                    <a:pt x="313" y="417"/>
                    <a:pt x="313" y="417"/>
                    <a:pt x="313" y="417"/>
                  </a:cubicBezTo>
                  <a:cubicBezTo>
                    <a:pt x="329" y="437"/>
                    <a:pt x="344" y="460"/>
                    <a:pt x="354" y="485"/>
                  </a:cubicBezTo>
                  <a:cubicBezTo>
                    <a:pt x="437" y="485"/>
                    <a:pt x="437" y="485"/>
                    <a:pt x="437" y="485"/>
                  </a:cubicBezTo>
                  <a:cubicBezTo>
                    <a:pt x="451" y="485"/>
                    <a:pt x="462" y="497"/>
                    <a:pt x="462" y="509"/>
                  </a:cubicBezTo>
                  <a:cubicBezTo>
                    <a:pt x="462" y="523"/>
                    <a:pt x="451" y="534"/>
                    <a:pt x="437" y="534"/>
                  </a:cubicBezTo>
                  <a:cubicBezTo>
                    <a:pt x="366" y="534"/>
                    <a:pt x="366" y="534"/>
                    <a:pt x="366" y="534"/>
                  </a:cubicBezTo>
                  <a:cubicBezTo>
                    <a:pt x="369" y="546"/>
                    <a:pt x="369" y="558"/>
                    <a:pt x="369" y="571"/>
                  </a:cubicBezTo>
                  <a:cubicBezTo>
                    <a:pt x="369" y="582"/>
                    <a:pt x="369" y="592"/>
                    <a:pt x="367" y="603"/>
                  </a:cubicBezTo>
                  <a:cubicBezTo>
                    <a:pt x="437" y="603"/>
                    <a:pt x="437" y="603"/>
                    <a:pt x="437" y="603"/>
                  </a:cubicBezTo>
                  <a:cubicBezTo>
                    <a:pt x="451" y="603"/>
                    <a:pt x="462" y="614"/>
                    <a:pt x="462" y="628"/>
                  </a:cubicBezTo>
                  <a:cubicBezTo>
                    <a:pt x="462" y="641"/>
                    <a:pt x="451" y="652"/>
                    <a:pt x="437" y="652"/>
                  </a:cubicBezTo>
                  <a:cubicBezTo>
                    <a:pt x="355" y="652"/>
                    <a:pt x="355" y="652"/>
                    <a:pt x="355" y="652"/>
                  </a:cubicBezTo>
                  <a:cubicBezTo>
                    <a:pt x="335" y="707"/>
                    <a:pt x="295" y="752"/>
                    <a:pt x="246" y="779"/>
                  </a:cubicBezTo>
                  <a:cubicBezTo>
                    <a:pt x="503" y="779"/>
                    <a:pt x="503" y="779"/>
                    <a:pt x="503" y="779"/>
                  </a:cubicBezTo>
                  <a:cubicBezTo>
                    <a:pt x="546" y="779"/>
                    <a:pt x="583" y="743"/>
                    <a:pt x="583" y="699"/>
                  </a:cubicBezTo>
                  <a:cubicBezTo>
                    <a:pt x="583" y="232"/>
                    <a:pt x="583" y="232"/>
                    <a:pt x="583" y="232"/>
                  </a:cubicBezTo>
                  <a:cubicBezTo>
                    <a:pt x="414" y="232"/>
                    <a:pt x="414" y="232"/>
                    <a:pt x="414" y="232"/>
                  </a:cubicBezTo>
                  <a:cubicBezTo>
                    <a:pt x="414" y="232"/>
                    <a:pt x="414" y="232"/>
                    <a:pt x="414" y="2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8" name="Freeform 7">
              <a:extLst>
                <a:ext uri="{FF2B5EF4-FFF2-40B4-BE49-F238E27FC236}">
                  <a16:creationId xmlns:a16="http://schemas.microsoft.com/office/drawing/2014/main" xmlns="" id="{F71E887F-92B1-492F-8585-F9275E2BC98C}"/>
                </a:ext>
              </a:extLst>
            </p:cNvPr>
            <p:cNvSpPr>
              <a:spLocks noEditPoints="1"/>
            </p:cNvSpPr>
            <p:nvPr/>
          </p:nvSpPr>
          <p:spPr bwMode="auto">
            <a:xfrm>
              <a:off x="1657350" y="3028950"/>
              <a:ext cx="1247775" cy="1243013"/>
            </a:xfrm>
            <a:custGeom>
              <a:avLst/>
              <a:gdLst>
                <a:gd name="T0" fmla="*/ 187 w 374"/>
                <a:gd name="T1" fmla="*/ 0 h 374"/>
                <a:gd name="T2" fmla="*/ 0 w 374"/>
                <a:gd name="T3" fmla="*/ 187 h 374"/>
                <a:gd name="T4" fmla="*/ 187 w 374"/>
                <a:gd name="T5" fmla="*/ 374 h 374"/>
                <a:gd name="T6" fmla="*/ 374 w 374"/>
                <a:gd name="T7" fmla="*/ 187 h 374"/>
                <a:gd name="T8" fmla="*/ 187 w 374"/>
                <a:gd name="T9" fmla="*/ 0 h 374"/>
                <a:gd name="T10" fmla="*/ 279 w 374"/>
                <a:gd name="T11" fmla="*/ 224 h 374"/>
                <a:gd name="T12" fmla="*/ 201 w 374"/>
                <a:gd name="T13" fmla="*/ 300 h 374"/>
                <a:gd name="T14" fmla="*/ 187 w 374"/>
                <a:gd name="T15" fmla="*/ 305 h 374"/>
                <a:gd name="T16" fmla="*/ 173 w 374"/>
                <a:gd name="T17" fmla="*/ 300 h 374"/>
                <a:gd name="T18" fmla="*/ 95 w 374"/>
                <a:gd name="T19" fmla="*/ 224 h 374"/>
                <a:gd name="T20" fmla="*/ 95 w 374"/>
                <a:gd name="T21" fmla="*/ 196 h 374"/>
                <a:gd name="T22" fmla="*/ 123 w 374"/>
                <a:gd name="T23" fmla="*/ 196 h 374"/>
                <a:gd name="T24" fmla="*/ 167 w 374"/>
                <a:gd name="T25" fmla="*/ 238 h 374"/>
                <a:gd name="T26" fmla="*/ 167 w 374"/>
                <a:gd name="T27" fmla="*/ 82 h 374"/>
                <a:gd name="T28" fmla="*/ 187 w 374"/>
                <a:gd name="T29" fmla="*/ 62 h 374"/>
                <a:gd name="T30" fmla="*/ 207 w 374"/>
                <a:gd name="T31" fmla="*/ 82 h 374"/>
                <a:gd name="T32" fmla="*/ 207 w 374"/>
                <a:gd name="T33" fmla="*/ 238 h 374"/>
                <a:gd name="T34" fmla="*/ 251 w 374"/>
                <a:gd name="T35" fmla="*/ 196 h 374"/>
                <a:gd name="T36" fmla="*/ 279 w 374"/>
                <a:gd name="T37" fmla="*/ 196 h 374"/>
                <a:gd name="T38" fmla="*/ 279 w 374"/>
                <a:gd name="T39" fmla="*/ 22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4" h="374">
                  <a:moveTo>
                    <a:pt x="187" y="0"/>
                  </a:moveTo>
                  <a:cubicBezTo>
                    <a:pt x="84" y="0"/>
                    <a:pt x="0" y="84"/>
                    <a:pt x="0" y="187"/>
                  </a:cubicBezTo>
                  <a:cubicBezTo>
                    <a:pt x="0" y="290"/>
                    <a:pt x="84" y="374"/>
                    <a:pt x="187" y="374"/>
                  </a:cubicBezTo>
                  <a:cubicBezTo>
                    <a:pt x="291" y="374"/>
                    <a:pt x="374" y="290"/>
                    <a:pt x="374" y="187"/>
                  </a:cubicBezTo>
                  <a:cubicBezTo>
                    <a:pt x="374" y="84"/>
                    <a:pt x="291" y="0"/>
                    <a:pt x="187" y="0"/>
                  </a:cubicBezTo>
                  <a:close/>
                  <a:moveTo>
                    <a:pt x="279" y="224"/>
                  </a:moveTo>
                  <a:cubicBezTo>
                    <a:pt x="201" y="300"/>
                    <a:pt x="201" y="300"/>
                    <a:pt x="201" y="300"/>
                  </a:cubicBezTo>
                  <a:cubicBezTo>
                    <a:pt x="197" y="303"/>
                    <a:pt x="192" y="305"/>
                    <a:pt x="187" y="305"/>
                  </a:cubicBezTo>
                  <a:cubicBezTo>
                    <a:pt x="182" y="305"/>
                    <a:pt x="177" y="303"/>
                    <a:pt x="173" y="300"/>
                  </a:cubicBezTo>
                  <a:cubicBezTo>
                    <a:pt x="95" y="224"/>
                    <a:pt x="95" y="224"/>
                    <a:pt x="95" y="224"/>
                  </a:cubicBezTo>
                  <a:cubicBezTo>
                    <a:pt x="87" y="217"/>
                    <a:pt x="87" y="204"/>
                    <a:pt x="95" y="196"/>
                  </a:cubicBezTo>
                  <a:cubicBezTo>
                    <a:pt x="102" y="188"/>
                    <a:pt x="115" y="188"/>
                    <a:pt x="123" y="196"/>
                  </a:cubicBezTo>
                  <a:cubicBezTo>
                    <a:pt x="167" y="238"/>
                    <a:pt x="167" y="238"/>
                    <a:pt x="167" y="238"/>
                  </a:cubicBezTo>
                  <a:cubicBezTo>
                    <a:pt x="167" y="82"/>
                    <a:pt x="167" y="82"/>
                    <a:pt x="167" y="82"/>
                  </a:cubicBezTo>
                  <a:cubicBezTo>
                    <a:pt x="167" y="71"/>
                    <a:pt x="176" y="62"/>
                    <a:pt x="187" y="62"/>
                  </a:cubicBezTo>
                  <a:cubicBezTo>
                    <a:pt x="198" y="62"/>
                    <a:pt x="207" y="71"/>
                    <a:pt x="207" y="82"/>
                  </a:cubicBezTo>
                  <a:cubicBezTo>
                    <a:pt x="207" y="238"/>
                    <a:pt x="207" y="238"/>
                    <a:pt x="207" y="238"/>
                  </a:cubicBezTo>
                  <a:cubicBezTo>
                    <a:pt x="251" y="196"/>
                    <a:pt x="251" y="196"/>
                    <a:pt x="251" y="196"/>
                  </a:cubicBezTo>
                  <a:cubicBezTo>
                    <a:pt x="259" y="188"/>
                    <a:pt x="271" y="188"/>
                    <a:pt x="279" y="196"/>
                  </a:cubicBezTo>
                  <a:cubicBezTo>
                    <a:pt x="287" y="204"/>
                    <a:pt x="287" y="217"/>
                    <a:pt x="279" y="2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sp>
        <p:nvSpPr>
          <p:cNvPr id="23" name="bk object 18"/>
          <p:cNvSpPr/>
          <p:nvPr/>
        </p:nvSpPr>
        <p:spPr>
          <a:xfrm>
            <a:off x="-1" y="1261695"/>
            <a:ext cx="4327301" cy="1981762"/>
          </a:xfrm>
          <a:prstGeom prst="rect">
            <a:avLst/>
          </a:prstGeom>
          <a:solidFill>
            <a:srgbClr val="00338D">
              <a:alpha val="40000"/>
            </a:srgbClr>
          </a:solidFill>
          <a:ln>
            <a:noFill/>
          </a:ln>
        </p:spPr>
        <p:txBody>
          <a:bodyPr wrap="square" lIns="0" tIns="0" rIns="0" bIns="0" rtlCol="0"/>
          <a:lstStyle/>
          <a:p>
            <a:endParaRPr dirty="0">
              <a:solidFill>
                <a:srgbClr val="000000"/>
              </a:solidFill>
            </a:endParaRPr>
          </a:p>
        </p:txBody>
      </p:sp>
      <p:sp>
        <p:nvSpPr>
          <p:cNvPr id="24" name="Title 1"/>
          <p:cNvSpPr>
            <a:spLocks noGrp="1"/>
          </p:cNvSpPr>
          <p:nvPr>
            <p:ph type="ctrTitle"/>
          </p:nvPr>
        </p:nvSpPr>
        <p:spPr bwMode="gray">
          <a:xfrm>
            <a:off x="155640" y="1461696"/>
            <a:ext cx="4327301" cy="757240"/>
          </a:xfrm>
        </p:spPr>
        <p:txBody>
          <a:bodyPr vert="horz" wrap="square" lIns="91441" tIns="91441" rIns="91441" bIns="91441" numCol="1" rtlCol="0" anchor="t" anchorCtr="0" compatLnSpc="1">
            <a:prstTxWarp prst="textNoShape">
              <a:avLst/>
            </a:prstTxWarp>
            <a:noAutofit/>
          </a:bodyPr>
          <a:lstStyle/>
          <a:p>
            <a:pPr>
              <a:spcBef>
                <a:spcPts val="432"/>
              </a:spcBef>
            </a:pPr>
            <a:r>
              <a:rPr lang="en-GB" sz="3600" b="1" dirty="0">
                <a:solidFill>
                  <a:srgbClr val="FFE600"/>
                </a:solidFill>
                <a:latin typeface="Calibri" panose="020F0502020204030204" pitchFamily="34" charset="0"/>
                <a:ea typeface="+mn-ea"/>
                <a:cs typeface="Calibri" panose="020F0502020204030204" pitchFamily="34" charset="0"/>
              </a:rPr>
              <a:t>Smart Cities- BSNL Offerings</a:t>
            </a:r>
          </a:p>
        </p:txBody>
      </p:sp>
      <p:sp>
        <p:nvSpPr>
          <p:cNvPr id="25" name="Text Placeholder 3">
            <a:extLst>
              <a:ext uri="{FF2B5EF4-FFF2-40B4-BE49-F238E27FC236}">
                <a16:creationId xmlns:a16="http://schemas.microsoft.com/office/drawing/2014/main" xmlns="" id="{46E922DB-AD5E-410F-8907-35E941D3370E}"/>
              </a:ext>
            </a:extLst>
          </p:cNvPr>
          <p:cNvSpPr>
            <a:spLocks noGrp="1"/>
          </p:cNvSpPr>
          <p:nvPr>
            <p:ph type="body" sz="quarter" idx="4294967295"/>
          </p:nvPr>
        </p:nvSpPr>
        <p:spPr>
          <a:xfrm>
            <a:off x="180439" y="2507469"/>
            <a:ext cx="4314709" cy="1160462"/>
          </a:xfrm>
          <a:prstGeom prst="rect">
            <a:avLst/>
          </a:prstGeom>
        </p:spPr>
        <p:txBody>
          <a:bodyPr>
            <a:noAutofit/>
          </a:bodyPr>
          <a:lstStyle/>
          <a:p>
            <a:endParaRPr lang="en-US" sz="2400" dirty="0">
              <a:solidFill>
                <a:schemeClr val="bg1"/>
              </a:solidFill>
            </a:endParaRPr>
          </a:p>
        </p:txBody>
      </p:sp>
      <p:pic>
        <p:nvPicPr>
          <p:cNvPr id="26" name="Picture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035032" y="0"/>
            <a:ext cx="1156968" cy="1156968"/>
          </a:xfrm>
          <a:prstGeom prst="rect">
            <a:avLst/>
          </a:prstGeom>
        </p:spPr>
      </p:pic>
    </p:spTree>
    <p:extLst>
      <p:ext uri="{BB962C8B-B14F-4D97-AF65-F5344CB8AC3E}">
        <p14:creationId xmlns:p14="http://schemas.microsoft.com/office/powerpoint/2010/main" val="763278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42" presetClass="path" presetSubtype="0" decel="50000" fill="hold" grpId="1" nodeType="withEffect">
                                  <p:stCondLst>
                                    <p:cond delay="0"/>
                                  </p:stCondLst>
                                  <p:childTnLst>
                                    <p:animMotion origin="layout" path="M 0 2.22222E-6 L 0 0.11203 " pathEditMode="relative" rAng="0" ptsTypes="AA">
                                      <p:cBhvr>
                                        <p:cTn id="9" dur="750" spd="-100000" fill="hold"/>
                                        <p:tgtEl>
                                          <p:spTgt spid="20"/>
                                        </p:tgtEl>
                                        <p:attrNameLst>
                                          <p:attrName>ppt_x</p:attrName>
                                          <p:attrName>ppt_y</p:attrName>
                                        </p:attrNameLst>
                                      </p:cBhvr>
                                      <p:rCtr x="0" y="5602"/>
                                    </p:animMotion>
                                  </p:childTnLst>
                                </p:cTn>
                              </p:par>
                              <p:par>
                                <p:cTn id="10" presetID="10" presetClass="entr" presetSubtype="0" fill="hold" grpId="0" nodeType="withEffect">
                                  <p:stCondLst>
                                    <p:cond delay="25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42" presetClass="path" presetSubtype="0" decel="50000" fill="hold" grpId="1" nodeType="withEffect">
                                  <p:stCondLst>
                                    <p:cond delay="250"/>
                                  </p:stCondLst>
                                  <p:childTnLst>
                                    <p:animMotion origin="layout" path="M 0 2.22222E-6 L 0 0.11203 " pathEditMode="relative" rAng="0" ptsTypes="AA">
                                      <p:cBhvr>
                                        <p:cTn id="14" dur="750" spd="-100000" fill="hold"/>
                                        <p:tgtEl>
                                          <p:spTgt spid="21"/>
                                        </p:tgtEl>
                                        <p:attrNameLst>
                                          <p:attrName>ppt_x</p:attrName>
                                          <p:attrName>ppt_y</p:attrName>
                                        </p:attrNameLst>
                                      </p:cBhvr>
                                      <p:rCtr x="0" y="5602"/>
                                    </p:animMotion>
                                  </p:childTnLst>
                                </p:cTn>
                              </p:par>
                              <p:par>
                                <p:cTn id="15" presetID="10" presetClass="entr" presetSubtype="0" fill="hold" grpId="0" nodeType="withEffect">
                                  <p:stCondLst>
                                    <p:cond delay="100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par>
                                <p:cTn id="18" presetID="23" presetClass="entr" presetSubtype="288" fill="hold" grpId="1" nodeType="withEffect">
                                  <p:stCondLst>
                                    <p:cond delay="1000"/>
                                  </p:stCondLst>
                                  <p:childTnLst>
                                    <p:set>
                                      <p:cBhvr>
                                        <p:cTn id="19" dur="1" fill="hold">
                                          <p:stCondLst>
                                            <p:cond delay="0"/>
                                          </p:stCondLst>
                                        </p:cTn>
                                        <p:tgtEl>
                                          <p:spTgt spid="10"/>
                                        </p:tgtEl>
                                        <p:attrNameLst>
                                          <p:attrName>style.visibility</p:attrName>
                                        </p:attrNameLst>
                                      </p:cBhvr>
                                      <p:to>
                                        <p:strVal val="visible"/>
                                      </p:to>
                                    </p:set>
                                    <p:anim calcmode="lin" valueType="num">
                                      <p:cBhvr>
                                        <p:cTn id="20" dur="500" fill="hold"/>
                                        <p:tgtEl>
                                          <p:spTgt spid="10"/>
                                        </p:tgtEl>
                                        <p:attrNameLst>
                                          <p:attrName>ppt_w</p:attrName>
                                        </p:attrNameLst>
                                      </p:cBhvr>
                                      <p:tavLst>
                                        <p:tav tm="0">
                                          <p:val>
                                            <p:strVal val="4/3*#ppt_w"/>
                                          </p:val>
                                        </p:tav>
                                        <p:tav tm="100000">
                                          <p:val>
                                            <p:strVal val="#ppt_w"/>
                                          </p:val>
                                        </p:tav>
                                      </p:tavLst>
                                    </p:anim>
                                    <p:anim calcmode="lin" valueType="num">
                                      <p:cBhvr>
                                        <p:cTn id="21" dur="500" fill="hold"/>
                                        <p:tgtEl>
                                          <p:spTgt spid="10"/>
                                        </p:tgtEl>
                                        <p:attrNameLst>
                                          <p:attrName>ppt_h</p:attrName>
                                        </p:attrNameLst>
                                      </p:cBhvr>
                                      <p:tavLst>
                                        <p:tav tm="0">
                                          <p:val>
                                            <p:strVal val="4/3*#ppt_h"/>
                                          </p:val>
                                        </p:tav>
                                        <p:tav tm="100000">
                                          <p:val>
                                            <p:strVal val="#ppt_h"/>
                                          </p:val>
                                        </p:tav>
                                      </p:tavLst>
                                    </p:anim>
                                  </p:childTnLst>
                                </p:cTn>
                              </p:par>
                              <p:par>
                                <p:cTn id="22" presetID="22" presetClass="entr" presetSubtype="2" fill="hold" nodeType="withEffect">
                                  <p:stCondLst>
                                    <p:cond delay="1500"/>
                                  </p:stCondLst>
                                  <p:childTnLst>
                                    <p:set>
                                      <p:cBhvr>
                                        <p:cTn id="23" dur="1" fill="hold">
                                          <p:stCondLst>
                                            <p:cond delay="0"/>
                                          </p:stCondLst>
                                        </p:cTn>
                                        <p:tgtEl>
                                          <p:spTgt spid="14"/>
                                        </p:tgtEl>
                                        <p:attrNameLst>
                                          <p:attrName>style.visibility</p:attrName>
                                        </p:attrNameLst>
                                      </p:cBhvr>
                                      <p:to>
                                        <p:strVal val="visible"/>
                                      </p:to>
                                    </p:set>
                                    <p:animEffect transition="in" filter="wipe(right)">
                                      <p:cBhvr>
                                        <p:cTn id="24" dur="500"/>
                                        <p:tgtEl>
                                          <p:spTgt spid="14"/>
                                        </p:tgtEl>
                                      </p:cBhvr>
                                    </p:animEffect>
                                  </p:childTnLst>
                                </p:cTn>
                              </p:par>
                              <p:par>
                                <p:cTn id="25" presetID="10" presetClass="entr" presetSubtype="0" fill="hold" grpId="0" nodeType="withEffect">
                                  <p:stCondLst>
                                    <p:cond delay="175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23" presetClass="entr" presetSubtype="272" fill="hold" grpId="1" nodeType="withEffect">
                                  <p:stCondLst>
                                    <p:cond delay="1750"/>
                                  </p:stCondLst>
                                  <p:childTnLst>
                                    <p:set>
                                      <p:cBhvr>
                                        <p:cTn id="29" dur="1" fill="hold">
                                          <p:stCondLst>
                                            <p:cond delay="0"/>
                                          </p:stCondLst>
                                        </p:cTn>
                                        <p:tgtEl>
                                          <p:spTgt spid="13"/>
                                        </p:tgtEl>
                                        <p:attrNameLst>
                                          <p:attrName>style.visibility</p:attrName>
                                        </p:attrNameLst>
                                      </p:cBhvr>
                                      <p:to>
                                        <p:strVal val="visible"/>
                                      </p:to>
                                    </p:set>
                                    <p:anim calcmode="lin" valueType="num">
                                      <p:cBhvr>
                                        <p:cTn id="30" dur="500" fill="hold"/>
                                        <p:tgtEl>
                                          <p:spTgt spid="13"/>
                                        </p:tgtEl>
                                        <p:attrNameLst>
                                          <p:attrName>ppt_w</p:attrName>
                                        </p:attrNameLst>
                                      </p:cBhvr>
                                      <p:tavLst>
                                        <p:tav tm="0">
                                          <p:val>
                                            <p:strVal val="2/3*#ppt_w"/>
                                          </p:val>
                                        </p:tav>
                                        <p:tav tm="100000">
                                          <p:val>
                                            <p:strVal val="#ppt_w"/>
                                          </p:val>
                                        </p:tav>
                                      </p:tavLst>
                                    </p:anim>
                                    <p:anim calcmode="lin" valueType="num">
                                      <p:cBhvr>
                                        <p:cTn id="31" dur="500" fill="hold"/>
                                        <p:tgtEl>
                                          <p:spTgt spid="13"/>
                                        </p:tgtEl>
                                        <p:attrNameLst>
                                          <p:attrName>ppt_h</p:attrName>
                                        </p:attrNameLst>
                                      </p:cBhvr>
                                      <p:tavLst>
                                        <p:tav tm="0">
                                          <p:val>
                                            <p:strVal val="2/3*#ppt_h"/>
                                          </p:val>
                                        </p:tav>
                                        <p:tav tm="100000">
                                          <p:val>
                                            <p:strVal val="#ppt_h"/>
                                          </p:val>
                                        </p:tav>
                                      </p:tavLst>
                                    </p:anim>
                                  </p:childTnLst>
                                </p:cTn>
                              </p:par>
                              <p:par>
                                <p:cTn id="32" presetID="10" presetClass="entr" presetSubtype="0" fill="hold" nodeType="withEffect">
                                  <p:stCondLst>
                                    <p:cond delay="150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nodeType="withEffect">
                                  <p:stCondLst>
                                    <p:cond delay="5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500"/>
                                        <p:tgtEl>
                                          <p:spTgt spid="22"/>
                                        </p:tgtEl>
                                      </p:cBhvr>
                                    </p:animEffect>
                                  </p:childTnLst>
                                </p:cTn>
                              </p:par>
                              <p:par>
                                <p:cTn id="38" presetID="42" presetClass="path" presetSubtype="0" decel="50000" fill="hold" nodeType="withEffect">
                                  <p:stCondLst>
                                    <p:cond delay="500"/>
                                  </p:stCondLst>
                                  <p:childTnLst>
                                    <p:animMotion origin="layout" path="M 0 -1.85185E-6 L 0 0.11482 " pathEditMode="relative" rAng="0" ptsTypes="AA">
                                      <p:cBhvr>
                                        <p:cTn id="39" dur="750" spd="-100000" fill="hold"/>
                                        <p:tgtEl>
                                          <p:spTgt spid="22"/>
                                        </p:tgtEl>
                                        <p:attrNameLst>
                                          <p:attrName>ppt_x</p:attrName>
                                          <p:attrName>ppt_y</p:attrName>
                                        </p:attrNameLst>
                                      </p:cBhvr>
                                      <p:rCtr x="0" y="5741"/>
                                    </p:animMotion>
                                  </p:childTnLst>
                                </p:cTn>
                              </p:par>
                              <p:par>
                                <p:cTn id="40" presetID="10" presetClass="entr" presetSubtype="0" fill="hold" grpId="0" nodeType="withEffect">
                                  <p:stCondLst>
                                    <p:cond delay="1000"/>
                                  </p:stCondLst>
                                  <p:childTnLst>
                                    <p:set>
                                      <p:cBhvr>
                                        <p:cTn id="41" dur="1" fill="hold">
                                          <p:stCondLst>
                                            <p:cond delay="0"/>
                                          </p:stCondLst>
                                        </p:cTn>
                                        <p:tgtEl>
                                          <p:spTgt spid="23"/>
                                        </p:tgtEl>
                                        <p:attrNameLst>
                                          <p:attrName>style.visibility</p:attrName>
                                        </p:attrNameLst>
                                      </p:cBhvr>
                                      <p:to>
                                        <p:strVal val="visible"/>
                                      </p:to>
                                    </p:set>
                                    <p:animEffect transition="in" filter="fade">
                                      <p:cBhvr>
                                        <p:cTn id="42" dur="500"/>
                                        <p:tgtEl>
                                          <p:spTgt spid="23"/>
                                        </p:tgtEl>
                                      </p:cBhvr>
                                    </p:animEffect>
                                  </p:childTnLst>
                                </p:cTn>
                              </p:par>
                              <p:par>
                                <p:cTn id="43" presetID="35" presetClass="path" presetSubtype="0" decel="100000" fill="hold" grpId="1" nodeType="withEffect">
                                  <p:stCondLst>
                                    <p:cond delay="1000"/>
                                  </p:stCondLst>
                                  <p:childTnLst>
                                    <p:animMotion origin="layout" path="M -3.95833E-6 -2.22222E-6 L -0.08528 -2.22222E-6 " pathEditMode="relative" rAng="0" ptsTypes="AA">
                                      <p:cBhvr>
                                        <p:cTn id="44" dur="1000" spd="-100000" fill="hold"/>
                                        <p:tgtEl>
                                          <p:spTgt spid="23"/>
                                        </p:tgtEl>
                                        <p:attrNameLst>
                                          <p:attrName>ppt_x</p:attrName>
                                          <p:attrName>ppt_y</p:attrName>
                                        </p:attrNameLst>
                                      </p:cBhvr>
                                      <p:rCtr x="-4271" y="0"/>
                                    </p:animMotion>
                                  </p:childTnLst>
                                </p:cTn>
                              </p:par>
                              <p:par>
                                <p:cTn id="45" presetID="10" presetClass="entr" presetSubtype="0" fill="hold" nodeType="withEffect">
                                  <p:stCondLst>
                                    <p:cond delay="500"/>
                                  </p:stCondLst>
                                  <p:childTnLst>
                                    <p:set>
                                      <p:cBhvr>
                                        <p:cTn id="46" dur="1" fill="hold">
                                          <p:stCondLst>
                                            <p:cond delay="0"/>
                                          </p:stCondLst>
                                        </p:cTn>
                                        <p:tgtEl>
                                          <p:spTgt spid="26"/>
                                        </p:tgtEl>
                                        <p:attrNameLst>
                                          <p:attrName>style.visibility</p:attrName>
                                        </p:attrNameLst>
                                      </p:cBhvr>
                                      <p:to>
                                        <p:strVal val="visible"/>
                                      </p:to>
                                    </p:set>
                                    <p:animEffect transition="in" filter="fade">
                                      <p:cBhvr>
                                        <p:cTn id="47" dur="500"/>
                                        <p:tgtEl>
                                          <p:spTgt spid="26"/>
                                        </p:tgtEl>
                                      </p:cBhvr>
                                    </p:animEffect>
                                  </p:childTnLst>
                                </p:cTn>
                              </p:par>
                              <p:par>
                                <p:cTn id="48" presetID="35" presetClass="path" presetSubtype="0" decel="100000" fill="hold" nodeType="withEffect">
                                  <p:stCondLst>
                                    <p:cond delay="500"/>
                                  </p:stCondLst>
                                  <p:childTnLst>
                                    <p:animMotion origin="layout" path="M -3.95833E-6 7.40741E-7 L -0.00013 0.04468 " pathEditMode="relative" rAng="0" ptsTypes="AA">
                                      <p:cBhvr>
                                        <p:cTn id="49" dur="750" spd="-100000" fill="hold"/>
                                        <p:tgtEl>
                                          <p:spTgt spid="26"/>
                                        </p:tgtEl>
                                        <p:attrNameLst>
                                          <p:attrName>ppt_x</p:attrName>
                                          <p:attrName>ppt_y</p:attrName>
                                        </p:attrNameLst>
                                      </p:cBhvr>
                                      <p:rCtr x="-13" y="222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0" grpId="1" animBg="1"/>
      <p:bldP spid="21" grpId="0" animBg="1"/>
      <p:bldP spid="21" grpId="1" animBg="1"/>
      <p:bldP spid="10" grpId="0" animBg="1"/>
      <p:bldP spid="10" grpId="1" animBg="1"/>
      <p:bldP spid="13" grpId="0" animBg="1"/>
      <p:bldP spid="13" grpId="1" animBg="1"/>
      <p:bldP spid="23" grpId="0" animBg="1"/>
      <p:bldP spid="23"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bwMode="auto">
          <a:xfrm>
            <a:off x="4247673" y="83075"/>
            <a:ext cx="7802516" cy="675737"/>
          </a:xfrm>
          <a:prstGeom prst="rect">
            <a:avLst/>
          </a:prstGeom>
          <a:solidFill>
            <a:srgbClr val="7030A0"/>
          </a:solidFill>
          <a:ln>
            <a:noFill/>
          </a:ln>
          <a:effectLst/>
        </p:spPr>
        <p:txBody>
          <a:bodyPr vert="horz" wrap="square" lIns="311757" tIns="59953" rIns="60912" bIns="59953" numCol="1" rtlCol="0" anchor="ctr" anchorCtr="0" compatLnSpc="1">
            <a:prstTxWarp prst="textNoShape">
              <a:avLst/>
            </a:prstTxWarp>
          </a:bodyPr>
          <a:lstStyle/>
          <a:p>
            <a:pPr defTabSz="609124" eaLnBrk="0" fontAlgn="base" hangingPunct="0">
              <a:spcBef>
                <a:spcPct val="0"/>
              </a:spcBef>
              <a:spcAft>
                <a:spcPct val="0"/>
              </a:spcAft>
              <a:buClr>
                <a:srgbClr val="000099"/>
              </a:buClr>
            </a:pPr>
            <a:endParaRPr lang="en-GB" sz="1599" dirty="0">
              <a:solidFill>
                <a:prstClr val="white"/>
              </a:solidFill>
            </a:endParaRPr>
          </a:p>
        </p:txBody>
      </p:sp>
      <p:grpSp>
        <p:nvGrpSpPr>
          <p:cNvPr id="6" name="Group 5"/>
          <p:cNvGrpSpPr/>
          <p:nvPr/>
        </p:nvGrpSpPr>
        <p:grpSpPr>
          <a:xfrm>
            <a:off x="-54509" y="1"/>
            <a:ext cx="4214805" cy="6932246"/>
            <a:chOff x="-2" y="-1"/>
            <a:chExt cx="5972177" cy="10287001"/>
          </a:xfrm>
        </p:grpSpPr>
        <p:pic>
          <p:nvPicPr>
            <p:cNvPr id="27" name="Pictur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8" y="0"/>
              <a:ext cx="5967798" cy="10287000"/>
            </a:xfrm>
            <a:prstGeom prst="rect">
              <a:avLst/>
            </a:prstGeom>
          </p:spPr>
        </p:pic>
        <p:sp>
          <p:nvSpPr>
            <p:cNvPr id="60" name="Rectangle 59"/>
            <p:cNvSpPr/>
            <p:nvPr/>
          </p:nvSpPr>
          <p:spPr>
            <a:xfrm rot="10800000">
              <a:off x="-2" y="-1"/>
              <a:ext cx="5972177" cy="10286999"/>
            </a:xfrm>
            <a:prstGeom prst="rect">
              <a:avLst/>
            </a:prstGeom>
            <a:gradFill>
              <a:gsLst>
                <a:gs pos="0">
                  <a:schemeClr val="accent1">
                    <a:lumMod val="5000"/>
                    <a:lumOff val="95000"/>
                    <a:alpha val="0"/>
                  </a:schemeClr>
                </a:gs>
                <a:gs pos="48000">
                  <a:schemeClr val="tx1">
                    <a:lumMod val="95000"/>
                    <a:lumOff val="5000"/>
                    <a:alpha val="19000"/>
                  </a:schemeClr>
                </a:gs>
                <a:gs pos="83000">
                  <a:schemeClr val="tx1">
                    <a:lumMod val="95000"/>
                    <a:lumOff val="5000"/>
                    <a:alpha val="66000"/>
                  </a:schemeClr>
                </a:gs>
                <a:gs pos="100000">
                  <a:schemeClr val="tx1">
                    <a:lumMod val="95000"/>
                    <a:lumOff val="5000"/>
                    <a:alpha val="7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27284" tIns="27284" rIns="27284" bIns="27284" rtlCol="0" anchor="ctr"/>
            <a:lstStyle/>
            <a:p>
              <a:pPr defTabSz="957178"/>
              <a:endParaRPr lang="en-GB" sz="750" dirty="0">
                <a:solidFill>
                  <a:prstClr val="white"/>
                </a:solidFill>
              </a:endParaRPr>
            </a:p>
          </p:txBody>
        </p:sp>
      </p:grpSp>
      <p:sp>
        <p:nvSpPr>
          <p:cNvPr id="7" name="Rectangle 6"/>
          <p:cNvSpPr/>
          <p:nvPr/>
        </p:nvSpPr>
        <p:spPr>
          <a:xfrm>
            <a:off x="4510261" y="82771"/>
            <a:ext cx="7075763" cy="646331"/>
          </a:xfrm>
          <a:prstGeom prst="rect">
            <a:avLst/>
          </a:prstGeom>
        </p:spPr>
        <p:txBody>
          <a:bodyPr wrap="square">
            <a:spAutoFit/>
          </a:bodyPr>
          <a:lstStyle/>
          <a:p>
            <a:pPr>
              <a:spcAft>
                <a:spcPts val="0"/>
              </a:spcAft>
            </a:pPr>
            <a:r>
              <a:rPr lang="en-US" dirty="0">
                <a:solidFill>
                  <a:schemeClr val="bg1"/>
                </a:solidFill>
              </a:rPr>
              <a:t>Being one of the </a:t>
            </a:r>
            <a:r>
              <a:rPr lang="en-US" dirty="0">
                <a:solidFill>
                  <a:srgbClr val="FFC000"/>
                </a:solidFill>
              </a:rPr>
              <a:t>largest player </a:t>
            </a:r>
            <a:r>
              <a:rPr lang="en-US" dirty="0">
                <a:solidFill>
                  <a:schemeClr val="bg1"/>
                </a:solidFill>
              </a:rPr>
              <a:t>in the ICT Industry, BSNL feels it has a </a:t>
            </a:r>
            <a:r>
              <a:rPr lang="en-US" dirty="0">
                <a:solidFill>
                  <a:srgbClr val="FFC000"/>
                </a:solidFill>
              </a:rPr>
              <a:t>greater role </a:t>
            </a:r>
            <a:r>
              <a:rPr lang="en-US" dirty="0">
                <a:solidFill>
                  <a:schemeClr val="bg1"/>
                </a:solidFill>
              </a:rPr>
              <a:t>to play than just being a Telecom Service Provider</a:t>
            </a:r>
            <a:endParaRPr lang="en-GB" sz="2400" dirty="0">
              <a:solidFill>
                <a:schemeClr val="bg1"/>
              </a:solidFill>
              <a:ea typeface="Calibri" panose="020F0502020204030204" pitchFamily="34" charset="0"/>
              <a:cs typeface="Times New Roman" panose="02020603050405020304" pitchFamily="18" charset="0"/>
            </a:endParaRPr>
          </a:p>
        </p:txBody>
      </p:sp>
      <p:grpSp>
        <p:nvGrpSpPr>
          <p:cNvPr id="22" name="Group 21"/>
          <p:cNvGrpSpPr/>
          <p:nvPr/>
        </p:nvGrpSpPr>
        <p:grpSpPr>
          <a:xfrm>
            <a:off x="4247673" y="1095978"/>
            <a:ext cx="3461393" cy="5136235"/>
            <a:chOff x="8005053" y="1477526"/>
            <a:chExt cx="3461393" cy="5136235"/>
          </a:xfrm>
        </p:grpSpPr>
        <p:grpSp>
          <p:nvGrpSpPr>
            <p:cNvPr id="23" name="Group 22"/>
            <p:cNvGrpSpPr/>
            <p:nvPr/>
          </p:nvGrpSpPr>
          <p:grpSpPr>
            <a:xfrm>
              <a:off x="8005053" y="1490645"/>
              <a:ext cx="3461393" cy="5123116"/>
              <a:chOff x="5370122" y="4926937"/>
              <a:chExt cx="2598599" cy="5123116"/>
            </a:xfrm>
          </p:grpSpPr>
          <p:grpSp>
            <p:nvGrpSpPr>
              <p:cNvPr id="26" name="Group 25"/>
              <p:cNvGrpSpPr/>
              <p:nvPr/>
            </p:nvGrpSpPr>
            <p:grpSpPr>
              <a:xfrm>
                <a:off x="5370122" y="5321808"/>
                <a:ext cx="2577374" cy="4728245"/>
                <a:chOff x="58246" y="2046951"/>
                <a:chExt cx="1540121" cy="4728245"/>
              </a:xfrm>
            </p:grpSpPr>
            <p:cxnSp>
              <p:nvCxnSpPr>
                <p:cNvPr id="29" name="Straight Connector 28"/>
                <p:cNvCxnSpPr/>
                <p:nvPr/>
              </p:nvCxnSpPr>
              <p:spPr>
                <a:xfrm>
                  <a:off x="58246" y="2046951"/>
                  <a:ext cx="1434523" cy="0"/>
                </a:xfrm>
                <a:prstGeom prst="line">
                  <a:avLst/>
                </a:prstGeom>
                <a:ln w="12700">
                  <a:solidFill>
                    <a:schemeClr val="tx1">
                      <a:lumMod val="50000"/>
                      <a:lumOff val="50000"/>
                    </a:schemeClr>
                  </a:solidFill>
                </a:ln>
              </p:spPr>
              <p:style>
                <a:lnRef idx="3">
                  <a:schemeClr val="dk1"/>
                </a:lnRef>
                <a:fillRef idx="0">
                  <a:schemeClr val="dk1"/>
                </a:fillRef>
                <a:effectRef idx="2">
                  <a:schemeClr val="dk1"/>
                </a:effectRef>
                <a:fontRef idx="minor">
                  <a:schemeClr val="tx1"/>
                </a:fontRef>
              </p:style>
            </p:cxnSp>
            <p:sp>
              <p:nvSpPr>
                <p:cNvPr id="30" name="TextBox 29"/>
                <p:cNvSpPr txBox="1"/>
                <p:nvPr/>
              </p:nvSpPr>
              <p:spPr>
                <a:xfrm>
                  <a:off x="124588" y="2250881"/>
                  <a:ext cx="1473779" cy="4524315"/>
                </a:xfrm>
                <a:prstGeom prst="rect">
                  <a:avLst/>
                </a:prstGeom>
                <a:noFill/>
              </p:spPr>
              <p:txBody>
                <a:bodyPr wrap="square" rtlCol="0">
                  <a:spAutoFit/>
                </a:bodyPr>
                <a:lstStyle/>
                <a:p>
                  <a:pPr lvl="0"/>
                  <a:r>
                    <a:rPr lang="en-US" sz="1600" b="1" dirty="0">
                      <a:latin typeface="Calibri" panose="020F0502020204030204" pitchFamily="34" charset="0"/>
                    </a:rPr>
                    <a:t>Identification of  opportunity </a:t>
                  </a:r>
                </a:p>
                <a:p>
                  <a:pPr marL="168275" lvl="0" indent="-168275">
                    <a:buFont typeface="Arial" panose="020B0604020202020204" pitchFamily="34" charset="0"/>
                    <a:buChar char="•"/>
                  </a:pPr>
                  <a:r>
                    <a:rPr lang="en-US" sz="1600" dirty="0">
                      <a:latin typeface="Calibri" panose="020F0502020204030204" pitchFamily="34" charset="0"/>
                    </a:rPr>
                    <a:t>Meetings with Smart City Officials</a:t>
                  </a:r>
                </a:p>
                <a:p>
                  <a:pPr marL="168275" lvl="0" indent="-168275">
                    <a:buFont typeface="Arial" panose="020B0604020202020204" pitchFamily="34" charset="0"/>
                    <a:buChar char="•"/>
                  </a:pPr>
                  <a:r>
                    <a:rPr lang="en-US" sz="1600" dirty="0">
                      <a:latin typeface="Calibri" panose="020F0502020204030204" pitchFamily="34" charset="0"/>
                    </a:rPr>
                    <a:t>Educating Smart City Officials on possible solutions</a:t>
                  </a:r>
                </a:p>
                <a:p>
                  <a:pPr marL="168275" lvl="0" indent="-168275">
                    <a:buFont typeface="Arial" panose="020B0604020202020204" pitchFamily="34" charset="0"/>
                    <a:buChar char="•"/>
                  </a:pPr>
                  <a:r>
                    <a:rPr lang="en-US" sz="1600" dirty="0">
                      <a:latin typeface="Calibri" panose="020F0502020204030204" pitchFamily="34" charset="0"/>
                    </a:rPr>
                    <a:t>Attend Smart City related workshops/meeting</a:t>
                  </a:r>
                </a:p>
                <a:p>
                  <a:pPr lvl="0"/>
                  <a:endParaRPr lang="en-US" sz="1600" dirty="0">
                    <a:latin typeface="Calibri" panose="020F0502020204030204" pitchFamily="34" charset="0"/>
                  </a:endParaRPr>
                </a:p>
                <a:p>
                  <a:pPr lvl="0"/>
                  <a:r>
                    <a:rPr lang="en-US" sz="1600" b="1" dirty="0">
                      <a:latin typeface="Calibri" panose="020F0502020204030204" pitchFamily="34" charset="0"/>
                    </a:rPr>
                    <a:t>Key Steps taken</a:t>
                  </a:r>
                </a:p>
                <a:p>
                  <a:pPr marL="285750" lvl="0" indent="-285750">
                    <a:buFont typeface="Arial" panose="020B0604020202020204" pitchFamily="34" charset="0"/>
                    <a:buChar char="•"/>
                  </a:pPr>
                  <a:r>
                    <a:rPr lang="en-US" sz="1600" dirty="0">
                      <a:latin typeface="Calibri" panose="020F0502020204030204" pitchFamily="34" charset="0"/>
                    </a:rPr>
                    <a:t>Created solution documents for various Smart Solutions</a:t>
                  </a:r>
                </a:p>
                <a:p>
                  <a:pPr marL="285750" lvl="0" indent="-285750">
                    <a:buFont typeface="Arial" panose="020B0604020202020204" pitchFamily="34" charset="0"/>
                    <a:buChar char="•"/>
                  </a:pPr>
                  <a:r>
                    <a:rPr lang="en-US" sz="1600" dirty="0">
                      <a:latin typeface="Calibri" panose="020F0502020204030204" pitchFamily="34" charset="0"/>
                    </a:rPr>
                    <a:t>Created customized solution for each smart city</a:t>
                  </a:r>
                </a:p>
                <a:p>
                  <a:pPr marL="285750" lvl="0" indent="-285750">
                    <a:buFont typeface="Arial" panose="020B0604020202020204" pitchFamily="34" charset="0"/>
                    <a:buChar char="•"/>
                  </a:pPr>
                  <a:r>
                    <a:rPr lang="en-US" sz="1600" dirty="0">
                      <a:latin typeface="Calibri" panose="020F0502020204030204" pitchFamily="34" charset="0"/>
                    </a:rPr>
                    <a:t>Created Demonstration/</a:t>
                  </a:r>
                  <a:r>
                    <a:rPr lang="en-US" sz="1600" dirty="0" err="1">
                      <a:latin typeface="Calibri" panose="020F0502020204030204" pitchFamily="34" charset="0"/>
                    </a:rPr>
                    <a:t>PoC</a:t>
                  </a:r>
                  <a:r>
                    <a:rPr lang="en-US" sz="1600" dirty="0">
                      <a:latin typeface="Calibri" panose="020F0502020204030204" pitchFamily="34" charset="0"/>
                    </a:rPr>
                    <a:t>  for various solutions</a:t>
                  </a:r>
                </a:p>
                <a:p>
                  <a:pPr marL="285750" lvl="0" indent="-285750">
                    <a:buFont typeface="Arial" panose="020B0604020202020204" pitchFamily="34" charset="0"/>
                    <a:buChar char="•"/>
                  </a:pPr>
                  <a:r>
                    <a:rPr lang="en-US" sz="1600" dirty="0">
                      <a:latin typeface="Calibri" panose="020F0502020204030204" pitchFamily="34" charset="0"/>
                    </a:rPr>
                    <a:t>Actively pursuing in Nomination based projects in Smart Cities</a:t>
                  </a:r>
                </a:p>
                <a:p>
                  <a:pPr marL="285750" lvl="0" indent="-285750">
                    <a:buFont typeface="Arial" panose="020B0604020202020204" pitchFamily="34" charset="0"/>
                    <a:buChar char="•"/>
                  </a:pPr>
                  <a:endParaRPr lang="en-US" sz="1600" dirty="0">
                    <a:latin typeface="Calibri" panose="020F0502020204030204" pitchFamily="34" charset="0"/>
                  </a:endParaRPr>
                </a:p>
                <a:p>
                  <a:pPr lvl="0"/>
                  <a:endParaRPr lang="en-US" sz="1600" dirty="0">
                    <a:latin typeface="Calibri" panose="020F0502020204030204" pitchFamily="34" charset="0"/>
                  </a:endParaRPr>
                </a:p>
              </p:txBody>
            </p:sp>
          </p:grpSp>
          <p:sp>
            <p:nvSpPr>
              <p:cNvPr id="28" name="TextBox 27"/>
              <p:cNvSpPr txBox="1"/>
              <p:nvPr/>
            </p:nvSpPr>
            <p:spPr>
              <a:xfrm>
                <a:off x="5370122" y="4926937"/>
                <a:ext cx="2598599" cy="338554"/>
              </a:xfrm>
              <a:prstGeom prst="rect">
                <a:avLst/>
              </a:prstGeom>
              <a:noFill/>
              <a:ln>
                <a:noFill/>
              </a:ln>
            </p:spPr>
            <p:txBody>
              <a:bodyPr wrap="square" rtlCol="0">
                <a:spAutoFit/>
              </a:bodyPr>
              <a:lstStyle/>
              <a:p>
                <a:pPr>
                  <a:defRPr/>
                </a:pPr>
                <a:r>
                  <a:rPr lang="en-US" sz="1600" b="1" kern="0" dirty="0">
                    <a:latin typeface="Calibri" panose="020F0502020204030204" pitchFamily="34" charset="0"/>
                    <a:cs typeface="Calibri" panose="020F0502020204030204" pitchFamily="34" charset="0"/>
                  </a:rPr>
                  <a:t>Winning through Nomination</a:t>
                </a:r>
                <a:endParaRPr lang="en-US" sz="2000" b="1" kern="0" dirty="0">
                  <a:latin typeface="Calibri" panose="020F0502020204030204" pitchFamily="34" charset="0"/>
                  <a:cs typeface="Calibri" panose="020F0502020204030204" pitchFamily="34" charset="0"/>
                </a:endParaRPr>
              </a:p>
            </p:txBody>
          </p:sp>
        </p:grpSp>
        <p:sp>
          <p:nvSpPr>
            <p:cNvPr id="24" name="Rectangle 23"/>
            <p:cNvSpPr/>
            <p:nvPr/>
          </p:nvSpPr>
          <p:spPr>
            <a:xfrm>
              <a:off x="8056461" y="1481095"/>
              <a:ext cx="2953329" cy="36933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err="1">
                <a:solidFill>
                  <a:schemeClr val="bg1"/>
                </a:solidFill>
              </a:endParaRPr>
            </a:p>
          </p:txBody>
        </p:sp>
        <p:sp>
          <p:nvSpPr>
            <p:cNvPr id="25" name="Rectangle 24"/>
            <p:cNvSpPr/>
            <p:nvPr/>
          </p:nvSpPr>
          <p:spPr>
            <a:xfrm>
              <a:off x="11068879" y="1477526"/>
              <a:ext cx="307759" cy="376469"/>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2400" b="1" dirty="0">
                  <a:solidFill>
                    <a:schemeClr val="bg1"/>
                  </a:solidFill>
                  <a:latin typeface="Calibri" panose="020F0502020204030204" pitchFamily="34" charset="0"/>
                  <a:cs typeface="Calibri" panose="020F0502020204030204" pitchFamily="34" charset="0"/>
                </a:rPr>
                <a:t>1</a:t>
              </a:r>
              <a:endParaRPr lang="en-US" sz="1600" b="1" dirty="0">
                <a:solidFill>
                  <a:schemeClr val="bg1"/>
                </a:solidFill>
                <a:latin typeface="Calibri" panose="020F0502020204030204" pitchFamily="34" charset="0"/>
                <a:cs typeface="Calibri" panose="020F0502020204030204" pitchFamily="34" charset="0"/>
              </a:endParaRPr>
            </a:p>
          </p:txBody>
        </p:sp>
      </p:grpSp>
      <p:grpSp>
        <p:nvGrpSpPr>
          <p:cNvPr id="31" name="Group 30"/>
          <p:cNvGrpSpPr/>
          <p:nvPr/>
        </p:nvGrpSpPr>
        <p:grpSpPr>
          <a:xfrm>
            <a:off x="8302058" y="1039064"/>
            <a:ext cx="3283966" cy="5452993"/>
            <a:chOff x="997336" y="1105145"/>
            <a:chExt cx="3343236" cy="5452993"/>
          </a:xfrm>
        </p:grpSpPr>
        <p:grpSp>
          <p:nvGrpSpPr>
            <p:cNvPr id="32" name="Group 31"/>
            <p:cNvGrpSpPr/>
            <p:nvPr/>
          </p:nvGrpSpPr>
          <p:grpSpPr>
            <a:xfrm>
              <a:off x="997336" y="1105145"/>
              <a:ext cx="3320730" cy="5452993"/>
              <a:chOff x="5370121" y="4924934"/>
              <a:chExt cx="2653970" cy="5452993"/>
            </a:xfrm>
          </p:grpSpPr>
          <p:grpSp>
            <p:nvGrpSpPr>
              <p:cNvPr id="39" name="Group 38"/>
              <p:cNvGrpSpPr/>
              <p:nvPr/>
            </p:nvGrpSpPr>
            <p:grpSpPr>
              <a:xfrm>
                <a:off x="5370122" y="5321808"/>
                <a:ext cx="2653969" cy="5056119"/>
                <a:chOff x="58246" y="2046951"/>
                <a:chExt cx="1585890" cy="5056119"/>
              </a:xfrm>
            </p:grpSpPr>
            <p:cxnSp>
              <p:nvCxnSpPr>
                <p:cNvPr id="41" name="Straight Connector 40"/>
                <p:cNvCxnSpPr/>
                <p:nvPr/>
              </p:nvCxnSpPr>
              <p:spPr>
                <a:xfrm>
                  <a:off x="58246" y="2046951"/>
                  <a:ext cx="1434523" cy="0"/>
                </a:xfrm>
                <a:prstGeom prst="line">
                  <a:avLst/>
                </a:prstGeom>
                <a:ln w="12700">
                  <a:solidFill>
                    <a:schemeClr val="tx1">
                      <a:lumMod val="50000"/>
                      <a:lumOff val="50000"/>
                    </a:schemeClr>
                  </a:solidFill>
                </a:ln>
              </p:spPr>
              <p:style>
                <a:lnRef idx="3">
                  <a:schemeClr val="dk1"/>
                </a:lnRef>
                <a:fillRef idx="0">
                  <a:schemeClr val="dk1"/>
                </a:fillRef>
                <a:effectRef idx="2">
                  <a:schemeClr val="dk1"/>
                </a:effectRef>
                <a:fontRef idx="minor">
                  <a:schemeClr val="tx1"/>
                </a:fontRef>
              </p:style>
            </p:cxnSp>
            <p:sp>
              <p:nvSpPr>
                <p:cNvPr id="42" name="TextBox 41"/>
                <p:cNvSpPr txBox="1"/>
                <p:nvPr/>
              </p:nvSpPr>
              <p:spPr>
                <a:xfrm>
                  <a:off x="67800" y="2332533"/>
                  <a:ext cx="1576336" cy="4770537"/>
                </a:xfrm>
                <a:prstGeom prst="rect">
                  <a:avLst/>
                </a:prstGeom>
                <a:noFill/>
              </p:spPr>
              <p:txBody>
                <a:bodyPr wrap="square" rtlCol="0">
                  <a:spAutoFit/>
                </a:bodyPr>
                <a:lstStyle/>
                <a:p>
                  <a:pPr lvl="0"/>
                  <a:r>
                    <a:rPr lang="en-US" sz="1600" b="1" dirty="0">
                      <a:latin typeface="Calibri" panose="020F0502020204030204" pitchFamily="34" charset="0"/>
                    </a:rPr>
                    <a:t>Identification of  RFP through</a:t>
                  </a:r>
                </a:p>
                <a:p>
                  <a:pPr marL="168275" lvl="0" indent="-168275">
                    <a:buFont typeface="Arial" panose="020B0604020202020204" pitchFamily="34" charset="0"/>
                    <a:buChar char="•"/>
                  </a:pPr>
                  <a:r>
                    <a:rPr lang="en-US" sz="1600" dirty="0">
                      <a:latin typeface="Calibri" panose="020F0502020204030204" pitchFamily="34" charset="0"/>
                    </a:rPr>
                    <a:t>State E-Procurement Portals</a:t>
                  </a:r>
                </a:p>
                <a:p>
                  <a:pPr marL="168275" lvl="0" indent="-168275">
                    <a:buFont typeface="Arial" panose="020B0604020202020204" pitchFamily="34" charset="0"/>
                    <a:buChar char="•"/>
                  </a:pPr>
                  <a:r>
                    <a:rPr lang="en-US" sz="1600" dirty="0">
                      <a:latin typeface="Calibri" panose="020F0502020204030204" pitchFamily="34" charset="0"/>
                    </a:rPr>
                    <a:t>Smart city Web Sites</a:t>
                  </a:r>
                </a:p>
                <a:p>
                  <a:pPr marL="168275" lvl="0" indent="-168275">
                    <a:buFont typeface="Arial" panose="020B0604020202020204" pitchFamily="34" charset="0"/>
                    <a:buChar char="•"/>
                  </a:pPr>
                  <a:r>
                    <a:rPr lang="en-US" sz="1600" dirty="0">
                      <a:latin typeface="Calibri" panose="020F0502020204030204" pitchFamily="34" charset="0"/>
                    </a:rPr>
                    <a:t>Open Source </a:t>
                  </a:r>
                </a:p>
                <a:p>
                  <a:pPr lvl="0"/>
                  <a:endParaRPr lang="en-US" sz="1600" dirty="0">
                    <a:latin typeface="Calibri" panose="020F0502020204030204" pitchFamily="34" charset="0"/>
                  </a:endParaRPr>
                </a:p>
                <a:p>
                  <a:pPr lvl="0"/>
                  <a:r>
                    <a:rPr lang="en-US" sz="1600" b="1" dirty="0">
                      <a:latin typeface="Calibri" panose="020F0502020204030204" pitchFamily="34" charset="0"/>
                    </a:rPr>
                    <a:t>Options for Bidding</a:t>
                  </a:r>
                </a:p>
                <a:p>
                  <a:pPr marL="168275" lvl="0" indent="-168275">
                    <a:buFont typeface="Arial" panose="020B0604020202020204" pitchFamily="34" charset="0"/>
                    <a:buChar char="•"/>
                  </a:pPr>
                  <a:r>
                    <a:rPr lang="en-US" sz="1600" dirty="0">
                      <a:latin typeface="Calibri" panose="020F0502020204030204" pitchFamily="34" charset="0"/>
                    </a:rPr>
                    <a:t>As a </a:t>
                  </a:r>
                  <a:r>
                    <a:rPr lang="en-US" sz="1600" b="1" dirty="0">
                      <a:latin typeface="Calibri" panose="020F0502020204030204" pitchFamily="34" charset="0"/>
                    </a:rPr>
                    <a:t>lead Bidder </a:t>
                  </a:r>
                  <a:r>
                    <a:rPr lang="en-US" sz="1600" dirty="0">
                      <a:latin typeface="Calibri" panose="020F0502020204030204" pitchFamily="34" charset="0"/>
                    </a:rPr>
                    <a:t>(Goa, </a:t>
                  </a:r>
                  <a:r>
                    <a:rPr lang="en-US" sz="1600" dirty="0" err="1">
                      <a:latin typeface="Calibri" panose="020F0502020204030204" pitchFamily="34" charset="0"/>
                    </a:rPr>
                    <a:t>Agartala</a:t>
                  </a:r>
                  <a:r>
                    <a:rPr lang="en-US" sz="1600" dirty="0">
                      <a:latin typeface="Calibri" panose="020F0502020204030204" pitchFamily="34" charset="0"/>
                    </a:rPr>
                    <a:t> bid)</a:t>
                  </a:r>
                </a:p>
                <a:p>
                  <a:pPr marL="168275" lvl="0" indent="-168275">
                    <a:buFont typeface="Arial" panose="020B0604020202020204" pitchFamily="34" charset="0"/>
                    <a:buChar char="•"/>
                  </a:pPr>
                  <a:r>
                    <a:rPr lang="en-US" sz="1600" b="1" dirty="0">
                      <a:latin typeface="Calibri" panose="020F0502020204030204" pitchFamily="34" charset="0"/>
                    </a:rPr>
                    <a:t>Consortium Member </a:t>
                  </a:r>
                  <a:r>
                    <a:rPr lang="en-US" sz="1600" dirty="0">
                      <a:latin typeface="Calibri" panose="020F0502020204030204" pitchFamily="34" charset="0"/>
                    </a:rPr>
                    <a:t>(Kanpur, Allahabad, Nasik, Mangalore Bid)</a:t>
                  </a:r>
                </a:p>
                <a:p>
                  <a:pPr marL="168275" lvl="0" indent="-168275">
                    <a:buFont typeface="Arial" panose="020B0604020202020204" pitchFamily="34" charset="0"/>
                    <a:buChar char="•"/>
                  </a:pPr>
                  <a:r>
                    <a:rPr lang="en-US" sz="1600" b="1" dirty="0">
                      <a:latin typeface="Calibri" panose="020F0502020204030204" pitchFamily="34" charset="0"/>
                    </a:rPr>
                    <a:t>Telecom Service Provider </a:t>
                  </a:r>
                  <a:r>
                    <a:rPr lang="en-US" sz="1600" dirty="0">
                      <a:latin typeface="Calibri" panose="020F0502020204030204" pitchFamily="34" charset="0"/>
                    </a:rPr>
                    <a:t>(TUFIDCO, </a:t>
                  </a:r>
                  <a:r>
                    <a:rPr lang="en-US" sz="1600" dirty="0" err="1">
                      <a:latin typeface="Calibri" panose="020F0502020204030204" pitchFamily="34" charset="0"/>
                    </a:rPr>
                    <a:t>Belgavi</a:t>
                  </a:r>
                  <a:r>
                    <a:rPr lang="en-US" sz="1600" dirty="0">
                      <a:latin typeface="Calibri" panose="020F0502020204030204" pitchFamily="34" charset="0"/>
                    </a:rPr>
                    <a:t> Bid)</a:t>
                  </a:r>
                </a:p>
                <a:p>
                  <a:pPr marL="168275" lvl="0" indent="-168275">
                    <a:buFont typeface="Arial" panose="020B0604020202020204" pitchFamily="34" charset="0"/>
                    <a:buChar char="•"/>
                  </a:pPr>
                  <a:endParaRPr lang="en-US" sz="1600" dirty="0">
                    <a:latin typeface="Calibri" panose="020F0502020204030204" pitchFamily="34" charset="0"/>
                  </a:endParaRPr>
                </a:p>
                <a:p>
                  <a:pPr lvl="0"/>
                  <a:r>
                    <a:rPr lang="en-US" sz="1600" b="1" dirty="0">
                      <a:latin typeface="Calibri" panose="020F0502020204030204" pitchFamily="34" charset="0"/>
                    </a:rPr>
                    <a:t>Key Steps Taken</a:t>
                  </a:r>
                </a:p>
                <a:p>
                  <a:pPr marL="285750" lvl="0" indent="-285750">
                    <a:buFont typeface="Arial" panose="020B0604020202020204" pitchFamily="34" charset="0"/>
                    <a:buChar char="•"/>
                  </a:pPr>
                  <a:r>
                    <a:rPr lang="en-US" sz="1600" dirty="0">
                      <a:latin typeface="Calibri" panose="020F0502020204030204" pitchFamily="34" charset="0"/>
                    </a:rPr>
                    <a:t>Partnered with Leading System Integrators &amp; OEM</a:t>
                  </a:r>
                </a:p>
                <a:p>
                  <a:pPr marL="285750" lvl="0" indent="-285750">
                    <a:buFont typeface="Arial" panose="020B0604020202020204" pitchFamily="34" charset="0"/>
                    <a:buChar char="•"/>
                  </a:pPr>
                  <a:r>
                    <a:rPr lang="en-US" sz="1600" dirty="0">
                      <a:latin typeface="Calibri" panose="020F0502020204030204" pitchFamily="34" charset="0"/>
                    </a:rPr>
                    <a:t>Participated in 4 Smart City opportunities and 8 are under process</a:t>
                  </a:r>
                </a:p>
              </p:txBody>
            </p:sp>
          </p:grpSp>
          <p:sp>
            <p:nvSpPr>
              <p:cNvPr id="40" name="TextBox 39"/>
              <p:cNvSpPr txBox="1"/>
              <p:nvPr/>
            </p:nvSpPr>
            <p:spPr>
              <a:xfrm>
                <a:off x="5370121" y="4924934"/>
                <a:ext cx="2440537" cy="338554"/>
              </a:xfrm>
              <a:prstGeom prst="rect">
                <a:avLst/>
              </a:prstGeom>
              <a:noFill/>
            </p:spPr>
            <p:txBody>
              <a:bodyPr wrap="square" rtlCol="0">
                <a:spAutoFit/>
              </a:bodyPr>
              <a:lstStyle/>
              <a:p>
                <a:pPr>
                  <a:defRPr/>
                </a:pPr>
                <a:r>
                  <a:rPr lang="en-US" sz="1600" b="1" kern="0" dirty="0">
                    <a:latin typeface="Calibri" panose="020F0502020204030204" pitchFamily="34" charset="0"/>
                    <a:cs typeface="Calibri" panose="020F0502020204030204" pitchFamily="34" charset="0"/>
                  </a:rPr>
                  <a:t>Winning Tender through RFP</a:t>
                </a:r>
                <a:endParaRPr lang="en-US" sz="2000" b="1" kern="0" dirty="0">
                  <a:latin typeface="Calibri" panose="020F0502020204030204" pitchFamily="34" charset="0"/>
                  <a:cs typeface="Calibri" panose="020F0502020204030204" pitchFamily="34" charset="0"/>
                </a:endParaRPr>
              </a:p>
            </p:txBody>
          </p:sp>
        </p:grpSp>
        <p:sp>
          <p:nvSpPr>
            <p:cNvPr id="37" name="Rectangle 36"/>
            <p:cNvSpPr/>
            <p:nvPr/>
          </p:nvSpPr>
          <p:spPr>
            <a:xfrm>
              <a:off x="1017342" y="1105145"/>
              <a:ext cx="2983773" cy="36933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400" dirty="0" err="1">
                <a:solidFill>
                  <a:schemeClr val="bg1"/>
                </a:solidFill>
              </a:endParaRPr>
            </a:p>
          </p:txBody>
        </p:sp>
        <p:sp>
          <p:nvSpPr>
            <p:cNvPr id="38" name="Rectangle 37"/>
            <p:cNvSpPr/>
            <p:nvPr/>
          </p:nvSpPr>
          <p:spPr>
            <a:xfrm>
              <a:off x="4051012" y="1105145"/>
              <a:ext cx="289560" cy="36933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r>
                <a:rPr lang="en-US" sz="2400" b="1" dirty="0">
                  <a:solidFill>
                    <a:schemeClr val="bg1"/>
                  </a:solidFill>
                  <a:latin typeface="Calibri" panose="020F0502020204030204" pitchFamily="34" charset="0"/>
                  <a:cs typeface="Calibri" panose="020F0502020204030204" pitchFamily="34" charset="0"/>
                </a:rPr>
                <a:t>2</a:t>
              </a:r>
              <a:endParaRPr lang="en-US" sz="1400" b="1" dirty="0">
                <a:solidFill>
                  <a:schemeClr val="bg1"/>
                </a:solidFill>
                <a:latin typeface="Calibri" panose="020F0502020204030204" pitchFamily="34" charset="0"/>
                <a:cs typeface="Calibri" panose="020F0502020204030204" pitchFamily="34" charset="0"/>
              </a:endParaRPr>
            </a:p>
          </p:txBody>
        </p:sp>
      </p:grpSp>
      <p:sp>
        <p:nvSpPr>
          <p:cNvPr id="43" name="Rectangle 42"/>
          <p:cNvSpPr/>
          <p:nvPr/>
        </p:nvSpPr>
        <p:spPr>
          <a:xfrm>
            <a:off x="509090" y="973758"/>
            <a:ext cx="2975258" cy="2577629"/>
          </a:xfrm>
          <a:prstGeom prst="rect">
            <a:avLst/>
          </a:prstGeom>
        </p:spPr>
        <p:txBody>
          <a:bodyPr wrap="square" lIns="0" tIns="0" rIns="0" bIns="0">
            <a:spAutoFit/>
          </a:bodyPr>
          <a:lstStyle/>
          <a:p>
            <a:pPr defTabSz="957657">
              <a:lnSpc>
                <a:spcPts val="6665"/>
              </a:lnSpc>
              <a:spcBef>
                <a:spcPct val="50000"/>
              </a:spcBef>
            </a:pPr>
            <a:r>
              <a:rPr lang="en-US" altLang="en-US" sz="6398" dirty="0">
                <a:solidFill>
                  <a:prstClr val="white"/>
                </a:solidFill>
                <a:latin typeface="KPMG Extralight"/>
              </a:rPr>
              <a:t>Smart City Business Model</a:t>
            </a:r>
          </a:p>
        </p:txBody>
      </p:sp>
    </p:spTree>
    <p:extLst>
      <p:ext uri="{BB962C8B-B14F-4D97-AF65-F5344CB8AC3E}">
        <p14:creationId xmlns:p14="http://schemas.microsoft.com/office/powerpoint/2010/main" val="245012145"/>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250" fill="hold"/>
                                        <p:tgtEl>
                                          <p:spTgt spid="6"/>
                                        </p:tgtEl>
                                        <p:attrNameLst>
                                          <p:attrName>ppt_x</p:attrName>
                                        </p:attrNameLst>
                                      </p:cBhvr>
                                      <p:tavLst>
                                        <p:tav tm="0">
                                          <p:val>
                                            <p:strVal val="0-#ppt_w/2"/>
                                          </p:val>
                                        </p:tav>
                                        <p:tav tm="100000">
                                          <p:val>
                                            <p:strVal val="#ppt_x"/>
                                          </p:val>
                                        </p:tav>
                                      </p:tavLst>
                                    </p:anim>
                                    <p:anim calcmode="lin" valueType="num">
                                      <p:cBhvr additive="base">
                                        <p:cTn id="8" dur="250" fill="hold"/>
                                        <p:tgtEl>
                                          <p:spTgt spid="6"/>
                                        </p:tgtEl>
                                        <p:attrNameLst>
                                          <p:attrName>ppt_y</p:attrName>
                                        </p:attrNameLst>
                                      </p:cBhvr>
                                      <p:tavLst>
                                        <p:tav tm="0">
                                          <p:val>
                                            <p:strVal val="#ppt_y"/>
                                          </p:val>
                                        </p:tav>
                                        <p:tav tm="100000">
                                          <p:val>
                                            <p:strVal val="#ppt_y"/>
                                          </p:val>
                                        </p:tav>
                                      </p:tavLst>
                                    </p:anim>
                                  </p:childTnLst>
                                </p:cTn>
                              </p:par>
                            </p:childTnLst>
                          </p:cTn>
                        </p:par>
                        <p:par>
                          <p:cTn id="9" fill="hold">
                            <p:stCondLst>
                              <p:cond delay="250"/>
                            </p:stCondLst>
                            <p:childTnLst>
                              <p:par>
                                <p:cTn id="10" presetID="10" presetClass="entr" presetSubtype="0" fill="hold" grpId="0" nodeType="afterEffect">
                                  <p:stCondLst>
                                    <p:cond delay="0"/>
                                  </p:stCondLst>
                                  <p:childTnLst>
                                    <p:set>
                                      <p:cBhvr>
                                        <p:cTn id="11" dur="1" fill="hold">
                                          <p:stCondLst>
                                            <p:cond delay="0"/>
                                          </p:stCondLst>
                                        </p:cTn>
                                        <p:tgtEl>
                                          <p:spTgt spid="43"/>
                                        </p:tgtEl>
                                        <p:attrNameLst>
                                          <p:attrName>style.visibility</p:attrName>
                                        </p:attrNameLst>
                                      </p:cBhvr>
                                      <p:to>
                                        <p:strVal val="visible"/>
                                      </p:to>
                                    </p:set>
                                    <p:animEffect transition="in" filter="fade">
                                      <p:cBhvr>
                                        <p:cTn id="12" dur="25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200" y="107549"/>
            <a:ext cx="10524564" cy="734804"/>
          </a:xfrm>
        </p:spPr>
        <p:txBody>
          <a:bodyPr/>
          <a:lstStyle/>
          <a:p>
            <a:r>
              <a:rPr lang="en-US" sz="3600" b="1" dirty="0"/>
              <a:t>BSNL has </a:t>
            </a:r>
            <a:r>
              <a:rPr lang="en-US" sz="3600" b="1" dirty="0">
                <a:solidFill>
                  <a:srgbClr val="FFC000"/>
                </a:solidFill>
              </a:rPr>
              <a:t>won Smart Solution projects </a:t>
            </a:r>
            <a:r>
              <a:rPr lang="en-US" sz="3600" b="1" dirty="0"/>
              <a:t>worth more than </a:t>
            </a:r>
            <a:r>
              <a:rPr lang="en-US" sz="3600" b="1" dirty="0">
                <a:solidFill>
                  <a:srgbClr val="FFC000"/>
                </a:solidFill>
              </a:rPr>
              <a:t>INR 220+ Crores</a:t>
            </a:r>
          </a:p>
        </p:txBody>
      </p:sp>
      <p:graphicFrame>
        <p:nvGraphicFramePr>
          <p:cNvPr id="22" name="Table 21"/>
          <p:cNvGraphicFramePr>
            <a:graphicFrameLocks noGrp="1"/>
          </p:cNvGraphicFramePr>
          <p:nvPr>
            <p:extLst>
              <p:ext uri="{D42A27DB-BD31-4B8C-83A1-F6EECF244321}">
                <p14:modId xmlns:p14="http://schemas.microsoft.com/office/powerpoint/2010/main" val="1715045164"/>
              </p:ext>
            </p:extLst>
          </p:nvPr>
        </p:nvGraphicFramePr>
        <p:xfrm>
          <a:off x="838200" y="739322"/>
          <a:ext cx="10553701" cy="5683144"/>
        </p:xfrm>
        <a:graphic>
          <a:graphicData uri="http://schemas.openxmlformats.org/drawingml/2006/table">
            <a:tbl>
              <a:tblPr>
                <a:tableStyleId>{5C22544A-7EE6-4342-B048-85BDC9FD1C3A}</a:tableStyleId>
              </a:tblPr>
              <a:tblGrid>
                <a:gridCol w="1376966">
                  <a:extLst>
                    <a:ext uri="{9D8B030D-6E8A-4147-A177-3AD203B41FA5}">
                      <a16:colId xmlns:a16="http://schemas.microsoft.com/office/drawing/2014/main" xmlns="" val="20000"/>
                    </a:ext>
                  </a:extLst>
                </a:gridCol>
                <a:gridCol w="7559899">
                  <a:extLst>
                    <a:ext uri="{9D8B030D-6E8A-4147-A177-3AD203B41FA5}">
                      <a16:colId xmlns:a16="http://schemas.microsoft.com/office/drawing/2014/main" xmlns="" val="20001"/>
                    </a:ext>
                  </a:extLst>
                </a:gridCol>
                <a:gridCol w="1616836">
                  <a:extLst>
                    <a:ext uri="{9D8B030D-6E8A-4147-A177-3AD203B41FA5}">
                      <a16:colId xmlns:a16="http://schemas.microsoft.com/office/drawing/2014/main" xmlns="" val="20002"/>
                    </a:ext>
                  </a:extLst>
                </a:gridCol>
              </a:tblGrid>
              <a:tr h="372397">
                <a:tc>
                  <a:txBody>
                    <a:bodyPr/>
                    <a:lstStyle/>
                    <a:p>
                      <a:pPr marL="0" marR="0" algn="ctr">
                        <a:lnSpc>
                          <a:spcPct val="115000"/>
                        </a:lnSpc>
                        <a:spcBef>
                          <a:spcPts val="0"/>
                        </a:spcBef>
                        <a:spcAft>
                          <a:spcPts val="0"/>
                        </a:spcAft>
                      </a:pPr>
                      <a:r>
                        <a:rPr lang="en-IN" sz="1400" b="1" dirty="0">
                          <a:solidFill>
                            <a:schemeClr val="bg1"/>
                          </a:solidFill>
                          <a:effectLst/>
                          <a:latin typeface="Calibri" panose="020F0502020204030204" pitchFamily="34" charset="0"/>
                          <a:cs typeface="Calibri" panose="020F0502020204030204" pitchFamily="34" charset="0"/>
                        </a:rPr>
                        <a:t>Smart City</a:t>
                      </a:r>
                      <a:endParaRPr lang="en-US" sz="14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5352" marR="65352" marT="0" marB="0" anchor="ctr">
                    <a:lnB w="12700" cap="flat" cmpd="sng" algn="ctr">
                      <a:solidFill>
                        <a:schemeClr val="tx1"/>
                      </a:solidFill>
                      <a:prstDash val="solid"/>
                      <a:round/>
                      <a:headEnd type="none" w="med" len="med"/>
                      <a:tailEnd type="none" w="med" len="med"/>
                    </a:lnB>
                    <a:solidFill>
                      <a:srgbClr val="7030A0"/>
                    </a:solidFill>
                  </a:tcPr>
                </a:tc>
                <a:tc>
                  <a:txBody>
                    <a:bodyPr/>
                    <a:lstStyle/>
                    <a:p>
                      <a:pPr marL="0" marR="0" algn="ctr">
                        <a:lnSpc>
                          <a:spcPct val="115000"/>
                        </a:lnSpc>
                        <a:spcBef>
                          <a:spcPts val="0"/>
                        </a:spcBef>
                        <a:spcAft>
                          <a:spcPts val="0"/>
                        </a:spcAft>
                      </a:pPr>
                      <a:r>
                        <a:rPr lang="en-IN" sz="1400" b="1" dirty="0">
                          <a:solidFill>
                            <a:schemeClr val="bg1"/>
                          </a:solidFill>
                          <a:effectLst/>
                          <a:latin typeface="Calibri" panose="020F0502020204030204" pitchFamily="34" charset="0"/>
                          <a:ea typeface="+mn-ea"/>
                          <a:cs typeface="Calibri" panose="020F0502020204030204" pitchFamily="34" charset="0"/>
                        </a:rPr>
                        <a:t>Smart</a:t>
                      </a:r>
                      <a:r>
                        <a:rPr lang="en-IN" sz="1400" b="1" baseline="0" dirty="0">
                          <a:solidFill>
                            <a:schemeClr val="bg1"/>
                          </a:solidFill>
                          <a:effectLst/>
                          <a:latin typeface="Calibri" panose="020F0502020204030204" pitchFamily="34" charset="0"/>
                          <a:ea typeface="+mn-ea"/>
                          <a:cs typeface="Calibri" panose="020F0502020204030204" pitchFamily="34" charset="0"/>
                        </a:rPr>
                        <a:t> Solution Component</a:t>
                      </a:r>
                      <a:endParaRPr lang="en-US" sz="14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5352" marR="65352" marT="0" marB="0" anchor="ctr">
                    <a:lnB w="12700" cap="flat" cmpd="sng" algn="ctr">
                      <a:solidFill>
                        <a:schemeClr val="tx1"/>
                      </a:solidFill>
                      <a:prstDash val="solid"/>
                      <a:round/>
                      <a:headEnd type="none" w="med" len="med"/>
                      <a:tailEnd type="none" w="med" len="med"/>
                    </a:lnB>
                    <a:solidFill>
                      <a:srgbClr val="7030A0"/>
                    </a:solidFill>
                  </a:tcPr>
                </a:tc>
                <a:tc>
                  <a:txBody>
                    <a:bodyPr/>
                    <a:lstStyle/>
                    <a:p>
                      <a:pPr marL="0" marR="0" algn="ctr">
                        <a:lnSpc>
                          <a:spcPct val="115000"/>
                        </a:lnSpc>
                        <a:spcBef>
                          <a:spcPts val="0"/>
                        </a:spcBef>
                        <a:spcAft>
                          <a:spcPts val="0"/>
                        </a:spcAft>
                      </a:pPr>
                      <a:r>
                        <a:rPr lang="en-IN" sz="1400" b="1" dirty="0">
                          <a:solidFill>
                            <a:schemeClr val="bg1"/>
                          </a:solidFill>
                          <a:effectLst/>
                          <a:latin typeface="Calibri" panose="020F0502020204030204" pitchFamily="34" charset="0"/>
                          <a:cs typeface="Calibri" panose="020F0502020204030204" pitchFamily="34" charset="0"/>
                        </a:rPr>
                        <a:t>Project Value</a:t>
                      </a:r>
                      <a:endParaRPr lang="en-US" sz="1400" b="1" dirty="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5352" marR="65352" marT="0" marB="0" anchor="ctr">
                    <a:lnB w="12700" cap="flat" cmpd="sng" algn="ctr">
                      <a:solidFill>
                        <a:schemeClr val="tx1"/>
                      </a:solidFill>
                      <a:prstDash val="solid"/>
                      <a:round/>
                      <a:headEnd type="none" w="med" len="med"/>
                      <a:tailEnd type="none" w="med" len="med"/>
                    </a:lnB>
                    <a:solidFill>
                      <a:srgbClr val="7030A0"/>
                    </a:solidFill>
                  </a:tcPr>
                </a:tc>
                <a:extLst>
                  <a:ext uri="{0D108BD9-81ED-4DB2-BD59-A6C34878D82A}">
                    <a16:rowId xmlns:a16="http://schemas.microsoft.com/office/drawing/2014/main" xmlns="" val="10000"/>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Pune</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City Surveillance-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74 Crore</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1"/>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Ahmedabad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Network Backbone for Smart City-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62.23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Kanpu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Intelligent Traffic Management System with Video Analytics on Red Light Violation, Automatic Number</a:t>
                      </a:r>
                      <a:r>
                        <a:rPr lang="en-US" sz="1400" b="0" baseline="0" dirty="0">
                          <a:solidFill>
                            <a:schemeClr val="tx1"/>
                          </a:solidFill>
                          <a:effectLst/>
                          <a:latin typeface="Calibri" panose="020F0502020204030204" pitchFamily="34" charset="0"/>
                          <a:ea typeface="Arial" panose="020B0604020202020204" pitchFamily="34" charset="0"/>
                          <a:cs typeface="Calibri" panose="020F0502020204030204" pitchFamily="34" charset="0"/>
                        </a:rPr>
                        <a:t> Plate Recognition</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amp; Speed Violation Detection-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Nomination based project</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5.10 Cr</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3"/>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All</a:t>
                      </a:r>
                      <a:r>
                        <a:rPr lang="en-US" sz="1400" b="0" baseline="0" dirty="0">
                          <a:solidFill>
                            <a:schemeClr val="tx1"/>
                          </a:solidFill>
                          <a:effectLst/>
                          <a:latin typeface="Calibri" panose="020F0502020204030204" pitchFamily="34" charset="0"/>
                          <a:ea typeface="Arial" panose="020B0604020202020204" pitchFamily="34" charset="0"/>
                          <a:cs typeface="Calibri" panose="020F0502020204030204" pitchFamily="34" charset="0"/>
                        </a:rPr>
                        <a:t> ULB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E-SBM</a:t>
                      </a:r>
                      <a:r>
                        <a:rPr lang="en-US" sz="1400" b="0" baseline="0" dirty="0">
                          <a:solidFill>
                            <a:schemeClr val="tx1"/>
                          </a:solidFill>
                          <a:effectLst/>
                          <a:latin typeface="Calibri" panose="020F0502020204030204" pitchFamily="34" charset="0"/>
                          <a:ea typeface="Arial" panose="020B0604020202020204" pitchFamily="34" charset="0"/>
                          <a:cs typeface="Calibri" panose="020F0502020204030204" pitchFamily="34" charset="0"/>
                        </a:rPr>
                        <a:t> – Smart Solid Waste Management-</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Nomination based project</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22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4"/>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Pune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cs typeface="Calibri" panose="020F0502020204030204" pitchFamily="34" charset="0"/>
                        </a:rPr>
                        <a:t>Smart Class Room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21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5"/>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aipur City</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cs typeface="Calibri" panose="020F0502020204030204" pitchFamily="34" charset="0"/>
                        </a:rPr>
                        <a:t>Network Connectivity-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20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6"/>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ajkot</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baseline="0" dirty="0">
                          <a:solidFill>
                            <a:schemeClr val="tx1"/>
                          </a:solidFill>
                          <a:effectLst/>
                          <a:latin typeface="Calibri" panose="020F0502020204030204" pitchFamily="34" charset="0"/>
                          <a:cs typeface="Calibri" panose="020F0502020204030204" pitchFamily="34" charset="0"/>
                        </a:rPr>
                        <a:t>City Surveillance related network backbone-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4.07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7"/>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Gwalior </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Smart Class Room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a:t>
                      </a:r>
                      <a:r>
                        <a:rPr lang="en-US" sz="1400" b="0" baseline="0" dirty="0">
                          <a:solidFill>
                            <a:schemeClr val="tx1"/>
                          </a:solidFill>
                          <a:effectLst/>
                          <a:latin typeface="Calibri" panose="020F0502020204030204" pitchFamily="34" charset="0"/>
                          <a:ea typeface="Arial" panose="020B0604020202020204" pitchFamily="34" charset="0"/>
                          <a:cs typeface="Calibri" panose="020F0502020204030204" pitchFamily="34" charset="0"/>
                        </a:rPr>
                        <a:t> 3.5 Cr</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8"/>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Jabalpur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cs typeface="Calibri" panose="020F0502020204030204" pitchFamily="34" charset="0"/>
                        </a:rPr>
                        <a:t>Smart Class Rooms-</a:t>
                      </a:r>
                      <a:r>
                        <a:rPr lang="en-US" sz="1400" b="0" baseline="0" dirty="0">
                          <a:solidFill>
                            <a:schemeClr val="tx1"/>
                          </a:solidFill>
                          <a:effectLst/>
                          <a:latin typeface="Calibri" panose="020F0502020204030204" pitchFamily="34" charset="0"/>
                          <a:cs typeface="Calibri" panose="020F0502020204030204" pitchFamily="34" charset="0"/>
                        </a:rPr>
                        <a:t>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2.98 Cr.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9"/>
                  </a:ext>
                </a:extLst>
              </a:tr>
              <a:tr h="391905">
                <a:tc>
                  <a:txBody>
                    <a:bodyPr/>
                    <a:lstStyle/>
                    <a:p>
                      <a:pPr marL="0" marR="0" algn="l">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Indore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cs typeface="Calibri" panose="020F0502020204030204" pitchFamily="34" charset="0"/>
                        </a:rPr>
                        <a:t>Smart Class Room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a:solidFill>
                            <a:schemeClr val="tx1"/>
                          </a:solidFill>
                          <a:effectLst/>
                          <a:latin typeface="Calibri" panose="020F0502020204030204" pitchFamily="34" charset="0"/>
                          <a:cs typeface="Calibri" panose="020F0502020204030204" pitchFamily="34" charset="0"/>
                        </a:rPr>
                        <a:t>Rs.2.67 Cr. </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0"/>
                  </a:ext>
                </a:extLst>
              </a:tr>
              <a:tr h="391905">
                <a:tc>
                  <a:txBody>
                    <a:bodyPr/>
                    <a:lstStyle/>
                    <a:p>
                      <a:pPr marL="0" marR="0" algn="l">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Hubli</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100 Wi-Fi Access points-</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Nomination based project</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1.65 Cr</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1"/>
                  </a:ext>
                </a:extLst>
              </a:tr>
              <a:tr h="321659">
                <a:tc>
                  <a:txBody>
                    <a:bodyPr/>
                    <a:lstStyle/>
                    <a:p>
                      <a:pPr marL="0" marR="0" algn="l">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Hazaribagh</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Surveillance/CCTVs  at 33 locations for Police Authoritie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Nomination based project</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1 Cr</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2"/>
                  </a:ext>
                </a:extLst>
              </a:tr>
              <a:tr h="321659">
                <a:tc>
                  <a:txBody>
                    <a:bodyPr/>
                    <a:lstStyle/>
                    <a:p>
                      <a:pPr marL="0" marR="0" algn="l">
                        <a:spcBef>
                          <a:spcPts val="0"/>
                        </a:spcBef>
                        <a:spcAft>
                          <a:spcPts val="0"/>
                        </a:spcAft>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Bhagalpu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Smart pole and 05 Wi-Fi Hotspot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Nomination based project</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a:t>
                      </a:r>
                      <a:r>
                        <a:rPr lang="en-US" sz="1400" b="0" baseline="0" dirty="0">
                          <a:solidFill>
                            <a:schemeClr val="tx1"/>
                          </a:solidFill>
                          <a:effectLst/>
                          <a:latin typeface="Calibri" panose="020F0502020204030204" pitchFamily="34" charset="0"/>
                          <a:ea typeface="Arial" panose="020B0604020202020204" pitchFamily="34" charset="0"/>
                          <a:cs typeface="Calibri" panose="020F0502020204030204" pitchFamily="34" charset="0"/>
                        </a:rPr>
                        <a:t> 15 Lac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3"/>
                  </a:ext>
                </a:extLst>
              </a:tr>
              <a:tr h="321659">
                <a:tc>
                  <a:txBody>
                    <a:bodyPr/>
                    <a:lstStyle/>
                    <a:p>
                      <a:pPr marL="0" marR="0" algn="l">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Belgavi</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Network Backbone and Wi-Fi hotspots- </a:t>
                      </a:r>
                      <a:r>
                        <a:rPr lang="en-US" sz="1400" b="0" dirty="0">
                          <a:solidFill>
                            <a:srgbClr val="FFC000"/>
                          </a:solidFill>
                          <a:effectLst/>
                          <a:latin typeface="Calibri" panose="020F0502020204030204" pitchFamily="34" charset="0"/>
                          <a:ea typeface="Arial" panose="020B0604020202020204" pitchFamily="34" charset="0"/>
                          <a:cs typeface="Calibri" panose="020F0502020204030204" pitchFamily="34" charset="0"/>
                        </a:rPr>
                        <a:t>Through RFP/Bidding Process</a:t>
                      </a:r>
                      <a:endPar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a:spcBef>
                          <a:spcPts val="0"/>
                        </a:spcBef>
                        <a:spcAft>
                          <a:spcPts val="0"/>
                        </a:spcAft>
                      </a:pPr>
                      <a:r>
                        <a:rPr lang="en-US" sz="1400" b="0" dirty="0" err="1">
                          <a:solidFill>
                            <a:schemeClr val="tx1"/>
                          </a:solidFill>
                          <a:effectLst/>
                          <a:latin typeface="Calibri" panose="020F0502020204030204" pitchFamily="34" charset="0"/>
                          <a:ea typeface="Arial" panose="020B0604020202020204" pitchFamily="34" charset="0"/>
                          <a:cs typeface="Calibri" panose="020F0502020204030204" pitchFamily="34" charset="0"/>
                        </a:rPr>
                        <a:t>Rs</a:t>
                      </a:r>
                      <a:r>
                        <a:rPr lang="en-US" sz="1400" b="0" dirty="0">
                          <a:solidFill>
                            <a:schemeClr val="tx1"/>
                          </a:solidFill>
                          <a:effectLst/>
                          <a:latin typeface="Calibri" panose="020F0502020204030204" pitchFamily="34" charset="0"/>
                          <a:ea typeface="Arial" panose="020B0604020202020204" pitchFamily="34" charset="0"/>
                          <a:cs typeface="Calibri" panose="020F0502020204030204" pitchFamily="34" charset="0"/>
                        </a:rPr>
                        <a:t>. 5.00 Cr</a:t>
                      </a:r>
                    </a:p>
                  </a:txBody>
                  <a:tcPr marL="65352" marR="6535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4"/>
                  </a:ext>
                </a:extLst>
              </a:tr>
            </a:tbl>
          </a:graphicData>
        </a:graphic>
      </p:graphicFrame>
    </p:spTree>
    <p:extLst>
      <p:ext uri="{BB962C8B-B14F-4D97-AF65-F5344CB8AC3E}">
        <p14:creationId xmlns:p14="http://schemas.microsoft.com/office/powerpoint/2010/main" val="2471794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0" y="0"/>
            <a:ext cx="12192000" cy="6858000"/>
          </a:xfrm>
          <a:prstGeom prst="rect">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p:nvSpPr>
        <p:spPr bwMode="gray">
          <a:xfrm>
            <a:off x="122634" y="1081924"/>
            <a:ext cx="2432107" cy="47086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54610" rIns="54610" bIns="54610" rtlCol="0" anchor="ctr"/>
          <a:lstStyle/>
          <a:p>
            <a:r>
              <a:rPr lang="en-GB" sz="1400" b="1" dirty="0">
                <a:solidFill>
                  <a:prstClr val="white"/>
                </a:solidFill>
              </a:rPr>
              <a:t>System Integrators</a:t>
            </a:r>
          </a:p>
        </p:txBody>
      </p:sp>
      <p:sp>
        <p:nvSpPr>
          <p:cNvPr id="5" name="TextBox 4"/>
          <p:cNvSpPr txBox="1"/>
          <p:nvPr/>
        </p:nvSpPr>
        <p:spPr bwMode="gray">
          <a:xfrm>
            <a:off x="122634" y="1078336"/>
            <a:ext cx="424000" cy="474452"/>
          </a:xfrm>
          <a:prstGeom prst="rect">
            <a:avLst/>
          </a:prstGeom>
          <a:noFill/>
        </p:spPr>
        <p:txBody>
          <a:bodyPr wrap="square" lIns="0" tIns="0" rIns="0" bIns="0" rtlCol="0" anchor="t">
            <a:noAutofit/>
          </a:bodyPr>
          <a:lstStyle/>
          <a:p>
            <a:pPr algn="ctr">
              <a:spcAft>
                <a:spcPts val="600"/>
              </a:spcAft>
            </a:pPr>
            <a:r>
              <a:rPr lang="en-GB" sz="2400" dirty="0">
                <a:solidFill>
                  <a:prstClr val="white"/>
                </a:solidFill>
                <a:latin typeface="KPMG Extralight"/>
              </a:rPr>
              <a:t>1</a:t>
            </a:r>
          </a:p>
        </p:txBody>
      </p:sp>
      <p:cxnSp>
        <p:nvCxnSpPr>
          <p:cNvPr id="6" name="Straight Connector 5"/>
          <p:cNvCxnSpPr/>
          <p:nvPr/>
        </p:nvCxnSpPr>
        <p:spPr bwMode="gray">
          <a:xfrm>
            <a:off x="568301" y="1169949"/>
            <a:ext cx="0" cy="2948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bwMode="gray">
          <a:xfrm>
            <a:off x="3043392" y="1081924"/>
            <a:ext cx="9055931" cy="47086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54610" rIns="54610" bIns="54610" rtlCol="0" anchor="ctr"/>
          <a:lstStyle/>
          <a:p>
            <a:r>
              <a:rPr lang="en-GB" sz="1400" b="1" dirty="0">
                <a:solidFill>
                  <a:prstClr val="white"/>
                </a:solidFill>
              </a:rPr>
              <a:t>Solutions Partners</a:t>
            </a:r>
          </a:p>
        </p:txBody>
      </p:sp>
      <p:sp>
        <p:nvSpPr>
          <p:cNvPr id="10" name="TextBox 9"/>
          <p:cNvSpPr txBox="1"/>
          <p:nvPr/>
        </p:nvSpPr>
        <p:spPr bwMode="gray">
          <a:xfrm>
            <a:off x="3053723" y="1078336"/>
            <a:ext cx="424000" cy="474452"/>
          </a:xfrm>
          <a:prstGeom prst="rect">
            <a:avLst/>
          </a:prstGeom>
          <a:solidFill>
            <a:srgbClr val="FFC000"/>
          </a:solidFill>
        </p:spPr>
        <p:txBody>
          <a:bodyPr wrap="square" lIns="0" tIns="0" rIns="0" bIns="0" rtlCol="0" anchor="t">
            <a:noAutofit/>
          </a:bodyPr>
          <a:lstStyle>
            <a:defPPr>
              <a:defRPr lang="en-US"/>
            </a:defPPr>
            <a:lvl1pPr algn="ctr">
              <a:spcAft>
                <a:spcPts val="600"/>
              </a:spcAft>
              <a:defRPr sz="2000">
                <a:solidFill>
                  <a:schemeClr val="bg1"/>
                </a:solidFill>
                <a:latin typeface="+mj-lt"/>
              </a:defRPr>
            </a:lvl1pPr>
          </a:lstStyle>
          <a:p>
            <a:r>
              <a:rPr lang="en-GB" sz="2400" dirty="0">
                <a:solidFill>
                  <a:prstClr val="white"/>
                </a:solidFill>
              </a:rPr>
              <a:t>2</a:t>
            </a:r>
          </a:p>
        </p:txBody>
      </p:sp>
      <p:cxnSp>
        <p:nvCxnSpPr>
          <p:cNvPr id="13" name="Straight Connector 12"/>
          <p:cNvCxnSpPr/>
          <p:nvPr/>
        </p:nvCxnSpPr>
        <p:spPr bwMode="gray">
          <a:xfrm>
            <a:off x="3477723" y="1169949"/>
            <a:ext cx="0" cy="2948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bwMode="gray">
          <a:xfrm>
            <a:off x="83972" y="4109036"/>
            <a:ext cx="2470769" cy="47086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tIns="54610" rIns="54610" bIns="54610" rtlCol="0" anchor="ctr"/>
          <a:lstStyle/>
          <a:p>
            <a:r>
              <a:rPr lang="en-GB" sz="1400" b="1" dirty="0">
                <a:solidFill>
                  <a:prstClr val="white"/>
                </a:solidFill>
              </a:rPr>
              <a:t>Management Consultants</a:t>
            </a:r>
          </a:p>
        </p:txBody>
      </p:sp>
      <p:sp>
        <p:nvSpPr>
          <p:cNvPr id="15" name="TextBox 14"/>
          <p:cNvSpPr txBox="1"/>
          <p:nvPr/>
        </p:nvSpPr>
        <p:spPr bwMode="gray">
          <a:xfrm>
            <a:off x="144301" y="4158544"/>
            <a:ext cx="424000" cy="474452"/>
          </a:xfrm>
          <a:prstGeom prst="rect">
            <a:avLst/>
          </a:prstGeom>
          <a:noFill/>
        </p:spPr>
        <p:txBody>
          <a:bodyPr wrap="square" lIns="0" tIns="0" rIns="0" bIns="0" rtlCol="0" anchor="t">
            <a:noAutofit/>
          </a:bodyPr>
          <a:lstStyle>
            <a:defPPr>
              <a:defRPr lang="en-US"/>
            </a:defPPr>
            <a:lvl1pPr algn="ctr">
              <a:spcAft>
                <a:spcPts val="600"/>
              </a:spcAft>
              <a:defRPr sz="2000">
                <a:solidFill>
                  <a:schemeClr val="bg1"/>
                </a:solidFill>
                <a:latin typeface="+mj-lt"/>
              </a:defRPr>
            </a:lvl1pPr>
          </a:lstStyle>
          <a:p>
            <a:r>
              <a:rPr lang="en-GB" sz="2400" dirty="0">
                <a:solidFill>
                  <a:prstClr val="white"/>
                </a:solidFill>
              </a:rPr>
              <a:t>3</a:t>
            </a:r>
          </a:p>
        </p:txBody>
      </p:sp>
      <p:cxnSp>
        <p:nvCxnSpPr>
          <p:cNvPr id="18" name="Straight Connector 17"/>
          <p:cNvCxnSpPr/>
          <p:nvPr/>
        </p:nvCxnSpPr>
        <p:spPr bwMode="gray">
          <a:xfrm>
            <a:off x="546634" y="4182922"/>
            <a:ext cx="0" cy="294815"/>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Title 1"/>
          <p:cNvSpPr txBox="1">
            <a:spLocks/>
          </p:cNvSpPr>
          <p:nvPr/>
        </p:nvSpPr>
        <p:spPr>
          <a:xfrm>
            <a:off x="118227" y="91661"/>
            <a:ext cx="10515600" cy="76622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r>
              <a:rPr lang="en-US" sz="4800" b="1" dirty="0">
                <a:solidFill>
                  <a:prstClr val="white"/>
                </a:solidFill>
              </a:rPr>
              <a:t>Our Smart City Partners</a:t>
            </a:r>
          </a:p>
        </p:txBody>
      </p:sp>
      <p:graphicFrame>
        <p:nvGraphicFramePr>
          <p:cNvPr id="26" name="Table 25"/>
          <p:cNvGraphicFramePr>
            <a:graphicFrameLocks noGrp="1"/>
          </p:cNvGraphicFramePr>
          <p:nvPr/>
        </p:nvGraphicFramePr>
        <p:xfrm>
          <a:off x="122634" y="1773239"/>
          <a:ext cx="2432107" cy="2438400"/>
        </p:xfrm>
        <a:graphic>
          <a:graphicData uri="http://schemas.openxmlformats.org/drawingml/2006/table">
            <a:tbl>
              <a:tblPr firstRow="1" bandRow="1">
                <a:effectLst>
                  <a:outerShdw blurRad="50800" dist="38100" dir="5400000" algn="t" rotWithShape="0">
                    <a:prstClr val="black">
                      <a:alpha val="40000"/>
                    </a:prstClr>
                  </a:outerShdw>
                </a:effectLst>
                <a:tableStyleId>{5C22544A-7EE6-4342-B048-85BDC9FD1C3A}</a:tableStyleId>
              </a:tblPr>
              <a:tblGrid>
                <a:gridCol w="2432107">
                  <a:extLst>
                    <a:ext uri="{9D8B030D-6E8A-4147-A177-3AD203B41FA5}">
                      <a16:colId xmlns:a16="http://schemas.microsoft.com/office/drawing/2014/main" xmlns="" val="20000"/>
                    </a:ext>
                  </a:extLst>
                </a:gridCol>
              </a:tblGrid>
              <a:tr h="760999">
                <a:tc>
                  <a:txBody>
                    <a:bodyPr/>
                    <a:lstStyle/>
                    <a:p>
                      <a:pPr marL="285750" indent="-285750">
                        <a:buFont typeface="Wingdings" panose="05000000000000000000" pitchFamily="2" charset="2"/>
                        <a:buChar char="ü"/>
                      </a:pPr>
                      <a:r>
                        <a:rPr lang="en-US" sz="1400" b="0" dirty="0">
                          <a:solidFill>
                            <a:schemeClr val="bg1"/>
                          </a:solidFill>
                        </a:rPr>
                        <a:t>Infosys</a:t>
                      </a:r>
                      <a:r>
                        <a:rPr lang="en-US" sz="1400" b="0" baseline="0" dirty="0">
                          <a:solidFill>
                            <a:schemeClr val="bg1"/>
                          </a:solidFill>
                        </a:rPr>
                        <a:t> Lt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dirty="0">
                          <a:solidFill>
                            <a:schemeClr val="bg1"/>
                          </a:solidFill>
                        </a:rPr>
                        <a:t>Recon Group-</a:t>
                      </a:r>
                      <a:r>
                        <a:rPr lang="en-US" sz="1400" b="0" dirty="0" err="1">
                          <a:solidFill>
                            <a:schemeClr val="bg1"/>
                          </a:solidFill>
                        </a:rPr>
                        <a:t>Teamax</a:t>
                      </a:r>
                      <a:r>
                        <a:rPr lang="en-US" sz="1400" b="0" dirty="0">
                          <a:solidFill>
                            <a:schemeClr val="bg1"/>
                          </a:solidFill>
                        </a:rPr>
                        <a:t> Smart Industry India PVT Ltd</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dirty="0" err="1">
                          <a:solidFill>
                            <a:schemeClr val="bg1"/>
                          </a:solidFill>
                        </a:rPr>
                        <a:t>Aakash</a:t>
                      </a:r>
                      <a:r>
                        <a:rPr lang="en-US" sz="1400" b="0" dirty="0">
                          <a:solidFill>
                            <a:schemeClr val="bg1"/>
                          </a:solidFill>
                        </a:rPr>
                        <a:t> Universal</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dirty="0" err="1">
                          <a:solidFill>
                            <a:schemeClr val="bg1"/>
                          </a:solidFill>
                        </a:rPr>
                        <a:t>Karvy</a:t>
                      </a:r>
                      <a:r>
                        <a:rPr lang="en-US" sz="1400" b="0" baseline="0" dirty="0">
                          <a:solidFill>
                            <a:schemeClr val="bg1"/>
                          </a:solidFill>
                        </a:rPr>
                        <a:t> Data Management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baseline="0" dirty="0">
                          <a:solidFill>
                            <a:schemeClr val="bg1"/>
                          </a:solidFill>
                        </a:rPr>
                        <a:t>Godrej &amp; Boyce </a:t>
                      </a:r>
                      <a:r>
                        <a:rPr lang="en-US" sz="1400" b="0" baseline="0" dirty="0" err="1">
                          <a:solidFill>
                            <a:schemeClr val="bg1"/>
                          </a:solidFill>
                        </a:rPr>
                        <a:t>Mfg</a:t>
                      </a:r>
                      <a:r>
                        <a:rPr lang="en-US" sz="1400" b="0" baseline="0" dirty="0">
                          <a:solidFill>
                            <a:schemeClr val="bg1"/>
                          </a:solidFill>
                        </a:rPr>
                        <a:t> Co Ltd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US" sz="1400" b="0" baseline="0" dirty="0">
                          <a:solidFill>
                            <a:schemeClr val="bg1"/>
                          </a:solidFill>
                        </a:rPr>
                        <a:t>KPMG </a:t>
                      </a:r>
                      <a:endParaRPr lang="en-US" sz="1400" b="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US" sz="1400" b="0" dirty="0">
                        <a:solidFill>
                          <a:schemeClr val="bg1"/>
                        </a:solidFill>
                      </a:endParaRPr>
                    </a:p>
                    <a:p>
                      <a:pPr marL="285750" indent="-285750">
                        <a:buFont typeface="Wingdings" panose="05000000000000000000" pitchFamily="2" charset="2"/>
                        <a:buChar char="ü"/>
                      </a:pPr>
                      <a:endParaRPr lang="en-US" sz="1400" b="0" dirty="0">
                        <a:solidFill>
                          <a:schemeClr val="bg1"/>
                        </a:solidFill>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bl>
          </a:graphicData>
        </a:graphic>
      </p:graphicFrame>
      <p:graphicFrame>
        <p:nvGraphicFramePr>
          <p:cNvPr id="27" name="Table 26"/>
          <p:cNvGraphicFramePr>
            <a:graphicFrameLocks noGrp="1"/>
          </p:cNvGraphicFramePr>
          <p:nvPr/>
        </p:nvGraphicFramePr>
        <p:xfrm>
          <a:off x="3040847" y="1646009"/>
          <a:ext cx="4482900" cy="5114787"/>
        </p:xfrm>
        <a:graphic>
          <a:graphicData uri="http://schemas.openxmlformats.org/drawingml/2006/table">
            <a:tbl>
              <a:tblPr firstRow="1" bandRow="1">
                <a:tableStyleId>{F5AB1C69-6EDB-4FF4-983F-18BD219EF322}</a:tableStyleId>
              </a:tblPr>
              <a:tblGrid>
                <a:gridCol w="1299566">
                  <a:extLst>
                    <a:ext uri="{9D8B030D-6E8A-4147-A177-3AD203B41FA5}">
                      <a16:colId xmlns:a16="http://schemas.microsoft.com/office/drawing/2014/main" xmlns="" val="20000"/>
                    </a:ext>
                  </a:extLst>
                </a:gridCol>
                <a:gridCol w="3183334">
                  <a:extLst>
                    <a:ext uri="{9D8B030D-6E8A-4147-A177-3AD203B41FA5}">
                      <a16:colId xmlns:a16="http://schemas.microsoft.com/office/drawing/2014/main" xmlns="" val="20001"/>
                    </a:ext>
                  </a:extLst>
                </a:gridCol>
              </a:tblGrid>
              <a:tr h="4513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rPr>
                        <a:t>Area</a:t>
                      </a:r>
                      <a:endParaRPr kumimoji="0" lang="en-US" sz="1600" b="1" i="0" u="none" strike="noStrike" kern="1200" cap="none" spc="0" normalizeH="0" baseline="0" dirty="0">
                        <a:ln>
                          <a:noFill/>
                        </a:ln>
                        <a:solidFill>
                          <a:schemeClr val="bg1"/>
                        </a:solidFill>
                        <a:effectLst/>
                        <a:uLnTx/>
                        <a:uFillTx/>
                        <a:latin typeface="Calibri Light" panose="020F0302020204030204"/>
                        <a:ea typeface="+mj-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rPr>
                        <a:t>Solution Provider</a:t>
                      </a:r>
                      <a:endParaRPr kumimoji="0" lang="en-US" sz="1600" b="1" i="0" u="none" strike="noStrike" kern="1200" cap="none" spc="0" normalizeH="0" baseline="0" dirty="0">
                        <a:ln>
                          <a:noFill/>
                        </a:ln>
                        <a:solidFill>
                          <a:schemeClr val="bg1"/>
                        </a:solidFill>
                        <a:effectLst/>
                        <a:uLnTx/>
                        <a:uFillTx/>
                        <a:latin typeface="Calibri Light" panose="020F0302020204030204"/>
                        <a:ea typeface="+mj-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451347">
                <a:tc>
                  <a:txBody>
                    <a:bodyPr/>
                    <a:lstStyle/>
                    <a:p>
                      <a:pPr marL="0" indent="0">
                        <a:buFont typeface="+mj-lt"/>
                        <a:buNone/>
                      </a:pPr>
                      <a:r>
                        <a:rPr lang="en-US" sz="1200" dirty="0">
                          <a:solidFill>
                            <a:schemeClr val="bg1"/>
                          </a:solidFill>
                        </a:rPr>
                        <a:t>Smart</a:t>
                      </a:r>
                      <a:r>
                        <a:rPr lang="en-US" sz="1200" baseline="0" dirty="0">
                          <a:solidFill>
                            <a:schemeClr val="bg1"/>
                          </a:solidFill>
                        </a:rPr>
                        <a:t> Parking</a:t>
                      </a: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101600">
                        <a:buFont typeface="Arial" panose="020B0604020202020204" pitchFamily="34" charset="0"/>
                        <a:buChar char="•"/>
                      </a:pPr>
                      <a:r>
                        <a:rPr lang="en-US" sz="1200" dirty="0">
                          <a:solidFill>
                            <a:schemeClr val="bg1"/>
                          </a:solidFill>
                        </a:rPr>
                        <a:t>    Elite</a:t>
                      </a:r>
                      <a:r>
                        <a:rPr lang="en-US" sz="1200" baseline="0" dirty="0">
                          <a:solidFill>
                            <a:schemeClr val="bg1"/>
                          </a:solidFill>
                        </a:rPr>
                        <a:t> IT services India PVT Ltd</a:t>
                      </a:r>
                    </a:p>
                    <a:p>
                      <a:pPr marL="285750" indent="-285750">
                        <a:buFont typeface="Arial" panose="020B0604020202020204" pitchFamily="34" charset="0"/>
                        <a:buChar char="•"/>
                      </a:pPr>
                      <a:r>
                        <a:rPr lang="en-US" sz="1200" baseline="0" dirty="0" err="1">
                          <a:solidFill>
                            <a:schemeClr val="bg1"/>
                          </a:solidFill>
                        </a:rPr>
                        <a:t>Vehant</a:t>
                      </a:r>
                      <a:r>
                        <a:rPr lang="en-US" sz="1200" baseline="0" dirty="0">
                          <a:solidFill>
                            <a:schemeClr val="bg1"/>
                          </a:solidFill>
                        </a:rPr>
                        <a:t> Technologies Pvt. Ltd</a:t>
                      </a:r>
                    </a:p>
                    <a:p>
                      <a:pPr marL="285750" indent="-285750">
                        <a:buFont typeface="Arial" panose="020B0604020202020204" pitchFamily="34" charset="0"/>
                        <a:buChar char="•"/>
                      </a:pPr>
                      <a:r>
                        <a:rPr lang="en-US" sz="1200" baseline="0" dirty="0">
                          <a:solidFill>
                            <a:schemeClr val="bg1"/>
                          </a:solidFill>
                        </a:rPr>
                        <a:t>Radius Synergies International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51347">
                <a:tc>
                  <a:txBody>
                    <a:bodyPr/>
                    <a:lstStyle/>
                    <a:p>
                      <a:pPr marL="0" indent="0">
                        <a:buFont typeface="+mj-lt"/>
                        <a:buNone/>
                      </a:pPr>
                      <a:r>
                        <a:rPr lang="en-US" sz="1200" dirty="0">
                          <a:solidFill>
                            <a:schemeClr val="bg1"/>
                          </a:solidFill>
                        </a:rPr>
                        <a:t> Smart Classroom</a:t>
                      </a: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a:solidFill>
                            <a:schemeClr val="bg1"/>
                          </a:solidFill>
                        </a:rPr>
                        <a:t>Smart Class Educational Services</a:t>
                      </a:r>
                      <a:r>
                        <a:rPr lang="en-US" sz="1200" baseline="0" dirty="0">
                          <a:solidFill>
                            <a:schemeClr val="bg1"/>
                          </a:solidFill>
                        </a:rPr>
                        <a:t> PVT LTD</a:t>
                      </a:r>
                    </a:p>
                    <a:p>
                      <a:pPr marL="285750" indent="-285750">
                        <a:buFont typeface="Arial" panose="020B0604020202020204" pitchFamily="34" charset="0"/>
                        <a:buChar char="•"/>
                      </a:pPr>
                      <a:r>
                        <a:rPr lang="en-US" sz="1200" baseline="0" dirty="0" err="1">
                          <a:solidFill>
                            <a:schemeClr val="bg1"/>
                          </a:solidFill>
                        </a:rPr>
                        <a:t>ExtraMarks</a:t>
                      </a:r>
                      <a:endParaRPr lang="en-US" sz="1200" baseline="0" dirty="0">
                        <a:solidFill>
                          <a:schemeClr val="bg1"/>
                        </a:solidFill>
                      </a:endParaRPr>
                    </a:p>
                    <a:p>
                      <a:pPr marL="285750" indent="-285750">
                        <a:buFont typeface="Arial" panose="020B0604020202020204" pitchFamily="34" charset="0"/>
                        <a:buChar char="•"/>
                      </a:pPr>
                      <a:r>
                        <a:rPr lang="en-US" sz="1200" baseline="0" dirty="0" err="1">
                          <a:solidFill>
                            <a:schemeClr val="bg1"/>
                          </a:solidFill>
                        </a:rPr>
                        <a:t>Probit</a:t>
                      </a:r>
                      <a:r>
                        <a:rPr lang="en-US" sz="1200" baseline="0" dirty="0">
                          <a:solidFill>
                            <a:schemeClr val="bg1"/>
                          </a:solidFill>
                        </a:rPr>
                        <a:t> Plus</a:t>
                      </a:r>
                    </a:p>
                    <a:p>
                      <a:pPr marL="285750" indent="-285750">
                        <a:buFont typeface="Arial" panose="020B0604020202020204" pitchFamily="34" charset="0"/>
                        <a:buChar char="•"/>
                      </a:pPr>
                      <a:r>
                        <a:rPr lang="en-US" sz="1200" baseline="0" dirty="0">
                          <a:solidFill>
                            <a:schemeClr val="bg1"/>
                          </a:solidFill>
                        </a:rPr>
                        <a:t>Valuable Edutainment Pvt. Ltd </a:t>
                      </a:r>
                      <a:endParaRPr lang="en-US" sz="12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51347">
                <a:tc>
                  <a:txBody>
                    <a:bodyPr/>
                    <a:lstStyle/>
                    <a:p>
                      <a:pPr marL="0" indent="0">
                        <a:buFont typeface="+mj-lt"/>
                        <a:buNone/>
                      </a:pPr>
                      <a:r>
                        <a:rPr lang="en-US" sz="1200" dirty="0">
                          <a:solidFill>
                            <a:schemeClr val="bg1"/>
                          </a:solidFill>
                        </a:rPr>
                        <a:t>Solid</a:t>
                      </a:r>
                      <a:r>
                        <a:rPr lang="en-US" sz="1200" baseline="0" dirty="0">
                          <a:solidFill>
                            <a:schemeClr val="bg1"/>
                          </a:solidFill>
                        </a:rPr>
                        <a:t> Waste Management                            </a:t>
                      </a: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err="1">
                          <a:solidFill>
                            <a:schemeClr val="bg1"/>
                          </a:solidFill>
                        </a:rPr>
                        <a:t>Aeris</a:t>
                      </a:r>
                      <a:endParaRPr lang="en-US" sz="1200" dirty="0">
                        <a:solidFill>
                          <a:schemeClr val="bg1"/>
                        </a:solidFill>
                      </a:endParaRPr>
                    </a:p>
                    <a:p>
                      <a:pPr marL="285750" indent="-285750">
                        <a:buFont typeface="Arial" panose="020B0604020202020204" pitchFamily="34" charset="0"/>
                        <a:buChar char="•"/>
                      </a:pPr>
                      <a:r>
                        <a:rPr lang="en-US" sz="1200" dirty="0">
                          <a:solidFill>
                            <a:schemeClr val="bg1"/>
                          </a:solidFill>
                        </a:rPr>
                        <a:t>Gaia</a:t>
                      </a:r>
                      <a:r>
                        <a:rPr lang="en-US" sz="1200" baseline="0" dirty="0">
                          <a:solidFill>
                            <a:schemeClr val="bg1"/>
                          </a:solidFill>
                        </a:rPr>
                        <a:t> Smart Cities Solutions Pvt. LTD</a:t>
                      </a:r>
                    </a:p>
                    <a:p>
                      <a:pPr marL="285750" indent="-285750">
                        <a:buFont typeface="Arial" panose="020B0604020202020204" pitchFamily="34" charset="0"/>
                        <a:buChar char="•"/>
                      </a:pPr>
                      <a:r>
                        <a:rPr lang="en-US" sz="1200" baseline="0" dirty="0">
                          <a:solidFill>
                            <a:schemeClr val="bg1"/>
                          </a:solidFill>
                        </a:rPr>
                        <a:t>RP </a:t>
                      </a:r>
                      <a:r>
                        <a:rPr lang="en-US" sz="1200" baseline="0" dirty="0" err="1">
                          <a:solidFill>
                            <a:schemeClr val="bg1"/>
                          </a:solidFill>
                        </a:rPr>
                        <a:t>Techsoft</a:t>
                      </a:r>
                      <a:r>
                        <a:rPr lang="en-US" sz="1200" baseline="0" dirty="0">
                          <a:solidFill>
                            <a:schemeClr val="bg1"/>
                          </a:solidFill>
                        </a:rPr>
                        <a:t> International Pvt. Ltd.</a:t>
                      </a:r>
                    </a:p>
                    <a:p>
                      <a:pPr marL="285750" indent="-285750">
                        <a:buFont typeface="Arial" panose="020B0604020202020204" pitchFamily="34" charset="0"/>
                        <a:buChar char="•"/>
                      </a:pPr>
                      <a:r>
                        <a:rPr lang="en-US" sz="1200" baseline="0" dirty="0" err="1">
                          <a:solidFill>
                            <a:schemeClr val="bg1"/>
                          </a:solidFill>
                        </a:rPr>
                        <a:t>Ajeevi</a:t>
                      </a:r>
                      <a:r>
                        <a:rPr lang="en-US" sz="1200" baseline="0" dirty="0">
                          <a:solidFill>
                            <a:schemeClr val="bg1"/>
                          </a:solidFill>
                        </a:rPr>
                        <a:t> Technologies </a:t>
                      </a:r>
                      <a:r>
                        <a:rPr lang="en-US" sz="1200" baseline="0" dirty="0" err="1">
                          <a:solidFill>
                            <a:schemeClr val="bg1"/>
                          </a:solidFill>
                        </a:rPr>
                        <a:t>Pvt</a:t>
                      </a:r>
                      <a:r>
                        <a:rPr lang="en-US" sz="1200" baseline="0" dirty="0">
                          <a:solidFill>
                            <a:schemeClr val="bg1"/>
                          </a:solidFill>
                        </a:rPr>
                        <a:t> Ltd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51347">
                <a:tc>
                  <a:txBody>
                    <a:bodyPr/>
                    <a:lstStyle/>
                    <a:p>
                      <a:pPr marL="0" indent="0">
                        <a:buFont typeface="+mj-lt"/>
                        <a:buNone/>
                      </a:pPr>
                      <a:r>
                        <a:rPr lang="en-US" sz="1200" dirty="0">
                          <a:solidFill>
                            <a:schemeClr val="bg1"/>
                          </a:solidFill>
                        </a:rPr>
                        <a:t>Command &amp; Control Centre</a:t>
                      </a: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err="1">
                          <a:solidFill>
                            <a:schemeClr val="bg1"/>
                          </a:solidFill>
                        </a:rPr>
                        <a:t>Karaat</a:t>
                      </a:r>
                      <a:r>
                        <a:rPr lang="en-US" sz="1200" dirty="0">
                          <a:solidFill>
                            <a:schemeClr val="bg1"/>
                          </a:solidFill>
                        </a:rPr>
                        <a:t> Infrastructure</a:t>
                      </a:r>
                      <a:r>
                        <a:rPr lang="en-US" sz="1200" baseline="0" dirty="0">
                          <a:solidFill>
                            <a:schemeClr val="bg1"/>
                          </a:solidFill>
                        </a:rPr>
                        <a:t> Development Private Limited</a:t>
                      </a:r>
                    </a:p>
                    <a:p>
                      <a:pPr marL="285750" indent="-285750">
                        <a:buFont typeface="Arial" panose="020B0604020202020204" pitchFamily="34" charset="0"/>
                        <a:buChar char="•"/>
                      </a:pPr>
                      <a:r>
                        <a:rPr lang="en-US" sz="1200" baseline="0" dirty="0">
                          <a:solidFill>
                            <a:schemeClr val="bg1"/>
                          </a:solidFill>
                        </a:rPr>
                        <a:t>RP </a:t>
                      </a:r>
                      <a:r>
                        <a:rPr lang="en-US" sz="1200" baseline="0" dirty="0" err="1">
                          <a:solidFill>
                            <a:schemeClr val="bg1"/>
                          </a:solidFill>
                        </a:rPr>
                        <a:t>Techsoft</a:t>
                      </a:r>
                      <a:r>
                        <a:rPr lang="en-US" sz="1200" baseline="0" dirty="0">
                          <a:solidFill>
                            <a:schemeClr val="bg1"/>
                          </a:solidFill>
                        </a:rPr>
                        <a:t> International Pvt. Ltd.</a:t>
                      </a:r>
                    </a:p>
                    <a:p>
                      <a:pPr marL="285750" indent="-285750">
                        <a:buFont typeface="Arial" panose="020B0604020202020204" pitchFamily="34" charset="0"/>
                        <a:buChar char="•"/>
                      </a:pPr>
                      <a:r>
                        <a:rPr lang="en-US" sz="1200" baseline="0" dirty="0">
                          <a:solidFill>
                            <a:schemeClr val="bg1"/>
                          </a:solidFill>
                        </a:rPr>
                        <a:t>HP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451347">
                <a:tc>
                  <a:txBody>
                    <a:bodyPr/>
                    <a:lstStyle/>
                    <a:p>
                      <a:pPr marL="0" indent="0">
                        <a:buFont typeface="+mj-lt"/>
                        <a:buNone/>
                      </a:pPr>
                      <a:r>
                        <a:rPr lang="en-US" sz="1200" dirty="0">
                          <a:solidFill>
                            <a:schemeClr val="bg1"/>
                          </a:solidFill>
                        </a:rPr>
                        <a:t>Citizen</a:t>
                      </a:r>
                      <a:r>
                        <a:rPr lang="en-US" sz="1200" baseline="0" dirty="0">
                          <a:solidFill>
                            <a:schemeClr val="bg1"/>
                          </a:solidFill>
                        </a:rPr>
                        <a:t> Centric application</a:t>
                      </a:r>
                      <a:endParaRPr lang="en-US" sz="1200" b="1"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buFont typeface="Arial" panose="020B0604020202020204" pitchFamily="34" charset="0"/>
                        <a:buChar char="•"/>
                      </a:pPr>
                      <a:r>
                        <a:rPr lang="en-US" sz="1200" dirty="0" err="1">
                          <a:solidFill>
                            <a:schemeClr val="bg1"/>
                          </a:solidFill>
                        </a:rPr>
                        <a:t>Atishay</a:t>
                      </a:r>
                      <a:r>
                        <a:rPr lang="en-US" sz="1200" dirty="0">
                          <a:solidFill>
                            <a:schemeClr val="bg1"/>
                          </a:solidFill>
                        </a:rPr>
                        <a:t> Limited</a:t>
                      </a:r>
                    </a:p>
                    <a:p>
                      <a:pPr marL="342900" indent="-342900">
                        <a:buFont typeface="Arial" panose="020B0604020202020204" pitchFamily="34" charset="0"/>
                        <a:buChar char="•"/>
                      </a:pPr>
                      <a:r>
                        <a:rPr lang="en-US" sz="1200" dirty="0">
                          <a:solidFill>
                            <a:schemeClr val="bg1"/>
                          </a:solidFill>
                        </a:rPr>
                        <a:t>Civic Solution Pvt. Ltd</a:t>
                      </a:r>
                    </a:p>
                    <a:p>
                      <a:pPr marL="342900" indent="-342900">
                        <a:buFont typeface="Arial" panose="020B0604020202020204" pitchFamily="34" charset="0"/>
                        <a:buChar char="•"/>
                      </a:pPr>
                      <a:r>
                        <a:rPr lang="en-US" sz="1200" dirty="0">
                          <a:solidFill>
                            <a:schemeClr val="bg1"/>
                          </a:solidFill>
                        </a:rPr>
                        <a:t>CSDC India</a:t>
                      </a:r>
                    </a:p>
                    <a:p>
                      <a:pPr marL="342900" indent="-342900">
                        <a:buFont typeface="Arial" panose="020B0604020202020204" pitchFamily="34" charset="0"/>
                        <a:buChar char="•"/>
                      </a:pPr>
                      <a:r>
                        <a:rPr lang="en-US" sz="1200" dirty="0" err="1">
                          <a:solidFill>
                            <a:schemeClr val="bg1"/>
                          </a:solidFill>
                        </a:rPr>
                        <a:t>Indusnet</a:t>
                      </a:r>
                      <a:r>
                        <a:rPr lang="en-US" sz="1200" baseline="0" dirty="0">
                          <a:solidFill>
                            <a:schemeClr val="bg1"/>
                          </a:solidFill>
                        </a:rPr>
                        <a:t> Technologies PVT LTD</a:t>
                      </a:r>
                    </a:p>
                    <a:p>
                      <a:pPr marL="342900" indent="-342900">
                        <a:buFont typeface="Arial" panose="020B0604020202020204" pitchFamily="34" charset="0"/>
                        <a:buChar char="•"/>
                      </a:pPr>
                      <a:r>
                        <a:rPr lang="en-US" sz="1200" baseline="0" dirty="0">
                          <a:solidFill>
                            <a:schemeClr val="bg1"/>
                          </a:solidFill>
                        </a:rPr>
                        <a:t>Nippon Data System</a:t>
                      </a:r>
                    </a:p>
                    <a:p>
                      <a:pPr marL="342900" indent="-342900">
                        <a:buFont typeface="Arial" panose="020B0604020202020204" pitchFamily="34" charset="0"/>
                        <a:buChar char="•"/>
                      </a:pPr>
                      <a:r>
                        <a:rPr lang="en-US" sz="1200" baseline="0" dirty="0" err="1">
                          <a:solidFill>
                            <a:schemeClr val="bg1"/>
                          </a:solidFill>
                        </a:rPr>
                        <a:t>Ospyn</a:t>
                      </a:r>
                      <a:r>
                        <a:rPr lang="en-US" sz="1200" baseline="0" dirty="0">
                          <a:solidFill>
                            <a:schemeClr val="bg1"/>
                          </a:solidFill>
                        </a:rPr>
                        <a:t> Technology</a:t>
                      </a:r>
                    </a:p>
                    <a:p>
                      <a:pPr marL="342900" indent="-342900">
                        <a:buFont typeface="Arial" panose="020B0604020202020204" pitchFamily="34" charset="0"/>
                        <a:buChar char="•"/>
                      </a:pPr>
                      <a:r>
                        <a:rPr lang="en-US" sz="1200" baseline="0" dirty="0" err="1">
                          <a:solidFill>
                            <a:schemeClr val="bg1"/>
                          </a:solidFill>
                        </a:rPr>
                        <a:t>Aeris</a:t>
                      </a:r>
                      <a:r>
                        <a:rPr lang="en-US" sz="1200" baseline="0" dirty="0">
                          <a:solidFill>
                            <a:schemeClr val="bg1"/>
                          </a:solidFill>
                        </a:rPr>
                        <a:t> Communication India </a:t>
                      </a:r>
                      <a:r>
                        <a:rPr lang="en-US" sz="1200" baseline="0" dirty="0" err="1">
                          <a:solidFill>
                            <a:schemeClr val="bg1"/>
                          </a:solidFill>
                        </a:rPr>
                        <a:t>Pvt</a:t>
                      </a:r>
                      <a:r>
                        <a:rPr lang="en-US" sz="1200" baseline="0" dirty="0">
                          <a:solidFill>
                            <a:schemeClr val="bg1"/>
                          </a:solidFill>
                        </a:rPr>
                        <a:t> Ltd</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28" name="Freeform 19"/>
          <p:cNvSpPr>
            <a:spLocks noEditPoints="1"/>
          </p:cNvSpPr>
          <p:nvPr/>
        </p:nvSpPr>
        <p:spPr bwMode="auto">
          <a:xfrm>
            <a:off x="568301" y="4715915"/>
            <a:ext cx="855360" cy="35904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100584" tIns="50292" rIns="100584" bIns="50292" numCol="1" anchor="t" anchorCtr="0" compatLnSpc="1">
            <a:prstTxWarp prst="textNoShape">
              <a:avLst/>
            </a:prstTxWarp>
          </a:bodyPr>
          <a:lstStyle/>
          <a:p>
            <a:pPr defTabSz="1005840"/>
            <a:endParaRPr lang="en-GB" sz="1980" dirty="0">
              <a:solidFill>
                <a:prstClr val="white"/>
              </a:solidFill>
            </a:endParaRPr>
          </a:p>
        </p:txBody>
      </p:sp>
      <p:graphicFrame>
        <p:nvGraphicFramePr>
          <p:cNvPr id="17" name="Table 16"/>
          <p:cNvGraphicFramePr>
            <a:graphicFrameLocks noGrp="1"/>
          </p:cNvGraphicFramePr>
          <p:nvPr/>
        </p:nvGraphicFramePr>
        <p:xfrm>
          <a:off x="7616423" y="1646009"/>
          <a:ext cx="4482900" cy="5114789"/>
        </p:xfrm>
        <a:graphic>
          <a:graphicData uri="http://schemas.openxmlformats.org/drawingml/2006/table">
            <a:tbl>
              <a:tblPr firstRow="1" bandRow="1">
                <a:tableStyleId>{F5AB1C69-6EDB-4FF4-983F-18BD219EF322}</a:tableStyleId>
              </a:tblPr>
              <a:tblGrid>
                <a:gridCol w="1299566">
                  <a:extLst>
                    <a:ext uri="{9D8B030D-6E8A-4147-A177-3AD203B41FA5}">
                      <a16:colId xmlns:a16="http://schemas.microsoft.com/office/drawing/2014/main" xmlns="" val="20000"/>
                    </a:ext>
                  </a:extLst>
                </a:gridCol>
                <a:gridCol w="3183334">
                  <a:extLst>
                    <a:ext uri="{9D8B030D-6E8A-4147-A177-3AD203B41FA5}">
                      <a16:colId xmlns:a16="http://schemas.microsoft.com/office/drawing/2014/main" xmlns="" val="20001"/>
                    </a:ext>
                  </a:extLst>
                </a:gridCol>
              </a:tblGrid>
              <a:tr h="54960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rPr>
                        <a:t>Area</a:t>
                      </a:r>
                      <a:endParaRPr kumimoji="0" lang="en-US" sz="1600" b="1" i="0" u="none" strike="noStrike" kern="1200" cap="none" spc="0" normalizeH="0" baseline="0" dirty="0">
                        <a:ln>
                          <a:noFill/>
                        </a:ln>
                        <a:solidFill>
                          <a:schemeClr val="bg1"/>
                        </a:solidFill>
                        <a:effectLst/>
                        <a:uLnTx/>
                        <a:uFillTx/>
                        <a:latin typeface="Calibri Light" panose="020F0302020204030204"/>
                        <a:ea typeface="+mj-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dirty="0">
                          <a:ln>
                            <a:noFill/>
                          </a:ln>
                          <a:solidFill>
                            <a:schemeClr val="bg1"/>
                          </a:solidFill>
                          <a:effectLst/>
                          <a:uLnTx/>
                          <a:uFillTx/>
                        </a:rPr>
                        <a:t>Solution Provider</a:t>
                      </a:r>
                      <a:endParaRPr kumimoji="0" lang="en-US" sz="1600" b="1" i="0" u="none" strike="noStrike" kern="1200" cap="none" spc="0" normalizeH="0" baseline="0" dirty="0">
                        <a:ln>
                          <a:noFill/>
                        </a:ln>
                        <a:solidFill>
                          <a:schemeClr val="bg1"/>
                        </a:solidFill>
                        <a:effectLst/>
                        <a:uLnTx/>
                        <a:uFillTx/>
                        <a:latin typeface="Calibri Light" panose="020F0302020204030204"/>
                        <a:ea typeface="+mj-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556730">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en-US" sz="1200" kern="1200" dirty="0">
                          <a:solidFill>
                            <a:schemeClr val="bg1"/>
                          </a:solidFill>
                          <a:latin typeface="+mn-lt"/>
                          <a:ea typeface="+mn-ea"/>
                          <a:cs typeface="+mn-cs"/>
                        </a:rPr>
                        <a:t> Wi-Fi Hotspots</a:t>
                      </a:r>
                    </a:p>
                    <a:p>
                      <a:pPr marL="0" indent="0">
                        <a:buFont typeface="+mj-lt"/>
                        <a:buNone/>
                      </a:pPr>
                      <a:endParaRPr lang="en-US" sz="1200" kern="1200" dirty="0">
                        <a:solidFill>
                          <a:schemeClr val="bg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101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    </a:t>
                      </a:r>
                      <a:r>
                        <a:rPr lang="en-US" sz="1200" dirty="0" err="1">
                          <a:solidFill>
                            <a:schemeClr val="bg1"/>
                          </a:solidFill>
                        </a:rPr>
                        <a:t>QuadGen</a:t>
                      </a:r>
                      <a:r>
                        <a:rPr lang="en-US" sz="1200" baseline="0" dirty="0">
                          <a:solidFill>
                            <a:schemeClr val="bg1"/>
                          </a:solidFill>
                        </a:rPr>
                        <a:t> Wireless Solutions Pvt. Ltd.</a:t>
                      </a:r>
                      <a:endParaRPr lang="en-US" sz="1200" dirty="0">
                        <a:solidFill>
                          <a:schemeClr val="bg1"/>
                        </a:solidFill>
                      </a:endParaRPr>
                    </a:p>
                    <a:p>
                      <a:pPr marL="0" indent="101600">
                        <a:buFont typeface="Arial" panose="020B0604020202020204" pitchFamily="34" charset="0"/>
                        <a:buChar char="•"/>
                      </a:pPr>
                      <a:endParaRPr lang="en-US" sz="1200" baseline="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002114">
                <a:tc>
                  <a:txBody>
                    <a:bodyPr/>
                    <a:lstStyle/>
                    <a:p>
                      <a:pPr marL="0" indent="0" algn="l" defTabSz="914400" rtl="0" eaLnBrk="1" latinLnBrk="0" hangingPunct="1">
                        <a:buFont typeface="+mj-lt"/>
                        <a:buNone/>
                      </a:pPr>
                      <a:r>
                        <a:rPr lang="en-US" sz="1200" kern="1200" dirty="0">
                          <a:solidFill>
                            <a:schemeClr val="bg1"/>
                          </a:solidFill>
                          <a:latin typeface="+mn-lt"/>
                          <a:ea typeface="+mn-ea"/>
                          <a:cs typeface="+mn-cs"/>
                        </a:rPr>
                        <a:t>CCTV surveillance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err="1">
                          <a:solidFill>
                            <a:schemeClr val="bg1"/>
                          </a:solidFill>
                        </a:rPr>
                        <a:t>Karaat</a:t>
                      </a:r>
                      <a:r>
                        <a:rPr lang="en-US" sz="1200" dirty="0">
                          <a:solidFill>
                            <a:schemeClr val="bg1"/>
                          </a:solidFill>
                        </a:rPr>
                        <a:t> Infrastructure Development Private Limit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bg1"/>
                          </a:solidFill>
                        </a:rPr>
                        <a:t>RP </a:t>
                      </a:r>
                      <a:r>
                        <a:rPr lang="en-US" sz="1200" baseline="0" dirty="0" err="1">
                          <a:solidFill>
                            <a:schemeClr val="bg1"/>
                          </a:solidFill>
                        </a:rPr>
                        <a:t>Techsoft</a:t>
                      </a:r>
                      <a:r>
                        <a:rPr lang="en-US" sz="1200" baseline="0" dirty="0">
                          <a:solidFill>
                            <a:schemeClr val="bg1"/>
                          </a:solidFill>
                        </a:rPr>
                        <a:t> International Pvt. Lt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err="1">
                          <a:solidFill>
                            <a:schemeClr val="bg1"/>
                          </a:solidFill>
                        </a:rPr>
                        <a:t>Lookman</a:t>
                      </a:r>
                      <a:r>
                        <a:rPr lang="en-US" sz="1200" baseline="0" dirty="0">
                          <a:solidFill>
                            <a:schemeClr val="bg1"/>
                          </a:solidFill>
                        </a:rPr>
                        <a:t> </a:t>
                      </a:r>
                      <a:r>
                        <a:rPr lang="en-US" sz="1200" baseline="0" dirty="0" err="1">
                          <a:solidFill>
                            <a:schemeClr val="bg1"/>
                          </a:solidFill>
                        </a:rPr>
                        <a:t>Electroplast</a:t>
                      </a:r>
                      <a:r>
                        <a:rPr lang="en-US" sz="1200" baseline="0" dirty="0">
                          <a:solidFill>
                            <a:schemeClr val="bg1"/>
                          </a:solidFill>
                        </a:rPr>
                        <a:t> Industries Limited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779422">
                <a:tc>
                  <a:txBody>
                    <a:bodyPr/>
                    <a:lstStyle/>
                    <a:p>
                      <a:pPr marL="0" indent="0" algn="l" defTabSz="914400" rtl="0" eaLnBrk="1" latinLnBrk="0" hangingPunct="1">
                        <a:buFont typeface="+mj-lt"/>
                        <a:buNone/>
                      </a:pPr>
                      <a:r>
                        <a:rPr lang="en-US" sz="1200" kern="1200" baseline="0" dirty="0">
                          <a:solidFill>
                            <a:schemeClr val="bg1"/>
                          </a:solidFill>
                          <a:latin typeface="+mn-lt"/>
                          <a:ea typeface="+mn-ea"/>
                          <a:cs typeface="+mn-cs"/>
                        </a:rPr>
                        <a:t>ITM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baseline="0" dirty="0">
                          <a:solidFill>
                            <a:schemeClr val="bg1"/>
                          </a:solidFill>
                        </a:rPr>
                        <a:t>Delhi Integrated Multi-Modal Transit System Ltd.</a:t>
                      </a:r>
                    </a:p>
                    <a:p>
                      <a:pPr marL="285750" indent="-285750">
                        <a:buFont typeface="Arial" panose="020B0604020202020204" pitchFamily="34" charset="0"/>
                        <a:buChar char="•"/>
                      </a:pPr>
                      <a:r>
                        <a:rPr lang="en-US" sz="1200" baseline="0" dirty="0" err="1">
                          <a:solidFill>
                            <a:schemeClr val="bg1"/>
                          </a:solidFill>
                        </a:rPr>
                        <a:t>PowerElectronics</a:t>
                      </a:r>
                      <a:r>
                        <a:rPr lang="en-US" sz="1200" baseline="0" dirty="0">
                          <a:solidFill>
                            <a:schemeClr val="bg1"/>
                          </a:solidFill>
                        </a:rPr>
                        <a: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56730">
                <a:tc>
                  <a:txBody>
                    <a:bodyPr/>
                    <a:lstStyle/>
                    <a:p>
                      <a:pPr marL="0" indent="0">
                        <a:buFont typeface="+mj-lt"/>
                        <a:buNone/>
                      </a:pPr>
                      <a:r>
                        <a:rPr lang="en-US" sz="1200" kern="1200" baseline="0" dirty="0">
                          <a:solidFill>
                            <a:schemeClr val="bg1"/>
                          </a:solidFill>
                          <a:latin typeface="+mn-lt"/>
                          <a:ea typeface="+mn-ea"/>
                          <a:cs typeface="+mn-cs"/>
                        </a:rPr>
                        <a:t>Smart Pole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a:solidFill>
                            <a:schemeClr val="bg1"/>
                          </a:solidFill>
                        </a:rPr>
                        <a:t>Nokia</a:t>
                      </a:r>
                    </a:p>
                    <a:p>
                      <a:pPr marL="285750" indent="-285750">
                        <a:buFont typeface="Arial" panose="020B0604020202020204" pitchFamily="34" charset="0"/>
                        <a:buChar char="•"/>
                      </a:pPr>
                      <a:r>
                        <a:rPr lang="en-US" sz="1200" dirty="0">
                          <a:solidFill>
                            <a:schemeClr val="bg1"/>
                          </a:solidFill>
                        </a:rPr>
                        <a:t>Recon Group</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556730">
                <a:tc>
                  <a:txBody>
                    <a:bodyPr/>
                    <a:lstStyle/>
                    <a:p>
                      <a:pPr marL="0" marR="0" indent="0" algn="l" defTabSz="914400" rtl="0" eaLnBrk="1" latinLnBrk="0" hangingPunct="1">
                        <a:spcBef>
                          <a:spcPts val="0"/>
                        </a:spcBef>
                        <a:spcAft>
                          <a:spcPts val="0"/>
                        </a:spcAft>
                        <a:buFont typeface="+mj-lt"/>
                        <a:buNone/>
                      </a:pPr>
                      <a:r>
                        <a:rPr lang="en-US" sz="1200" kern="1200" dirty="0">
                          <a:solidFill>
                            <a:schemeClr val="bg1"/>
                          </a:solidFill>
                          <a:latin typeface="+mn-lt"/>
                          <a:ea typeface="+mn-ea"/>
                          <a:cs typeface="+mn-cs"/>
                        </a:rPr>
                        <a:t>GIS </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200" dirty="0" err="1">
                          <a:solidFill>
                            <a:schemeClr val="bg1"/>
                          </a:solidFill>
                        </a:rPr>
                        <a:t>Integraph</a:t>
                      </a:r>
                      <a:r>
                        <a:rPr lang="en-US" sz="1200" baseline="0" dirty="0">
                          <a:solidFill>
                            <a:schemeClr val="bg1"/>
                          </a:solidFill>
                        </a:rPr>
                        <a:t> SG&amp;I India </a:t>
                      </a:r>
                      <a:r>
                        <a:rPr lang="en-US" sz="1200" baseline="0" dirty="0" err="1">
                          <a:solidFill>
                            <a:schemeClr val="bg1"/>
                          </a:solidFill>
                        </a:rPr>
                        <a:t>Pvt</a:t>
                      </a:r>
                      <a:r>
                        <a:rPr lang="en-US" sz="1200" baseline="0" dirty="0">
                          <a:solidFill>
                            <a:schemeClr val="bg1"/>
                          </a:solidFill>
                        </a:rPr>
                        <a:t> Ltd</a:t>
                      </a:r>
                    </a:p>
                    <a:p>
                      <a:pPr marL="285750" indent="-285750">
                        <a:buFont typeface="Arial" panose="020B0604020202020204" pitchFamily="34" charset="0"/>
                        <a:buChar char="•"/>
                      </a:pPr>
                      <a:r>
                        <a:rPr lang="en-US" sz="1200" baseline="0" dirty="0" err="1">
                          <a:solidFill>
                            <a:schemeClr val="bg1"/>
                          </a:solidFill>
                        </a:rPr>
                        <a:t>Geovista</a:t>
                      </a:r>
                      <a:r>
                        <a:rPr lang="en-US" sz="1200" baseline="0" dirty="0">
                          <a:solidFill>
                            <a:schemeClr val="bg1"/>
                          </a:solidFill>
                        </a:rPr>
                        <a:t> Technologies Private Limited</a:t>
                      </a:r>
                      <a:endParaRPr lang="en-US" sz="1200" dirty="0">
                        <a:solidFill>
                          <a:schemeClr val="bg1"/>
                        </a:solidFill>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556730">
                <a:tc>
                  <a:txBody>
                    <a:bodyPr/>
                    <a:lstStyle/>
                    <a:p>
                      <a:pPr marL="0" indent="0">
                        <a:buFont typeface="+mj-lt"/>
                        <a:buNone/>
                      </a:pPr>
                      <a:r>
                        <a:rPr lang="en-US" sz="1200" kern="1200" dirty="0">
                          <a:solidFill>
                            <a:schemeClr val="bg1"/>
                          </a:solidFill>
                          <a:latin typeface="+mn-lt"/>
                          <a:ea typeface="+mn-ea"/>
                          <a:cs typeface="+mn-cs"/>
                        </a:rPr>
                        <a:t>OEM Aggregator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baseline="0" dirty="0">
                          <a:solidFill>
                            <a:schemeClr val="bg1"/>
                          </a:solidFill>
                        </a:rPr>
                        <a:t>   </a:t>
                      </a:r>
                      <a:r>
                        <a:rPr lang="en-US" sz="1200" baseline="0" dirty="0" err="1">
                          <a:solidFill>
                            <a:schemeClr val="bg1"/>
                          </a:solidFill>
                        </a:rPr>
                        <a:t>Inspira</a:t>
                      </a:r>
                      <a:r>
                        <a:rPr lang="en-US" sz="1200" baseline="0" dirty="0">
                          <a:solidFill>
                            <a:schemeClr val="bg1"/>
                          </a:solidFill>
                        </a:rPr>
                        <a:t> </a:t>
                      </a:r>
                    </a:p>
                    <a:p>
                      <a:pPr marL="171450" indent="-171450">
                        <a:buFont typeface="Arial" panose="020B0604020202020204" pitchFamily="34" charset="0"/>
                        <a:buChar char="•"/>
                      </a:pPr>
                      <a:r>
                        <a:rPr lang="en-US" sz="1200" baseline="0" dirty="0">
                          <a:solidFill>
                            <a:schemeClr val="bg1"/>
                          </a:solidFill>
                        </a:rPr>
                        <a:t>   </a:t>
                      </a:r>
                      <a:r>
                        <a:rPr lang="en-US" sz="1200" baseline="0" dirty="0" err="1">
                          <a:solidFill>
                            <a:schemeClr val="bg1"/>
                          </a:solidFill>
                        </a:rPr>
                        <a:t>Integre</a:t>
                      </a:r>
                      <a:r>
                        <a:rPr lang="en-US" sz="1200" baseline="0" dirty="0">
                          <a:solidFill>
                            <a:schemeClr val="bg1"/>
                          </a:solidFill>
                        </a:rPr>
                        <a:t> solutions</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556730">
                <a:tc>
                  <a:txBody>
                    <a:bodyPr/>
                    <a:lstStyle/>
                    <a:p>
                      <a:pPr marL="0" indent="0">
                        <a:buFont typeface="+mj-lt"/>
                        <a:buNone/>
                      </a:pPr>
                      <a:r>
                        <a:rPr lang="en-US" sz="1200" kern="1200" baseline="0" dirty="0">
                          <a:solidFill>
                            <a:schemeClr val="bg1"/>
                          </a:solidFill>
                          <a:latin typeface="+mn-lt"/>
                          <a:ea typeface="+mn-ea"/>
                          <a:cs typeface="+mn-cs"/>
                        </a:rPr>
                        <a:t>IOT </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buFont typeface="Arial" panose="020B0604020202020204" pitchFamily="34" charset="0"/>
                        <a:buChar char="•"/>
                      </a:pPr>
                      <a:r>
                        <a:rPr lang="en-US" sz="1200" dirty="0">
                          <a:solidFill>
                            <a:schemeClr val="bg1"/>
                          </a:solidFill>
                        </a:rPr>
                        <a:t>   Virgo</a:t>
                      </a:r>
                    </a:p>
                    <a:p>
                      <a:pPr marL="171450" indent="-171450">
                        <a:buFont typeface="Arial" panose="020B0604020202020204" pitchFamily="34" charset="0"/>
                        <a:buChar char="•"/>
                      </a:pPr>
                      <a:r>
                        <a:rPr lang="en-US" sz="1200" dirty="0">
                          <a:solidFill>
                            <a:schemeClr val="bg1"/>
                          </a:solidFill>
                        </a:rPr>
                        <a:t>   Ishan InfoTech</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bl>
          </a:graphicData>
        </a:graphic>
      </p:graphicFrame>
    </p:spTree>
    <p:extLst>
      <p:ext uri="{BB962C8B-B14F-4D97-AF65-F5344CB8AC3E}">
        <p14:creationId xmlns:p14="http://schemas.microsoft.com/office/powerpoint/2010/main" val="34245907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xmlns="" id="{5B411F5A-D448-49A4-8976-C7591651B70E}"/>
              </a:ext>
            </a:extLst>
          </p:cNvPr>
          <p:cNvGrpSpPr/>
          <p:nvPr/>
        </p:nvGrpSpPr>
        <p:grpSpPr>
          <a:xfrm>
            <a:off x="2" y="-12701"/>
            <a:ext cx="15080872" cy="7252292"/>
            <a:chOff x="2" y="-12701"/>
            <a:chExt cx="15080872" cy="7252292"/>
          </a:xfrm>
        </p:grpSpPr>
        <p:sp>
          <p:nvSpPr>
            <p:cNvPr id="4" name="object 3">
              <a:extLst>
                <a:ext uri="{FF2B5EF4-FFF2-40B4-BE49-F238E27FC236}">
                  <a16:creationId xmlns:a16="http://schemas.microsoft.com/office/drawing/2014/main" xmlns="" id="{9162F6CB-0D6B-4488-B4E7-5A2B6304CBC1}"/>
                </a:ext>
              </a:extLst>
            </p:cNvPr>
            <p:cNvSpPr/>
            <p:nvPr/>
          </p:nvSpPr>
          <p:spPr>
            <a:xfrm>
              <a:off x="3510116" y="-12701"/>
              <a:ext cx="11570758" cy="6870700"/>
            </a:xfrm>
            <a:custGeom>
              <a:avLst/>
              <a:gdLst/>
              <a:ahLst/>
              <a:cxnLst/>
              <a:rect l="l" t="t" r="r" b="b"/>
              <a:pathLst>
                <a:path w="1742046" h="7772400">
                  <a:moveTo>
                    <a:pt x="0" y="7772400"/>
                  </a:moveTo>
                  <a:lnTo>
                    <a:pt x="1742046" y="7772400"/>
                  </a:lnTo>
                  <a:lnTo>
                    <a:pt x="1742046" y="0"/>
                  </a:lnTo>
                  <a:lnTo>
                    <a:pt x="0" y="0"/>
                  </a:lnTo>
                  <a:lnTo>
                    <a:pt x="0" y="7772400"/>
                  </a:lnTo>
                  <a:close/>
                </a:path>
              </a:pathLst>
            </a:custGeom>
            <a:blipFill>
              <a:blip r:embed="rId2" cstate="print"/>
              <a:srcRect/>
              <a:stretch>
                <a:fillRect t="-3069" b="-3069"/>
              </a:stretch>
            </a:blipFill>
          </p:spPr>
          <p:txBody>
            <a:bodyPr wrap="square" lIns="0" tIns="0" rIns="0" bIns="0" rtlCol="0">
              <a:noAutofit/>
            </a:bodyPr>
            <a:lstStyle/>
            <a:p>
              <a:pPr>
                <a:defRPr/>
              </a:pPr>
              <a:endParaRPr lang="en-US" dirty="0">
                <a:solidFill>
                  <a:srgbClr val="000000"/>
                </a:solidFill>
              </a:endParaRPr>
            </a:p>
          </p:txBody>
        </p:sp>
        <p:sp>
          <p:nvSpPr>
            <p:cNvPr id="5" name="object 3">
              <a:extLst>
                <a:ext uri="{FF2B5EF4-FFF2-40B4-BE49-F238E27FC236}">
                  <a16:creationId xmlns:a16="http://schemas.microsoft.com/office/drawing/2014/main" xmlns="" id="{95E89182-396E-4FF1-A6D8-0D013DD6F8B9}"/>
                </a:ext>
              </a:extLst>
            </p:cNvPr>
            <p:cNvSpPr/>
            <p:nvPr/>
          </p:nvSpPr>
          <p:spPr>
            <a:xfrm>
              <a:off x="2" y="0"/>
              <a:ext cx="12191998" cy="7239591"/>
            </a:xfrm>
            <a:custGeom>
              <a:avLst/>
              <a:gdLst/>
              <a:ahLst/>
              <a:cxnLst/>
              <a:rect l="l" t="t" r="r" b="b"/>
              <a:pathLst>
                <a:path w="1742046" h="7772400">
                  <a:moveTo>
                    <a:pt x="0" y="7772400"/>
                  </a:moveTo>
                  <a:lnTo>
                    <a:pt x="1742046" y="7772400"/>
                  </a:lnTo>
                  <a:lnTo>
                    <a:pt x="1742046" y="0"/>
                  </a:lnTo>
                  <a:lnTo>
                    <a:pt x="0" y="0"/>
                  </a:lnTo>
                  <a:lnTo>
                    <a:pt x="0" y="7772400"/>
                  </a:lnTo>
                  <a:close/>
                </a:path>
              </a:pathLst>
            </a:custGeom>
            <a:gradFill>
              <a:gsLst>
                <a:gs pos="19000">
                  <a:schemeClr val="bg1">
                    <a:alpha val="0"/>
                  </a:schemeClr>
                </a:gs>
                <a:gs pos="68000">
                  <a:schemeClr val="bg1"/>
                </a:gs>
              </a:gsLst>
              <a:lin ang="10800000" scaled="0"/>
            </a:gradFill>
          </p:spPr>
          <p:txBody>
            <a:bodyPr wrap="square" lIns="0" tIns="0" rIns="0" bIns="0" rtlCol="0">
              <a:noAutofit/>
            </a:bodyPr>
            <a:lstStyle/>
            <a:p>
              <a:pPr>
                <a:defRPr/>
              </a:pPr>
              <a:endParaRPr lang="en-US" dirty="0">
                <a:solidFill>
                  <a:srgbClr val="000000"/>
                </a:solidFill>
              </a:endParaRPr>
            </a:p>
          </p:txBody>
        </p:sp>
      </p:grpSp>
      <p:sp>
        <p:nvSpPr>
          <p:cNvPr id="9" name="btm">
            <a:extLst>
              <a:ext uri="{FF2B5EF4-FFF2-40B4-BE49-F238E27FC236}">
                <a16:creationId xmlns:a16="http://schemas.microsoft.com/office/drawing/2014/main" xmlns="" id="{258F4353-69D0-4FCC-A3B6-F02E2535E471}"/>
              </a:ext>
            </a:extLst>
          </p:cNvPr>
          <p:cNvSpPr/>
          <p:nvPr/>
        </p:nvSpPr>
        <p:spPr>
          <a:xfrm>
            <a:off x="126" y="-1"/>
            <a:ext cx="9291358" cy="6870699"/>
          </a:xfrm>
          <a:prstGeom prst="rect">
            <a:avLst/>
          </a:prstGeom>
          <a:solidFill>
            <a:srgbClr val="0091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 name="mid">
            <a:extLst>
              <a:ext uri="{FF2B5EF4-FFF2-40B4-BE49-F238E27FC236}">
                <a16:creationId xmlns:a16="http://schemas.microsoft.com/office/drawing/2014/main" xmlns="" id="{7E740517-B7D9-4085-B33A-472C8825D633}"/>
              </a:ext>
            </a:extLst>
          </p:cNvPr>
          <p:cNvSpPr/>
          <p:nvPr/>
        </p:nvSpPr>
        <p:spPr>
          <a:xfrm>
            <a:off x="126" y="-1"/>
            <a:ext cx="9291358" cy="6870699"/>
          </a:xfrm>
          <a:prstGeom prst="rect">
            <a:avLst/>
          </a:prstGeom>
          <a:solidFill>
            <a:srgbClr val="005EB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 name="top">
            <a:extLst>
              <a:ext uri="{FF2B5EF4-FFF2-40B4-BE49-F238E27FC236}">
                <a16:creationId xmlns:a16="http://schemas.microsoft.com/office/drawing/2014/main" xmlns="" id="{515F1078-0928-48E1-9236-CC5C686E0CA1}"/>
              </a:ext>
            </a:extLst>
          </p:cNvPr>
          <p:cNvSpPr/>
          <p:nvPr/>
        </p:nvSpPr>
        <p:spPr>
          <a:xfrm>
            <a:off x="0" y="-25400"/>
            <a:ext cx="9291358" cy="68706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2" name="Title 1">
            <a:extLst>
              <a:ext uri="{FF2B5EF4-FFF2-40B4-BE49-F238E27FC236}">
                <a16:creationId xmlns:a16="http://schemas.microsoft.com/office/drawing/2014/main" xmlns="" id="{698CFA9A-C2C0-4F2F-8D7B-F871FDCDA71C}"/>
              </a:ext>
            </a:extLst>
          </p:cNvPr>
          <p:cNvSpPr>
            <a:spLocks noGrp="1"/>
          </p:cNvSpPr>
          <p:nvPr>
            <p:ph type="title"/>
          </p:nvPr>
        </p:nvSpPr>
        <p:spPr/>
        <p:txBody>
          <a:bodyPr/>
          <a:lstStyle/>
          <a:p>
            <a:r>
              <a:rPr lang="en-US" dirty="0">
                <a:solidFill>
                  <a:schemeClr val="bg1"/>
                </a:solidFill>
                <a:latin typeface="+mn-lt"/>
              </a:rPr>
              <a:t>Contents</a:t>
            </a:r>
          </a:p>
        </p:txBody>
      </p:sp>
      <p:sp>
        <p:nvSpPr>
          <p:cNvPr id="91" name="behind">
            <a:extLst>
              <a:ext uri="{FF2B5EF4-FFF2-40B4-BE49-F238E27FC236}">
                <a16:creationId xmlns:a16="http://schemas.microsoft.com/office/drawing/2014/main" xmlns="" id="{DF36A78D-E2F6-4B29-A69E-AB0509953754}"/>
              </a:ext>
            </a:extLst>
          </p:cNvPr>
          <p:cNvSpPr/>
          <p:nvPr/>
        </p:nvSpPr>
        <p:spPr>
          <a:xfrm>
            <a:off x="995364" y="3242470"/>
            <a:ext cx="797117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3" name="behind">
            <a:extLst>
              <a:ext uri="{FF2B5EF4-FFF2-40B4-BE49-F238E27FC236}">
                <a16:creationId xmlns:a16="http://schemas.microsoft.com/office/drawing/2014/main" xmlns="" id="{630D6E81-2BE2-47C0-85E8-5D039238C243}"/>
              </a:ext>
            </a:extLst>
          </p:cNvPr>
          <p:cNvSpPr/>
          <p:nvPr/>
        </p:nvSpPr>
        <p:spPr>
          <a:xfrm>
            <a:off x="995364" y="2284810"/>
            <a:ext cx="797117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4" name="behind">
            <a:extLst>
              <a:ext uri="{FF2B5EF4-FFF2-40B4-BE49-F238E27FC236}">
                <a16:creationId xmlns:a16="http://schemas.microsoft.com/office/drawing/2014/main" xmlns="" id="{38A877C1-DFD2-4C65-95CF-7836E459D0F3}"/>
              </a:ext>
            </a:extLst>
          </p:cNvPr>
          <p:cNvSpPr/>
          <p:nvPr/>
        </p:nvSpPr>
        <p:spPr>
          <a:xfrm>
            <a:off x="995364" y="1327151"/>
            <a:ext cx="797117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5" name="btm">
            <a:extLst>
              <a:ext uri="{FF2B5EF4-FFF2-40B4-BE49-F238E27FC236}">
                <a16:creationId xmlns:a16="http://schemas.microsoft.com/office/drawing/2014/main" xmlns="" id="{EFB67B45-E8F5-48C2-A9D1-B9196ADAC9D5}"/>
              </a:ext>
            </a:extLst>
          </p:cNvPr>
          <p:cNvSpPr/>
          <p:nvPr/>
        </p:nvSpPr>
        <p:spPr>
          <a:xfrm>
            <a:off x="1000217" y="132715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8" name="mid">
            <a:extLst>
              <a:ext uri="{FF2B5EF4-FFF2-40B4-BE49-F238E27FC236}">
                <a16:creationId xmlns:a16="http://schemas.microsoft.com/office/drawing/2014/main" xmlns="" id="{875C7394-5D94-494E-9600-D61E780D8E05}"/>
              </a:ext>
            </a:extLst>
          </p:cNvPr>
          <p:cNvSpPr/>
          <p:nvPr/>
        </p:nvSpPr>
        <p:spPr>
          <a:xfrm>
            <a:off x="1000217" y="132715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8" name="top">
            <a:extLst>
              <a:ext uri="{FF2B5EF4-FFF2-40B4-BE49-F238E27FC236}">
                <a16:creationId xmlns:a16="http://schemas.microsoft.com/office/drawing/2014/main" xmlns="" id="{7FAB2439-8C50-40AE-A948-32CCF8113F35}"/>
              </a:ext>
            </a:extLst>
          </p:cNvPr>
          <p:cNvSpPr/>
          <p:nvPr/>
        </p:nvSpPr>
        <p:spPr>
          <a:xfrm>
            <a:off x="1000217" y="132715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36" name="Group 135">
            <a:extLst>
              <a:ext uri="{FF2B5EF4-FFF2-40B4-BE49-F238E27FC236}">
                <a16:creationId xmlns:a16="http://schemas.microsoft.com/office/drawing/2014/main" xmlns="" id="{3E9DE34F-48C0-4B54-97BC-AE313EE9ECA2}"/>
              </a:ext>
            </a:extLst>
          </p:cNvPr>
          <p:cNvGrpSpPr/>
          <p:nvPr/>
        </p:nvGrpSpPr>
        <p:grpSpPr>
          <a:xfrm rot="16200000">
            <a:off x="1822844" y="1509886"/>
            <a:ext cx="139699" cy="354528"/>
            <a:chOff x="2254038" y="2460248"/>
            <a:chExt cx="139699" cy="354528"/>
          </a:xfrm>
        </p:grpSpPr>
        <p:sp>
          <p:nvSpPr>
            <p:cNvPr id="137" name="Oval 136">
              <a:extLst>
                <a:ext uri="{FF2B5EF4-FFF2-40B4-BE49-F238E27FC236}">
                  <a16:creationId xmlns:a16="http://schemas.microsoft.com/office/drawing/2014/main" xmlns="" id="{39A78A29-7B90-4A10-8B9F-54F4F13192E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38" name="Straight Connector 137">
              <a:extLst>
                <a:ext uri="{FF2B5EF4-FFF2-40B4-BE49-F238E27FC236}">
                  <a16:creationId xmlns:a16="http://schemas.microsoft.com/office/drawing/2014/main" xmlns="" id="{DF080A14-F49A-47F6-93FF-6FAF479C74C0}"/>
                </a:ext>
              </a:extLst>
            </p:cNvPr>
            <p:cNvCxnSpPr>
              <a:cxnSpLocks/>
              <a:endCxn id="137"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9" name="btm">
            <a:extLst>
              <a:ext uri="{FF2B5EF4-FFF2-40B4-BE49-F238E27FC236}">
                <a16:creationId xmlns:a16="http://schemas.microsoft.com/office/drawing/2014/main" xmlns="" id="{3D9426FC-7F3A-4AF3-934E-577759843097}"/>
              </a:ext>
            </a:extLst>
          </p:cNvPr>
          <p:cNvSpPr/>
          <p:nvPr/>
        </p:nvSpPr>
        <p:spPr>
          <a:xfrm>
            <a:off x="1000217" y="228481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0" name="mid">
            <a:extLst>
              <a:ext uri="{FF2B5EF4-FFF2-40B4-BE49-F238E27FC236}">
                <a16:creationId xmlns:a16="http://schemas.microsoft.com/office/drawing/2014/main" xmlns="" id="{5D5E5DFE-A053-48A1-930F-F4EA5E1DEA35}"/>
              </a:ext>
            </a:extLst>
          </p:cNvPr>
          <p:cNvSpPr/>
          <p:nvPr/>
        </p:nvSpPr>
        <p:spPr>
          <a:xfrm>
            <a:off x="1000217" y="228481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1" name="top">
            <a:extLst>
              <a:ext uri="{FF2B5EF4-FFF2-40B4-BE49-F238E27FC236}">
                <a16:creationId xmlns:a16="http://schemas.microsoft.com/office/drawing/2014/main" xmlns="" id="{7D64B38E-96B0-4FA6-8FE6-3EE242FF6902}"/>
              </a:ext>
            </a:extLst>
          </p:cNvPr>
          <p:cNvSpPr/>
          <p:nvPr/>
        </p:nvSpPr>
        <p:spPr>
          <a:xfrm>
            <a:off x="1000217" y="228481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2" name="Group 141">
            <a:extLst>
              <a:ext uri="{FF2B5EF4-FFF2-40B4-BE49-F238E27FC236}">
                <a16:creationId xmlns:a16="http://schemas.microsoft.com/office/drawing/2014/main" xmlns="" id="{80283B8D-7AA9-4FC4-B428-85F935C50FD3}"/>
              </a:ext>
            </a:extLst>
          </p:cNvPr>
          <p:cNvGrpSpPr/>
          <p:nvPr/>
        </p:nvGrpSpPr>
        <p:grpSpPr>
          <a:xfrm rot="16200000">
            <a:off x="1822844" y="2467546"/>
            <a:ext cx="139699" cy="354528"/>
            <a:chOff x="2254038" y="2460248"/>
            <a:chExt cx="139699" cy="354528"/>
          </a:xfrm>
        </p:grpSpPr>
        <p:sp>
          <p:nvSpPr>
            <p:cNvPr id="143" name="Oval 142">
              <a:extLst>
                <a:ext uri="{FF2B5EF4-FFF2-40B4-BE49-F238E27FC236}">
                  <a16:creationId xmlns:a16="http://schemas.microsoft.com/office/drawing/2014/main" xmlns="" id="{DED32DDA-649F-4800-8A4F-20D8D3983C8F}"/>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44" name="Straight Connector 143">
              <a:extLst>
                <a:ext uri="{FF2B5EF4-FFF2-40B4-BE49-F238E27FC236}">
                  <a16:creationId xmlns:a16="http://schemas.microsoft.com/office/drawing/2014/main" xmlns="" id="{930369A5-96F7-4B0C-97B6-EB3DA96799F1}"/>
                </a:ext>
              </a:extLst>
            </p:cNvPr>
            <p:cNvCxnSpPr>
              <a:cxnSpLocks/>
              <a:endCxn id="143"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5" name="btm">
            <a:extLst>
              <a:ext uri="{FF2B5EF4-FFF2-40B4-BE49-F238E27FC236}">
                <a16:creationId xmlns:a16="http://schemas.microsoft.com/office/drawing/2014/main" xmlns="" id="{F5EAED76-FE9C-419F-A80B-B8D8C023C299}"/>
              </a:ext>
            </a:extLst>
          </p:cNvPr>
          <p:cNvSpPr/>
          <p:nvPr/>
        </p:nvSpPr>
        <p:spPr>
          <a:xfrm>
            <a:off x="1000217" y="324247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6" name="mid">
            <a:extLst>
              <a:ext uri="{FF2B5EF4-FFF2-40B4-BE49-F238E27FC236}">
                <a16:creationId xmlns:a16="http://schemas.microsoft.com/office/drawing/2014/main" xmlns="" id="{8F04F46A-88BA-4D80-AD3E-2F82C572D0F5}"/>
              </a:ext>
            </a:extLst>
          </p:cNvPr>
          <p:cNvSpPr/>
          <p:nvPr/>
        </p:nvSpPr>
        <p:spPr>
          <a:xfrm>
            <a:off x="1000217" y="324247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7" name="top">
            <a:extLst>
              <a:ext uri="{FF2B5EF4-FFF2-40B4-BE49-F238E27FC236}">
                <a16:creationId xmlns:a16="http://schemas.microsoft.com/office/drawing/2014/main" xmlns="" id="{30F2623D-EC59-4984-BF79-E3E7A43DC87A}"/>
              </a:ext>
            </a:extLst>
          </p:cNvPr>
          <p:cNvSpPr/>
          <p:nvPr/>
        </p:nvSpPr>
        <p:spPr>
          <a:xfrm>
            <a:off x="1000217" y="324247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8" name="Group 147">
            <a:extLst>
              <a:ext uri="{FF2B5EF4-FFF2-40B4-BE49-F238E27FC236}">
                <a16:creationId xmlns:a16="http://schemas.microsoft.com/office/drawing/2014/main" xmlns="" id="{D7CD37BE-7D3A-4673-BAB2-01FAECBC50EB}"/>
              </a:ext>
            </a:extLst>
          </p:cNvPr>
          <p:cNvGrpSpPr/>
          <p:nvPr/>
        </p:nvGrpSpPr>
        <p:grpSpPr>
          <a:xfrm rot="16200000">
            <a:off x="1822844" y="3425206"/>
            <a:ext cx="139699" cy="354528"/>
            <a:chOff x="2254038" y="2460248"/>
            <a:chExt cx="139699" cy="354528"/>
          </a:xfrm>
        </p:grpSpPr>
        <p:sp>
          <p:nvSpPr>
            <p:cNvPr id="149" name="Oval 148">
              <a:extLst>
                <a:ext uri="{FF2B5EF4-FFF2-40B4-BE49-F238E27FC236}">
                  <a16:creationId xmlns:a16="http://schemas.microsoft.com/office/drawing/2014/main" xmlns="" id="{7ADA7C6A-3FCD-4C87-9FBC-AE5243DE0DC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50" name="Straight Connector 149">
              <a:extLst>
                <a:ext uri="{FF2B5EF4-FFF2-40B4-BE49-F238E27FC236}">
                  <a16:creationId xmlns:a16="http://schemas.microsoft.com/office/drawing/2014/main" xmlns="" id="{6D5C0A6B-69BD-4762-A78A-8329266D123A}"/>
                </a:ext>
              </a:extLst>
            </p:cNvPr>
            <p:cNvCxnSpPr>
              <a:cxnSpLocks/>
              <a:endCxn id="149"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7" name="Rectangle 156">
            <a:extLst>
              <a:ext uri="{FF2B5EF4-FFF2-40B4-BE49-F238E27FC236}">
                <a16:creationId xmlns:a16="http://schemas.microsoft.com/office/drawing/2014/main" xmlns="" id="{D8F5E8CD-801A-4946-B69C-AEA549227958}"/>
              </a:ext>
            </a:extLst>
          </p:cNvPr>
          <p:cNvSpPr/>
          <p:nvPr/>
        </p:nvSpPr>
        <p:spPr>
          <a:xfrm>
            <a:off x="2346018" y="1337628"/>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Smart Cities: Indian Perspective</a:t>
            </a:r>
          </a:p>
        </p:txBody>
      </p:sp>
      <p:sp>
        <p:nvSpPr>
          <p:cNvPr id="158" name="Rectangle 157">
            <a:extLst>
              <a:ext uri="{FF2B5EF4-FFF2-40B4-BE49-F238E27FC236}">
                <a16:creationId xmlns:a16="http://schemas.microsoft.com/office/drawing/2014/main" xmlns="" id="{315A2CB8-45FD-45C6-B28C-550592367137}"/>
              </a:ext>
            </a:extLst>
          </p:cNvPr>
          <p:cNvSpPr/>
          <p:nvPr/>
        </p:nvSpPr>
        <p:spPr>
          <a:xfrm>
            <a:off x="2346018" y="2295800"/>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BSNL Service Offerings</a:t>
            </a:r>
          </a:p>
        </p:txBody>
      </p:sp>
      <p:sp>
        <p:nvSpPr>
          <p:cNvPr id="159" name="Rectangle 158">
            <a:extLst>
              <a:ext uri="{FF2B5EF4-FFF2-40B4-BE49-F238E27FC236}">
                <a16:creationId xmlns:a16="http://schemas.microsoft.com/office/drawing/2014/main" xmlns="" id="{FCF6569A-3289-4322-BC07-868145723ECC}"/>
              </a:ext>
            </a:extLst>
          </p:cNvPr>
          <p:cNvSpPr/>
          <p:nvPr/>
        </p:nvSpPr>
        <p:spPr>
          <a:xfrm>
            <a:off x="2346018" y="3253972"/>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Our Credentials &amp; Case Studies </a:t>
            </a:r>
          </a:p>
        </p:txBody>
      </p:sp>
      <p:grpSp>
        <p:nvGrpSpPr>
          <p:cNvPr id="161" name="Group 160">
            <a:extLst>
              <a:ext uri="{FF2B5EF4-FFF2-40B4-BE49-F238E27FC236}">
                <a16:creationId xmlns:a16="http://schemas.microsoft.com/office/drawing/2014/main" xmlns="" id="{829CC928-9FEA-4443-BB27-CAB50BE692A7}"/>
              </a:ext>
            </a:extLst>
          </p:cNvPr>
          <p:cNvGrpSpPr/>
          <p:nvPr/>
        </p:nvGrpSpPr>
        <p:grpSpPr>
          <a:xfrm rot="5400000">
            <a:off x="8606279" y="1655153"/>
            <a:ext cx="720000" cy="67170"/>
            <a:chOff x="2073000" y="5843597"/>
            <a:chExt cx="720000" cy="67170"/>
          </a:xfrm>
          <a:solidFill>
            <a:schemeClr val="bg1"/>
          </a:solidFill>
        </p:grpSpPr>
        <p:cxnSp>
          <p:nvCxnSpPr>
            <p:cNvPr id="162" name="Straight Connector 161">
              <a:extLst>
                <a:ext uri="{FF2B5EF4-FFF2-40B4-BE49-F238E27FC236}">
                  <a16:creationId xmlns:a16="http://schemas.microsoft.com/office/drawing/2014/main" xmlns="" id="{03875840-D076-4D9F-B4F2-6ABE5FD23878}"/>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xmlns="" id="{FA1334BB-F7CA-4719-B94B-AB9FA2BB802B}"/>
                </a:ext>
              </a:extLst>
            </p:cNvPr>
            <p:cNvSpPr/>
            <p:nvPr/>
          </p:nvSpPr>
          <p:spPr>
            <a:xfrm>
              <a:off x="2399415" y="5843597"/>
              <a:ext cx="67170" cy="67170"/>
            </a:xfrm>
            <a:prstGeom prst="ellipse">
              <a:avLst/>
            </a:prstGeom>
            <a:solidFill>
              <a:schemeClr val="accent3"/>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cxnSp>
        <p:nvCxnSpPr>
          <p:cNvPr id="164" name="Straight Connector 163">
            <a:extLst>
              <a:ext uri="{FF2B5EF4-FFF2-40B4-BE49-F238E27FC236}">
                <a16:creationId xmlns:a16="http://schemas.microsoft.com/office/drawing/2014/main" xmlns="" id="{E0D20DF4-9FA3-4757-AC69-FDB4960BDB41}"/>
              </a:ext>
            </a:extLst>
          </p:cNvPr>
          <p:cNvCxnSpPr>
            <a:cxnSpLocks/>
          </p:cNvCxnSpPr>
          <p:nvPr/>
        </p:nvCxnSpPr>
        <p:spPr>
          <a:xfrm>
            <a:off x="5685934" y="1687611"/>
            <a:ext cx="329184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xmlns="" id="{9BC4B4E3-F3EC-42CE-99FA-5C542314531D}"/>
              </a:ext>
            </a:extLst>
          </p:cNvPr>
          <p:cNvCxnSpPr>
            <a:cxnSpLocks/>
          </p:cNvCxnSpPr>
          <p:nvPr/>
        </p:nvCxnSpPr>
        <p:spPr>
          <a:xfrm>
            <a:off x="4863544" y="2642097"/>
            <a:ext cx="411480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xmlns="" id="{EE1D3E24-9608-4242-8194-21C52925F6DF}"/>
              </a:ext>
            </a:extLst>
          </p:cNvPr>
          <p:cNvCxnSpPr>
            <a:cxnSpLocks/>
          </p:cNvCxnSpPr>
          <p:nvPr/>
        </p:nvCxnSpPr>
        <p:spPr>
          <a:xfrm flipV="1">
            <a:off x="5685934" y="3599757"/>
            <a:ext cx="3313930" cy="34189"/>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xmlns="" id="{7DFFBAD5-C376-4AD0-AD15-A924EB750DE5}"/>
              </a:ext>
            </a:extLst>
          </p:cNvPr>
          <p:cNvGrpSpPr/>
          <p:nvPr/>
        </p:nvGrpSpPr>
        <p:grpSpPr>
          <a:xfrm rot="5400000">
            <a:off x="8606279" y="2604304"/>
            <a:ext cx="720000" cy="67170"/>
            <a:chOff x="2073000" y="5843597"/>
            <a:chExt cx="720000" cy="67170"/>
          </a:xfrm>
          <a:solidFill>
            <a:schemeClr val="bg1"/>
          </a:solidFill>
        </p:grpSpPr>
        <p:cxnSp>
          <p:nvCxnSpPr>
            <p:cNvPr id="169" name="Straight Connector 168">
              <a:extLst>
                <a:ext uri="{FF2B5EF4-FFF2-40B4-BE49-F238E27FC236}">
                  <a16:creationId xmlns:a16="http://schemas.microsoft.com/office/drawing/2014/main" xmlns="" id="{2A70E60C-6334-4B49-8901-7B945FAEA8C5}"/>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a:extLst>
                <a:ext uri="{FF2B5EF4-FFF2-40B4-BE49-F238E27FC236}">
                  <a16:creationId xmlns:a16="http://schemas.microsoft.com/office/drawing/2014/main" xmlns="" id="{BFADD441-F90C-4852-8A81-219CF65592CF}"/>
                </a:ext>
              </a:extLst>
            </p:cNvPr>
            <p:cNvSpPr/>
            <p:nvPr/>
          </p:nvSpPr>
          <p:spPr>
            <a:xfrm>
              <a:off x="2399415" y="5843597"/>
              <a:ext cx="67170" cy="67170"/>
            </a:xfrm>
            <a:prstGeom prst="ellips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1" name="Group 170">
            <a:extLst>
              <a:ext uri="{FF2B5EF4-FFF2-40B4-BE49-F238E27FC236}">
                <a16:creationId xmlns:a16="http://schemas.microsoft.com/office/drawing/2014/main" xmlns="" id="{981316E3-7907-4B81-8669-56743AC9B333}"/>
              </a:ext>
            </a:extLst>
          </p:cNvPr>
          <p:cNvGrpSpPr/>
          <p:nvPr/>
        </p:nvGrpSpPr>
        <p:grpSpPr>
          <a:xfrm rot="5400000">
            <a:off x="8606279" y="3566776"/>
            <a:ext cx="720000" cy="67170"/>
            <a:chOff x="2073000" y="5843597"/>
            <a:chExt cx="720000" cy="67170"/>
          </a:xfrm>
          <a:solidFill>
            <a:schemeClr val="bg1"/>
          </a:solidFill>
        </p:grpSpPr>
        <p:cxnSp>
          <p:nvCxnSpPr>
            <p:cNvPr id="172" name="Straight Connector 171">
              <a:extLst>
                <a:ext uri="{FF2B5EF4-FFF2-40B4-BE49-F238E27FC236}">
                  <a16:creationId xmlns:a16="http://schemas.microsoft.com/office/drawing/2014/main" xmlns="" id="{06A89DDF-C964-4ABA-9991-7BEA66730AC0}"/>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xmlns="" id="{15EDEDCD-A744-4DB9-8BC0-DCC431D91B58}"/>
                </a:ext>
              </a:extLst>
            </p:cNvPr>
            <p:cNvSpPr/>
            <p:nvPr/>
          </p:nvSpPr>
          <p:spPr>
            <a:xfrm>
              <a:off x="2399415" y="5843597"/>
              <a:ext cx="67170" cy="67170"/>
            </a:xfrm>
            <a:prstGeom prst="ellipse">
              <a:avLst/>
            </a:prstGeom>
            <a:solidFill>
              <a:srgbClr val="483698"/>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7" name="Group 176">
            <a:extLst>
              <a:ext uri="{FF2B5EF4-FFF2-40B4-BE49-F238E27FC236}">
                <a16:creationId xmlns:a16="http://schemas.microsoft.com/office/drawing/2014/main" xmlns="" id="{249F4F14-1C55-44B1-9008-28E62CAE3973}"/>
              </a:ext>
            </a:extLst>
          </p:cNvPr>
          <p:cNvGrpSpPr>
            <a:grpSpLocks noChangeAspect="1"/>
          </p:cNvGrpSpPr>
          <p:nvPr/>
        </p:nvGrpSpPr>
        <p:grpSpPr bwMode="auto">
          <a:xfrm>
            <a:off x="1124490" y="2500345"/>
            <a:ext cx="473809" cy="320433"/>
            <a:chOff x="1418" y="927"/>
            <a:chExt cx="658" cy="445"/>
          </a:xfrm>
          <a:solidFill>
            <a:schemeClr val="accent1"/>
          </a:solidFill>
        </p:grpSpPr>
        <p:sp>
          <p:nvSpPr>
            <p:cNvPr id="178" name="Freeform 6">
              <a:extLst>
                <a:ext uri="{FF2B5EF4-FFF2-40B4-BE49-F238E27FC236}">
                  <a16:creationId xmlns:a16="http://schemas.microsoft.com/office/drawing/2014/main" xmlns="" id="{645D5584-00B1-4D1A-BD43-0EC517DCF760}"/>
                </a:ext>
              </a:extLst>
            </p:cNvPr>
            <p:cNvSpPr>
              <a:spLocks/>
            </p:cNvSpPr>
            <p:nvPr/>
          </p:nvSpPr>
          <p:spPr bwMode="auto">
            <a:xfrm>
              <a:off x="1757" y="976"/>
              <a:ext cx="35" cy="50"/>
            </a:xfrm>
            <a:custGeom>
              <a:avLst/>
              <a:gdLst>
                <a:gd name="T0" fmla="*/ 42 w 42"/>
                <a:gd name="T1" fmla="*/ 0 h 60"/>
                <a:gd name="T2" fmla="*/ 0 w 42"/>
                <a:gd name="T3" fmla="*/ 60 h 60"/>
                <a:gd name="T4" fmla="*/ 7 w 42"/>
                <a:gd name="T5" fmla="*/ 60 h 60"/>
                <a:gd name="T6" fmla="*/ 42 w 42"/>
                <a:gd name="T7" fmla="*/ 0 h 60"/>
              </a:gdLst>
              <a:ahLst/>
              <a:cxnLst>
                <a:cxn ang="0">
                  <a:pos x="T0" y="T1"/>
                </a:cxn>
                <a:cxn ang="0">
                  <a:pos x="T2" y="T3"/>
                </a:cxn>
                <a:cxn ang="0">
                  <a:pos x="T4" y="T5"/>
                </a:cxn>
                <a:cxn ang="0">
                  <a:pos x="T6" y="T7"/>
                </a:cxn>
              </a:cxnLst>
              <a:rect l="0" t="0" r="r" b="b"/>
              <a:pathLst>
                <a:path w="42" h="60">
                  <a:moveTo>
                    <a:pt x="42" y="0"/>
                  </a:moveTo>
                  <a:cubicBezTo>
                    <a:pt x="17" y="8"/>
                    <a:pt x="1" y="32"/>
                    <a:pt x="0" y="60"/>
                  </a:cubicBezTo>
                  <a:cubicBezTo>
                    <a:pt x="3" y="60"/>
                    <a:pt x="5" y="60"/>
                    <a:pt x="7" y="60"/>
                  </a:cubicBezTo>
                  <a:cubicBezTo>
                    <a:pt x="12" y="33"/>
                    <a:pt x="28" y="17"/>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79" name="Freeform 7">
              <a:extLst>
                <a:ext uri="{FF2B5EF4-FFF2-40B4-BE49-F238E27FC236}">
                  <a16:creationId xmlns:a16="http://schemas.microsoft.com/office/drawing/2014/main" xmlns="" id="{36CAB7C8-489E-4F59-801C-BF3223CCC386}"/>
                </a:ext>
              </a:extLst>
            </p:cNvPr>
            <p:cNvSpPr>
              <a:spLocks/>
            </p:cNvSpPr>
            <p:nvPr/>
          </p:nvSpPr>
          <p:spPr bwMode="auto">
            <a:xfrm>
              <a:off x="1418" y="927"/>
              <a:ext cx="658" cy="445"/>
            </a:xfrm>
            <a:custGeom>
              <a:avLst/>
              <a:gdLst>
                <a:gd name="T0" fmla="*/ 707 w 789"/>
                <a:gd name="T1" fmla="*/ 4 h 534"/>
                <a:gd name="T2" fmla="*/ 541 w 789"/>
                <a:gd name="T3" fmla="*/ 69 h 534"/>
                <a:gd name="T4" fmla="*/ 434 w 789"/>
                <a:gd name="T5" fmla="*/ 194 h 534"/>
                <a:gd name="T6" fmla="*/ 418 w 789"/>
                <a:gd name="T7" fmla="*/ 165 h 534"/>
                <a:gd name="T8" fmla="*/ 370 w 789"/>
                <a:gd name="T9" fmla="*/ 166 h 534"/>
                <a:gd name="T10" fmla="*/ 352 w 789"/>
                <a:gd name="T11" fmla="*/ 195 h 534"/>
                <a:gd name="T12" fmla="*/ 245 w 789"/>
                <a:gd name="T13" fmla="*/ 69 h 534"/>
                <a:gd name="T14" fmla="*/ 60 w 789"/>
                <a:gd name="T15" fmla="*/ 4 h 534"/>
                <a:gd name="T16" fmla="*/ 55 w 789"/>
                <a:gd name="T17" fmla="*/ 4 h 534"/>
                <a:gd name="T18" fmla="*/ 3 w 789"/>
                <a:gd name="T19" fmla="*/ 59 h 534"/>
                <a:gd name="T20" fmla="*/ 43 w 789"/>
                <a:gd name="T21" fmla="*/ 159 h 534"/>
                <a:gd name="T22" fmla="*/ 57 w 789"/>
                <a:gd name="T23" fmla="*/ 227 h 534"/>
                <a:gd name="T24" fmla="*/ 209 w 789"/>
                <a:gd name="T25" fmla="*/ 278 h 534"/>
                <a:gd name="T26" fmla="*/ 119 w 789"/>
                <a:gd name="T27" fmla="*/ 419 h 534"/>
                <a:gd name="T28" fmla="*/ 250 w 789"/>
                <a:gd name="T29" fmla="*/ 509 h 534"/>
                <a:gd name="T30" fmla="*/ 361 w 789"/>
                <a:gd name="T31" fmla="*/ 370 h 534"/>
                <a:gd name="T32" fmla="*/ 394 w 789"/>
                <a:gd name="T33" fmla="*/ 434 h 534"/>
                <a:gd name="T34" fmla="*/ 427 w 789"/>
                <a:gd name="T35" fmla="*/ 370 h 534"/>
                <a:gd name="T36" fmla="*/ 555 w 789"/>
                <a:gd name="T37" fmla="*/ 513 h 534"/>
                <a:gd name="T38" fmla="*/ 667 w 789"/>
                <a:gd name="T39" fmla="*/ 424 h 534"/>
                <a:gd name="T40" fmla="*/ 580 w 789"/>
                <a:gd name="T41" fmla="*/ 278 h 534"/>
                <a:gd name="T42" fmla="*/ 726 w 789"/>
                <a:gd name="T43" fmla="*/ 234 h 534"/>
                <a:gd name="T44" fmla="*/ 752 w 789"/>
                <a:gd name="T45" fmla="*/ 140 h 534"/>
                <a:gd name="T46" fmla="*/ 784 w 789"/>
                <a:gd name="T47" fmla="*/ 77 h 534"/>
                <a:gd name="T48" fmla="*/ 707 w 789"/>
                <a:gd name="T49" fmla="*/ 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9" h="534">
                  <a:moveTo>
                    <a:pt x="707" y="4"/>
                  </a:moveTo>
                  <a:cubicBezTo>
                    <a:pt x="645" y="9"/>
                    <a:pt x="588" y="37"/>
                    <a:pt x="541" y="69"/>
                  </a:cubicBezTo>
                  <a:cubicBezTo>
                    <a:pt x="492" y="102"/>
                    <a:pt x="454" y="146"/>
                    <a:pt x="434" y="194"/>
                  </a:cubicBezTo>
                  <a:cubicBezTo>
                    <a:pt x="431" y="182"/>
                    <a:pt x="419" y="173"/>
                    <a:pt x="418" y="165"/>
                  </a:cubicBezTo>
                  <a:cubicBezTo>
                    <a:pt x="437" y="105"/>
                    <a:pt x="346" y="110"/>
                    <a:pt x="370" y="166"/>
                  </a:cubicBezTo>
                  <a:cubicBezTo>
                    <a:pt x="363" y="175"/>
                    <a:pt x="357" y="184"/>
                    <a:pt x="352" y="195"/>
                  </a:cubicBezTo>
                  <a:cubicBezTo>
                    <a:pt x="333" y="142"/>
                    <a:pt x="292" y="101"/>
                    <a:pt x="245" y="69"/>
                  </a:cubicBezTo>
                  <a:cubicBezTo>
                    <a:pt x="198" y="36"/>
                    <a:pt x="134" y="6"/>
                    <a:pt x="60" y="4"/>
                  </a:cubicBezTo>
                  <a:cubicBezTo>
                    <a:pt x="55" y="4"/>
                    <a:pt x="55" y="4"/>
                    <a:pt x="55" y="4"/>
                  </a:cubicBezTo>
                  <a:cubicBezTo>
                    <a:pt x="24" y="5"/>
                    <a:pt x="5" y="28"/>
                    <a:pt x="3" y="59"/>
                  </a:cubicBezTo>
                  <a:cubicBezTo>
                    <a:pt x="0" y="105"/>
                    <a:pt x="32" y="123"/>
                    <a:pt x="43" y="159"/>
                  </a:cubicBezTo>
                  <a:cubicBezTo>
                    <a:pt x="50" y="181"/>
                    <a:pt x="47" y="211"/>
                    <a:pt x="57" y="227"/>
                  </a:cubicBezTo>
                  <a:cubicBezTo>
                    <a:pt x="84" y="272"/>
                    <a:pt x="148" y="277"/>
                    <a:pt x="209" y="278"/>
                  </a:cubicBezTo>
                  <a:cubicBezTo>
                    <a:pt x="160" y="305"/>
                    <a:pt x="114" y="352"/>
                    <a:pt x="119" y="419"/>
                  </a:cubicBezTo>
                  <a:cubicBezTo>
                    <a:pt x="123" y="473"/>
                    <a:pt x="187" y="534"/>
                    <a:pt x="250" y="509"/>
                  </a:cubicBezTo>
                  <a:cubicBezTo>
                    <a:pt x="306" y="486"/>
                    <a:pt x="338" y="427"/>
                    <a:pt x="361" y="370"/>
                  </a:cubicBezTo>
                  <a:cubicBezTo>
                    <a:pt x="371" y="388"/>
                    <a:pt x="372" y="434"/>
                    <a:pt x="394" y="434"/>
                  </a:cubicBezTo>
                  <a:cubicBezTo>
                    <a:pt x="416" y="433"/>
                    <a:pt x="416" y="387"/>
                    <a:pt x="427" y="370"/>
                  </a:cubicBezTo>
                  <a:cubicBezTo>
                    <a:pt x="449" y="430"/>
                    <a:pt x="487" y="500"/>
                    <a:pt x="555" y="513"/>
                  </a:cubicBezTo>
                  <a:cubicBezTo>
                    <a:pt x="611" y="523"/>
                    <a:pt x="663" y="469"/>
                    <a:pt x="667" y="424"/>
                  </a:cubicBezTo>
                  <a:cubicBezTo>
                    <a:pt x="676" y="343"/>
                    <a:pt x="622" y="307"/>
                    <a:pt x="580" y="278"/>
                  </a:cubicBezTo>
                  <a:cubicBezTo>
                    <a:pt x="642" y="277"/>
                    <a:pt x="695" y="271"/>
                    <a:pt x="726" y="234"/>
                  </a:cubicBezTo>
                  <a:cubicBezTo>
                    <a:pt x="742" y="214"/>
                    <a:pt x="736" y="169"/>
                    <a:pt x="752" y="140"/>
                  </a:cubicBezTo>
                  <a:cubicBezTo>
                    <a:pt x="764" y="117"/>
                    <a:pt x="781" y="106"/>
                    <a:pt x="784" y="77"/>
                  </a:cubicBezTo>
                  <a:cubicBezTo>
                    <a:pt x="789" y="22"/>
                    <a:pt x="760" y="0"/>
                    <a:pt x="70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80" name="Freeform 8">
              <a:extLst>
                <a:ext uri="{FF2B5EF4-FFF2-40B4-BE49-F238E27FC236}">
                  <a16:creationId xmlns:a16="http://schemas.microsoft.com/office/drawing/2014/main" xmlns="" id="{50FFDC68-F737-4AB3-8BD6-B90CA9000A8C}"/>
                </a:ext>
              </a:extLst>
            </p:cNvPr>
            <p:cNvSpPr>
              <a:spLocks/>
            </p:cNvSpPr>
            <p:nvPr/>
          </p:nvSpPr>
          <p:spPr bwMode="auto">
            <a:xfrm>
              <a:off x="1703" y="976"/>
              <a:ext cx="34" cy="50"/>
            </a:xfrm>
            <a:custGeom>
              <a:avLst/>
              <a:gdLst>
                <a:gd name="T0" fmla="*/ 41 w 41"/>
                <a:gd name="T1" fmla="*/ 60 h 60"/>
                <a:gd name="T2" fmla="*/ 0 w 41"/>
                <a:gd name="T3" fmla="*/ 0 h 60"/>
                <a:gd name="T4" fmla="*/ 34 w 41"/>
                <a:gd name="T5" fmla="*/ 60 h 60"/>
                <a:gd name="T6" fmla="*/ 41 w 41"/>
                <a:gd name="T7" fmla="*/ 60 h 60"/>
              </a:gdLst>
              <a:ahLst/>
              <a:cxnLst>
                <a:cxn ang="0">
                  <a:pos x="T0" y="T1"/>
                </a:cxn>
                <a:cxn ang="0">
                  <a:pos x="T2" y="T3"/>
                </a:cxn>
                <a:cxn ang="0">
                  <a:pos x="T4" y="T5"/>
                </a:cxn>
                <a:cxn ang="0">
                  <a:pos x="T6" y="T7"/>
                </a:cxn>
              </a:cxnLst>
              <a:rect l="0" t="0" r="r" b="b"/>
              <a:pathLst>
                <a:path w="41" h="60">
                  <a:moveTo>
                    <a:pt x="41" y="60"/>
                  </a:moveTo>
                  <a:cubicBezTo>
                    <a:pt x="41" y="32"/>
                    <a:pt x="25" y="8"/>
                    <a:pt x="0" y="0"/>
                  </a:cubicBezTo>
                  <a:cubicBezTo>
                    <a:pt x="14" y="17"/>
                    <a:pt x="29" y="33"/>
                    <a:pt x="34" y="60"/>
                  </a:cubicBezTo>
                  <a:cubicBezTo>
                    <a:pt x="37" y="60"/>
                    <a:pt x="39" y="60"/>
                    <a:pt x="4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181" name="Group 180">
            <a:extLst>
              <a:ext uri="{FF2B5EF4-FFF2-40B4-BE49-F238E27FC236}">
                <a16:creationId xmlns:a16="http://schemas.microsoft.com/office/drawing/2014/main" xmlns="" id="{741BD422-2647-4291-A6F9-DD8B015F3B38}"/>
              </a:ext>
            </a:extLst>
          </p:cNvPr>
          <p:cNvGrpSpPr/>
          <p:nvPr/>
        </p:nvGrpSpPr>
        <p:grpSpPr>
          <a:xfrm>
            <a:off x="1139994" y="3386140"/>
            <a:ext cx="438150" cy="438150"/>
            <a:chOff x="1149520" y="3362325"/>
            <a:chExt cx="438150" cy="438150"/>
          </a:xfrm>
        </p:grpSpPr>
        <p:cxnSp>
          <p:nvCxnSpPr>
            <p:cNvPr id="182" name="Straight Connector 181">
              <a:extLst>
                <a:ext uri="{FF2B5EF4-FFF2-40B4-BE49-F238E27FC236}">
                  <a16:creationId xmlns:a16="http://schemas.microsoft.com/office/drawing/2014/main" xmlns="" id="{4821E2B8-3B0B-4D2C-8C2F-87AE8688AEAD}"/>
                </a:ext>
              </a:extLst>
            </p:cNvPr>
            <p:cNvCxnSpPr/>
            <p:nvPr/>
          </p:nvCxnSpPr>
          <p:spPr>
            <a:xfrm>
              <a:off x="13685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6D979932-1E63-402B-861A-F714A59306CB}"/>
                </a:ext>
              </a:extLst>
            </p:cNvPr>
            <p:cNvCxnSpPr>
              <a:cxnSpLocks/>
            </p:cNvCxnSpPr>
            <p:nvPr/>
          </p:nvCxnSpPr>
          <p:spPr>
            <a:xfrm rot="5400000">
              <a:off x="1368595" y="3289730"/>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80AB9693-C1ED-4510-A5E5-FFA83CFA1584}"/>
                </a:ext>
              </a:extLst>
            </p:cNvPr>
            <p:cNvCxnSpPr/>
            <p:nvPr/>
          </p:nvCxnSpPr>
          <p:spPr>
            <a:xfrm>
              <a:off x="14828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5F2CD458-5302-41DE-ABC8-8B18018BEDE3}"/>
                </a:ext>
              </a:extLst>
            </p:cNvPr>
            <p:cNvCxnSpPr/>
            <p:nvPr/>
          </p:nvCxnSpPr>
          <p:spPr>
            <a:xfrm>
              <a:off x="12542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A642F7CB-5EF0-4E0A-B6CB-6CF4E8AB18F8}"/>
                </a:ext>
              </a:extLst>
            </p:cNvPr>
            <p:cNvCxnSpPr>
              <a:cxnSpLocks/>
            </p:cNvCxnSpPr>
            <p:nvPr/>
          </p:nvCxnSpPr>
          <p:spPr>
            <a:xfrm rot="5400000">
              <a:off x="1368595" y="3434986"/>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xmlns="" id="{B7B4A6EB-D886-4262-8B2D-4CDDE70665D6}"/>
              </a:ext>
            </a:extLst>
          </p:cNvPr>
          <p:cNvGrpSpPr/>
          <p:nvPr/>
        </p:nvGrpSpPr>
        <p:grpSpPr>
          <a:xfrm>
            <a:off x="1132188" y="1439265"/>
            <a:ext cx="438634" cy="485741"/>
            <a:chOff x="1132188" y="1439265"/>
            <a:chExt cx="438634" cy="485741"/>
          </a:xfrm>
        </p:grpSpPr>
        <p:grpSp>
          <p:nvGrpSpPr>
            <p:cNvPr id="188" name="Group 5">
              <a:extLst>
                <a:ext uri="{FF2B5EF4-FFF2-40B4-BE49-F238E27FC236}">
                  <a16:creationId xmlns:a16="http://schemas.microsoft.com/office/drawing/2014/main" xmlns="" id="{98E5C3AB-9B68-47AB-A425-B4881C614CAC}"/>
                </a:ext>
              </a:extLst>
            </p:cNvPr>
            <p:cNvGrpSpPr>
              <a:grpSpLocks noChangeAspect="1"/>
            </p:cNvGrpSpPr>
            <p:nvPr/>
          </p:nvGrpSpPr>
          <p:grpSpPr bwMode="auto">
            <a:xfrm>
              <a:off x="1132188" y="1542536"/>
              <a:ext cx="438634" cy="382470"/>
              <a:chOff x="4696" y="1057"/>
              <a:chExt cx="945" cy="824"/>
            </a:xfrm>
            <a:solidFill>
              <a:schemeClr val="accent3"/>
            </a:solidFill>
          </p:grpSpPr>
          <p:sp>
            <p:nvSpPr>
              <p:cNvPr id="192" name="Freeform 6">
                <a:extLst>
                  <a:ext uri="{FF2B5EF4-FFF2-40B4-BE49-F238E27FC236}">
                    <a16:creationId xmlns:a16="http://schemas.microsoft.com/office/drawing/2014/main" xmlns="" id="{798346F7-6DF3-4372-AA21-0A77BBFC76B9}"/>
                  </a:ext>
                </a:extLst>
              </p:cNvPr>
              <p:cNvSpPr>
                <a:spLocks/>
              </p:cNvSpPr>
              <p:nvPr/>
            </p:nvSpPr>
            <p:spPr bwMode="auto">
              <a:xfrm>
                <a:off x="4696" y="1057"/>
                <a:ext cx="373" cy="824"/>
              </a:xfrm>
              <a:custGeom>
                <a:avLst/>
                <a:gdLst>
                  <a:gd name="T0" fmla="*/ 66 w 158"/>
                  <a:gd name="T1" fmla="*/ 126 h 349"/>
                  <a:gd name="T2" fmla="*/ 158 w 158"/>
                  <a:gd name="T3" fmla="*/ 220 h 349"/>
                  <a:gd name="T4" fmla="*/ 158 w 158"/>
                  <a:gd name="T5" fmla="*/ 349 h 349"/>
                  <a:gd name="T6" fmla="*/ 157 w 158"/>
                  <a:gd name="T7" fmla="*/ 349 h 349"/>
                  <a:gd name="T8" fmla="*/ 157 w 158"/>
                  <a:gd name="T9" fmla="*/ 349 h 349"/>
                  <a:gd name="T10" fmla="*/ 82 w 158"/>
                  <a:gd name="T11" fmla="*/ 349 h 349"/>
                  <a:gd name="T12" fmla="*/ 82 w 158"/>
                  <a:gd name="T13" fmla="*/ 294 h 349"/>
                  <a:gd name="T14" fmla="*/ 5 w 158"/>
                  <a:gd name="T15" fmla="*/ 192 h 349"/>
                  <a:gd name="T16" fmla="*/ 0 w 158"/>
                  <a:gd name="T17" fmla="*/ 178 h 349"/>
                  <a:gd name="T18" fmla="*/ 0 w 158"/>
                  <a:gd name="T19" fmla="*/ 22 h 349"/>
                  <a:gd name="T20" fmla="*/ 22 w 158"/>
                  <a:gd name="T21" fmla="*/ 0 h 349"/>
                  <a:gd name="T22" fmla="*/ 44 w 158"/>
                  <a:gd name="T23" fmla="*/ 22 h 349"/>
                  <a:gd name="T24" fmla="*/ 44 w 158"/>
                  <a:gd name="T25" fmla="*/ 112 h 349"/>
                  <a:gd name="T26" fmla="*/ 30 w 158"/>
                  <a:gd name="T27" fmla="*/ 120 h 349"/>
                  <a:gd name="T28" fmla="*/ 29 w 158"/>
                  <a:gd name="T29" fmla="*/ 162 h 349"/>
                  <a:gd name="T30" fmla="*/ 71 w 158"/>
                  <a:gd name="T31" fmla="*/ 205 h 349"/>
                  <a:gd name="T32" fmla="*/ 77 w 158"/>
                  <a:gd name="T33" fmla="*/ 200 h 349"/>
                  <a:gd name="T34" fmla="*/ 35 w 158"/>
                  <a:gd name="T35" fmla="*/ 157 h 349"/>
                  <a:gd name="T36" fmla="*/ 35 w 158"/>
                  <a:gd name="T37" fmla="*/ 126 h 349"/>
                  <a:gd name="T38" fmla="*/ 45 w 158"/>
                  <a:gd name="T39" fmla="*/ 120 h 349"/>
                  <a:gd name="T40" fmla="*/ 56 w 158"/>
                  <a:gd name="T41" fmla="*/ 120 h 349"/>
                  <a:gd name="T42" fmla="*/ 66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66" y="126"/>
                    </a:moveTo>
                    <a:cubicBezTo>
                      <a:pt x="158" y="220"/>
                      <a:pt x="158" y="220"/>
                      <a:pt x="158" y="220"/>
                    </a:cubicBezTo>
                    <a:cubicBezTo>
                      <a:pt x="158" y="349"/>
                      <a:pt x="158" y="349"/>
                      <a:pt x="158" y="349"/>
                    </a:cubicBezTo>
                    <a:cubicBezTo>
                      <a:pt x="157" y="349"/>
                      <a:pt x="157" y="349"/>
                      <a:pt x="157" y="349"/>
                    </a:cubicBezTo>
                    <a:cubicBezTo>
                      <a:pt x="157" y="349"/>
                      <a:pt x="157" y="349"/>
                      <a:pt x="157" y="349"/>
                    </a:cubicBezTo>
                    <a:cubicBezTo>
                      <a:pt x="82" y="349"/>
                      <a:pt x="82" y="349"/>
                      <a:pt x="82" y="349"/>
                    </a:cubicBezTo>
                    <a:cubicBezTo>
                      <a:pt x="82" y="294"/>
                      <a:pt x="82" y="294"/>
                      <a:pt x="82" y="294"/>
                    </a:cubicBezTo>
                    <a:cubicBezTo>
                      <a:pt x="5" y="192"/>
                      <a:pt x="5" y="192"/>
                      <a:pt x="5" y="192"/>
                    </a:cubicBezTo>
                    <a:cubicBezTo>
                      <a:pt x="2" y="188"/>
                      <a:pt x="0" y="184"/>
                      <a:pt x="0" y="178"/>
                    </a:cubicBezTo>
                    <a:cubicBezTo>
                      <a:pt x="0" y="22"/>
                      <a:pt x="0" y="22"/>
                      <a:pt x="0" y="22"/>
                    </a:cubicBezTo>
                    <a:cubicBezTo>
                      <a:pt x="0" y="10"/>
                      <a:pt x="10" y="0"/>
                      <a:pt x="22" y="0"/>
                    </a:cubicBezTo>
                    <a:cubicBezTo>
                      <a:pt x="34" y="0"/>
                      <a:pt x="44" y="10"/>
                      <a:pt x="44" y="22"/>
                    </a:cubicBezTo>
                    <a:cubicBezTo>
                      <a:pt x="44" y="112"/>
                      <a:pt x="44" y="112"/>
                      <a:pt x="44" y="112"/>
                    </a:cubicBezTo>
                    <a:cubicBezTo>
                      <a:pt x="39" y="114"/>
                      <a:pt x="34" y="116"/>
                      <a:pt x="30" y="120"/>
                    </a:cubicBezTo>
                    <a:cubicBezTo>
                      <a:pt x="18" y="131"/>
                      <a:pt x="18" y="150"/>
                      <a:pt x="29" y="162"/>
                    </a:cubicBezTo>
                    <a:cubicBezTo>
                      <a:pt x="71" y="205"/>
                      <a:pt x="71" y="205"/>
                      <a:pt x="71" y="205"/>
                    </a:cubicBezTo>
                    <a:cubicBezTo>
                      <a:pt x="77" y="200"/>
                      <a:pt x="77" y="200"/>
                      <a:pt x="77" y="200"/>
                    </a:cubicBezTo>
                    <a:cubicBezTo>
                      <a:pt x="35" y="157"/>
                      <a:pt x="35" y="157"/>
                      <a:pt x="35" y="157"/>
                    </a:cubicBezTo>
                    <a:cubicBezTo>
                      <a:pt x="26" y="148"/>
                      <a:pt x="27" y="134"/>
                      <a:pt x="35" y="126"/>
                    </a:cubicBezTo>
                    <a:cubicBezTo>
                      <a:pt x="38" y="123"/>
                      <a:pt x="41" y="121"/>
                      <a:pt x="45" y="120"/>
                    </a:cubicBezTo>
                    <a:cubicBezTo>
                      <a:pt x="48" y="119"/>
                      <a:pt x="52" y="119"/>
                      <a:pt x="56" y="120"/>
                    </a:cubicBezTo>
                    <a:cubicBezTo>
                      <a:pt x="60" y="121"/>
                      <a:pt x="63" y="123"/>
                      <a:pt x="66"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93" name="Freeform 7">
                <a:extLst>
                  <a:ext uri="{FF2B5EF4-FFF2-40B4-BE49-F238E27FC236}">
                    <a16:creationId xmlns:a16="http://schemas.microsoft.com/office/drawing/2014/main" xmlns="" id="{5A01BCFA-ED6D-4CD3-917B-CC77009009EC}"/>
                  </a:ext>
                </a:extLst>
              </p:cNvPr>
              <p:cNvSpPr>
                <a:spLocks/>
              </p:cNvSpPr>
              <p:nvPr/>
            </p:nvSpPr>
            <p:spPr bwMode="auto">
              <a:xfrm>
                <a:off x="5268" y="1057"/>
                <a:ext cx="373" cy="824"/>
              </a:xfrm>
              <a:custGeom>
                <a:avLst/>
                <a:gdLst>
                  <a:gd name="T0" fmla="*/ 92 w 158"/>
                  <a:gd name="T1" fmla="*/ 126 h 349"/>
                  <a:gd name="T2" fmla="*/ 0 w 158"/>
                  <a:gd name="T3" fmla="*/ 220 h 349"/>
                  <a:gd name="T4" fmla="*/ 0 w 158"/>
                  <a:gd name="T5" fmla="*/ 349 h 349"/>
                  <a:gd name="T6" fmla="*/ 1 w 158"/>
                  <a:gd name="T7" fmla="*/ 349 h 349"/>
                  <a:gd name="T8" fmla="*/ 1 w 158"/>
                  <a:gd name="T9" fmla="*/ 349 h 349"/>
                  <a:gd name="T10" fmla="*/ 76 w 158"/>
                  <a:gd name="T11" fmla="*/ 349 h 349"/>
                  <a:gd name="T12" fmla="*/ 76 w 158"/>
                  <a:gd name="T13" fmla="*/ 294 h 349"/>
                  <a:gd name="T14" fmla="*/ 153 w 158"/>
                  <a:gd name="T15" fmla="*/ 192 h 349"/>
                  <a:gd name="T16" fmla="*/ 158 w 158"/>
                  <a:gd name="T17" fmla="*/ 178 h 349"/>
                  <a:gd name="T18" fmla="*/ 158 w 158"/>
                  <a:gd name="T19" fmla="*/ 22 h 349"/>
                  <a:gd name="T20" fmla="*/ 136 w 158"/>
                  <a:gd name="T21" fmla="*/ 0 h 349"/>
                  <a:gd name="T22" fmla="*/ 114 w 158"/>
                  <a:gd name="T23" fmla="*/ 22 h 349"/>
                  <a:gd name="T24" fmla="*/ 114 w 158"/>
                  <a:gd name="T25" fmla="*/ 112 h 349"/>
                  <a:gd name="T26" fmla="*/ 128 w 158"/>
                  <a:gd name="T27" fmla="*/ 120 h 349"/>
                  <a:gd name="T28" fmla="*/ 129 w 158"/>
                  <a:gd name="T29" fmla="*/ 162 h 349"/>
                  <a:gd name="T30" fmla="*/ 87 w 158"/>
                  <a:gd name="T31" fmla="*/ 205 h 349"/>
                  <a:gd name="T32" fmla="*/ 81 w 158"/>
                  <a:gd name="T33" fmla="*/ 200 h 349"/>
                  <a:gd name="T34" fmla="*/ 123 w 158"/>
                  <a:gd name="T35" fmla="*/ 157 h 349"/>
                  <a:gd name="T36" fmla="*/ 123 w 158"/>
                  <a:gd name="T37" fmla="*/ 126 h 349"/>
                  <a:gd name="T38" fmla="*/ 113 w 158"/>
                  <a:gd name="T39" fmla="*/ 120 h 349"/>
                  <a:gd name="T40" fmla="*/ 102 w 158"/>
                  <a:gd name="T41" fmla="*/ 120 h 349"/>
                  <a:gd name="T42" fmla="*/ 92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92" y="126"/>
                    </a:moveTo>
                    <a:cubicBezTo>
                      <a:pt x="0" y="220"/>
                      <a:pt x="0" y="220"/>
                      <a:pt x="0" y="220"/>
                    </a:cubicBezTo>
                    <a:cubicBezTo>
                      <a:pt x="0" y="349"/>
                      <a:pt x="0" y="349"/>
                      <a:pt x="0" y="349"/>
                    </a:cubicBezTo>
                    <a:cubicBezTo>
                      <a:pt x="1" y="349"/>
                      <a:pt x="1" y="349"/>
                      <a:pt x="1" y="349"/>
                    </a:cubicBezTo>
                    <a:cubicBezTo>
                      <a:pt x="1" y="349"/>
                      <a:pt x="1" y="349"/>
                      <a:pt x="1" y="349"/>
                    </a:cubicBezTo>
                    <a:cubicBezTo>
                      <a:pt x="76" y="349"/>
                      <a:pt x="76" y="349"/>
                      <a:pt x="76" y="349"/>
                    </a:cubicBezTo>
                    <a:cubicBezTo>
                      <a:pt x="76" y="294"/>
                      <a:pt x="76" y="294"/>
                      <a:pt x="76" y="294"/>
                    </a:cubicBezTo>
                    <a:cubicBezTo>
                      <a:pt x="153" y="192"/>
                      <a:pt x="153" y="192"/>
                      <a:pt x="153" y="192"/>
                    </a:cubicBezTo>
                    <a:cubicBezTo>
                      <a:pt x="156" y="188"/>
                      <a:pt x="158" y="184"/>
                      <a:pt x="158" y="178"/>
                    </a:cubicBezTo>
                    <a:cubicBezTo>
                      <a:pt x="158" y="22"/>
                      <a:pt x="158" y="22"/>
                      <a:pt x="158" y="22"/>
                    </a:cubicBezTo>
                    <a:cubicBezTo>
                      <a:pt x="158" y="10"/>
                      <a:pt x="148" y="0"/>
                      <a:pt x="136" y="0"/>
                    </a:cubicBezTo>
                    <a:cubicBezTo>
                      <a:pt x="124" y="0"/>
                      <a:pt x="114" y="10"/>
                      <a:pt x="114" y="22"/>
                    </a:cubicBezTo>
                    <a:cubicBezTo>
                      <a:pt x="114" y="112"/>
                      <a:pt x="114" y="112"/>
                      <a:pt x="114" y="112"/>
                    </a:cubicBezTo>
                    <a:cubicBezTo>
                      <a:pt x="119" y="114"/>
                      <a:pt x="124" y="116"/>
                      <a:pt x="128" y="120"/>
                    </a:cubicBezTo>
                    <a:cubicBezTo>
                      <a:pt x="140" y="131"/>
                      <a:pt x="140" y="150"/>
                      <a:pt x="129" y="162"/>
                    </a:cubicBezTo>
                    <a:cubicBezTo>
                      <a:pt x="87" y="205"/>
                      <a:pt x="87" y="205"/>
                      <a:pt x="87" y="205"/>
                    </a:cubicBezTo>
                    <a:cubicBezTo>
                      <a:pt x="81" y="200"/>
                      <a:pt x="81" y="200"/>
                      <a:pt x="81" y="200"/>
                    </a:cubicBezTo>
                    <a:cubicBezTo>
                      <a:pt x="123" y="157"/>
                      <a:pt x="123" y="157"/>
                      <a:pt x="123" y="157"/>
                    </a:cubicBezTo>
                    <a:cubicBezTo>
                      <a:pt x="132" y="148"/>
                      <a:pt x="131" y="134"/>
                      <a:pt x="123" y="126"/>
                    </a:cubicBezTo>
                    <a:cubicBezTo>
                      <a:pt x="120" y="123"/>
                      <a:pt x="117" y="121"/>
                      <a:pt x="113" y="120"/>
                    </a:cubicBezTo>
                    <a:cubicBezTo>
                      <a:pt x="110" y="119"/>
                      <a:pt x="106" y="119"/>
                      <a:pt x="102" y="120"/>
                    </a:cubicBezTo>
                    <a:cubicBezTo>
                      <a:pt x="98" y="121"/>
                      <a:pt x="95" y="123"/>
                      <a:pt x="9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sp>
          <p:nvSpPr>
            <p:cNvPr id="189" name="Cross 188">
              <a:extLst>
                <a:ext uri="{FF2B5EF4-FFF2-40B4-BE49-F238E27FC236}">
                  <a16:creationId xmlns:a16="http://schemas.microsoft.com/office/drawing/2014/main" xmlns="" id="{D1299AF4-2631-4DBC-900D-B3E1E4EF93AD}"/>
                </a:ext>
              </a:extLst>
            </p:cNvPr>
            <p:cNvSpPr/>
            <p:nvPr/>
          </p:nvSpPr>
          <p:spPr>
            <a:xfrm>
              <a:off x="1230812" y="1439265"/>
              <a:ext cx="90745" cy="90745"/>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0" name="Cross 189">
              <a:extLst>
                <a:ext uri="{FF2B5EF4-FFF2-40B4-BE49-F238E27FC236}">
                  <a16:creationId xmlns:a16="http://schemas.microsoft.com/office/drawing/2014/main" xmlns="" id="{E8DA3D61-0FBF-4AEF-8F44-0C77341AC539}"/>
                </a:ext>
              </a:extLst>
            </p:cNvPr>
            <p:cNvSpPr/>
            <p:nvPr/>
          </p:nvSpPr>
          <p:spPr>
            <a:xfrm>
              <a:off x="1310850" y="1557658"/>
              <a:ext cx="123596" cy="123596"/>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1" name="Cross 190">
              <a:extLst>
                <a:ext uri="{FF2B5EF4-FFF2-40B4-BE49-F238E27FC236}">
                  <a16:creationId xmlns:a16="http://schemas.microsoft.com/office/drawing/2014/main" xmlns="" id="{D3846638-A997-4AAA-8CCD-A50F0C28B647}"/>
                </a:ext>
              </a:extLst>
            </p:cNvPr>
            <p:cNvSpPr/>
            <p:nvPr/>
          </p:nvSpPr>
          <p:spPr>
            <a:xfrm>
              <a:off x="1419666" y="1466445"/>
              <a:ext cx="64589" cy="64589"/>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sp>
        <p:nvSpPr>
          <p:cNvPr id="6" name="Rectangle 5"/>
          <p:cNvSpPr/>
          <p:nvPr/>
        </p:nvSpPr>
        <p:spPr>
          <a:xfrm>
            <a:off x="847165" y="3110927"/>
            <a:ext cx="8275478" cy="97776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Tree>
    <p:extLst>
      <p:ext uri="{BB962C8B-B14F-4D97-AF65-F5344CB8AC3E}">
        <p14:creationId xmlns:p14="http://schemas.microsoft.com/office/powerpoint/2010/main" val="1896084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4.16667E-7 -1.85185E-6 L -0.11849 -1.85185E-6 " pathEditMode="relative" rAng="0" ptsTypes="AA">
                                      <p:cBhvr>
                                        <p:cTn id="6" dur="1000" fill="hold"/>
                                        <p:tgtEl>
                                          <p:spTgt spid="3"/>
                                        </p:tgtEl>
                                        <p:attrNameLst>
                                          <p:attrName>ppt_x</p:attrName>
                                          <p:attrName>ppt_y</p:attrName>
                                        </p:attrNameLst>
                                      </p:cBhvr>
                                      <p:rCtr x="-5924" y="0"/>
                                    </p:animMotion>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500"/>
                                        <p:tgtEl>
                                          <p:spTgt spid="9"/>
                                        </p:tgtEl>
                                      </p:cBhvr>
                                    </p:animEffect>
                                  </p:childTnLst>
                                </p:cTn>
                              </p:par>
                              <p:par>
                                <p:cTn id="10" presetID="42" presetClass="path" presetSubtype="0" decel="50000" fill="hold" grpId="1" nodeType="withEffect">
                                  <p:stCondLst>
                                    <p:cond delay="0"/>
                                  </p:stCondLst>
                                  <p:childTnLst>
                                    <p:animMotion origin="layout" path="M 4.16667E-7 4.07407E-6 L 4.16667E-7 -0.08959 " pathEditMode="relative" rAng="0" ptsTypes="AA">
                                      <p:cBhvr>
                                        <p:cTn id="11" dur="750" spd="-100000" fill="hold"/>
                                        <p:tgtEl>
                                          <p:spTgt spid="9"/>
                                        </p:tgtEl>
                                        <p:attrNameLst>
                                          <p:attrName>ppt_x</p:attrName>
                                          <p:attrName>ppt_y</p:attrName>
                                        </p:attrNameLst>
                                      </p:cBhvr>
                                      <p:rCtr x="0" y="-4491"/>
                                    </p:animMotion>
                                  </p:childTnLst>
                                </p:cTn>
                              </p:par>
                              <p:par>
                                <p:cTn id="12" presetID="10" presetClass="entr" presetSubtype="0" fill="hold" grpId="0" nodeType="withEffect">
                                  <p:stCondLst>
                                    <p:cond delay="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decel="50000" fill="hold" grpId="1" nodeType="withEffect">
                                  <p:stCondLst>
                                    <p:cond delay="250"/>
                                  </p:stCondLst>
                                  <p:childTnLst>
                                    <p:animMotion origin="layout" path="M 4.16667E-7 4.07407E-6 L 4.16667E-7 -0.08959 " pathEditMode="relative" rAng="0" ptsTypes="AA">
                                      <p:cBhvr>
                                        <p:cTn id="16" dur="750" spd="-100000" fill="hold"/>
                                        <p:tgtEl>
                                          <p:spTgt spid="10"/>
                                        </p:tgtEl>
                                        <p:attrNameLst>
                                          <p:attrName>ppt_x</p:attrName>
                                          <p:attrName>ppt_y</p:attrName>
                                        </p:attrNameLst>
                                      </p:cBhvr>
                                      <p:rCtr x="0" y="-4491"/>
                                    </p:animMotion>
                                  </p:childTnLst>
                                </p:cTn>
                              </p:par>
                              <p:par>
                                <p:cTn id="17" presetID="10" presetClass="entr" presetSubtype="0" fill="hold" grpId="0" nodeType="withEffect">
                                  <p:stCondLst>
                                    <p:cond delay="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50000" fill="hold" grpId="1" nodeType="withEffect">
                                  <p:stCondLst>
                                    <p:cond delay="500"/>
                                  </p:stCondLst>
                                  <p:childTnLst>
                                    <p:animMotion origin="layout" path="M 4.16667E-7 4.07407E-6 L 4.16667E-7 -0.08959 " pathEditMode="relative" rAng="0" ptsTypes="AA">
                                      <p:cBhvr>
                                        <p:cTn id="21" dur="750" spd="-100000" fill="hold"/>
                                        <p:tgtEl>
                                          <p:spTgt spid="11"/>
                                        </p:tgtEl>
                                        <p:attrNameLst>
                                          <p:attrName>ppt_x</p:attrName>
                                          <p:attrName>ppt_y</p:attrName>
                                        </p:attrNameLst>
                                      </p:cBhvr>
                                      <p:rCtr x="0" y="-4491"/>
                                    </p:animMotion>
                                  </p:childTnLst>
                                </p:cTn>
                              </p:par>
                              <p:par>
                                <p:cTn id="22" presetID="10" presetClass="entr" presetSubtype="0" fill="hold" grpId="0" nodeType="withEffect">
                                  <p:stCondLst>
                                    <p:cond delay="25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35" presetClass="path" presetSubtype="0" decel="100000" fill="hold" grpId="1" nodeType="withEffect">
                                  <p:stCondLst>
                                    <p:cond delay="250"/>
                                  </p:stCondLst>
                                  <p:childTnLst>
                                    <p:animMotion origin="layout" path="M 0 -1.85185E-6 L 0 -0.0743 " pathEditMode="relative" rAng="0" ptsTypes="AA">
                                      <p:cBhvr>
                                        <p:cTn id="26" dur="750" spd="-100000" fill="hold"/>
                                        <p:tgtEl>
                                          <p:spTgt spid="2"/>
                                        </p:tgtEl>
                                        <p:attrNameLst>
                                          <p:attrName>ppt_x</p:attrName>
                                          <p:attrName>ppt_y</p:attrName>
                                        </p:attrNameLst>
                                      </p:cBhvr>
                                      <p:rCtr x="0" y="-3727"/>
                                    </p:animMotion>
                                  </p:childTnLst>
                                </p:cTn>
                              </p:par>
                              <p:par>
                                <p:cTn id="27" presetID="10" presetClass="entr" presetSubtype="0" fill="hold" grpId="0" nodeType="withEffect">
                                  <p:stCondLst>
                                    <p:cond delay="100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42" presetClass="path" presetSubtype="0" decel="50000" fill="hold" grpId="1" nodeType="withEffect">
                                  <p:stCondLst>
                                    <p:cond delay="1000"/>
                                  </p:stCondLst>
                                  <p:childTnLst>
                                    <p:animMotion origin="layout" path="M 1.45833E-6 -4.81481E-6 L -0.03112 -4.81481E-6 " pathEditMode="relative" rAng="0" ptsTypes="AA">
                                      <p:cBhvr>
                                        <p:cTn id="31" dur="750" spd="-100000" fill="hold"/>
                                        <p:tgtEl>
                                          <p:spTgt spid="95"/>
                                        </p:tgtEl>
                                        <p:attrNameLst>
                                          <p:attrName>ppt_x</p:attrName>
                                          <p:attrName>ppt_y</p:attrName>
                                        </p:attrNameLst>
                                      </p:cBhvr>
                                      <p:rCtr x="-1563" y="0"/>
                                    </p:animMotion>
                                  </p:childTnLst>
                                </p:cTn>
                              </p:par>
                              <p:par>
                                <p:cTn id="32" presetID="10" presetClass="entr" presetSubtype="0" fill="hold" grpId="0" nodeType="withEffect">
                                  <p:stCondLst>
                                    <p:cond delay="1100"/>
                                  </p:stCondLst>
                                  <p:childTnLst>
                                    <p:set>
                                      <p:cBhvr>
                                        <p:cTn id="33" dur="1" fill="hold">
                                          <p:stCondLst>
                                            <p:cond delay="0"/>
                                          </p:stCondLst>
                                        </p:cTn>
                                        <p:tgtEl>
                                          <p:spTgt spid="108"/>
                                        </p:tgtEl>
                                        <p:attrNameLst>
                                          <p:attrName>style.visibility</p:attrName>
                                        </p:attrNameLst>
                                      </p:cBhvr>
                                      <p:to>
                                        <p:strVal val="visible"/>
                                      </p:to>
                                    </p:set>
                                    <p:animEffect transition="in" filter="fade">
                                      <p:cBhvr>
                                        <p:cTn id="34" dur="500"/>
                                        <p:tgtEl>
                                          <p:spTgt spid="108"/>
                                        </p:tgtEl>
                                      </p:cBhvr>
                                    </p:animEffect>
                                  </p:childTnLst>
                                </p:cTn>
                              </p:par>
                              <p:par>
                                <p:cTn id="35" presetID="42" presetClass="path" presetSubtype="0" decel="50000" fill="hold" grpId="1" nodeType="withEffect">
                                  <p:stCondLst>
                                    <p:cond delay="1100"/>
                                  </p:stCondLst>
                                  <p:childTnLst>
                                    <p:animMotion origin="layout" path="M 1.45833E-6 -4.81481E-6 L -0.03216 -4.81481E-6 " pathEditMode="relative" rAng="0" ptsTypes="AA">
                                      <p:cBhvr>
                                        <p:cTn id="36" dur="750" spd="-100000" fill="hold"/>
                                        <p:tgtEl>
                                          <p:spTgt spid="108"/>
                                        </p:tgtEl>
                                        <p:attrNameLst>
                                          <p:attrName>ppt_x</p:attrName>
                                          <p:attrName>ppt_y</p:attrName>
                                        </p:attrNameLst>
                                      </p:cBhvr>
                                      <p:rCtr x="-1615" y="0"/>
                                    </p:animMotion>
                                  </p:childTnLst>
                                </p:cTn>
                              </p:par>
                              <p:par>
                                <p:cTn id="37" presetID="10" presetClass="entr" presetSubtype="0" fill="hold" grpId="0" nodeType="withEffect">
                                  <p:stCondLst>
                                    <p:cond delay="1200"/>
                                  </p:stCondLst>
                                  <p:childTnLst>
                                    <p:set>
                                      <p:cBhvr>
                                        <p:cTn id="38" dur="1" fill="hold">
                                          <p:stCondLst>
                                            <p:cond delay="0"/>
                                          </p:stCondLst>
                                        </p:cTn>
                                        <p:tgtEl>
                                          <p:spTgt spid="118"/>
                                        </p:tgtEl>
                                        <p:attrNameLst>
                                          <p:attrName>style.visibility</p:attrName>
                                        </p:attrNameLst>
                                      </p:cBhvr>
                                      <p:to>
                                        <p:strVal val="visible"/>
                                      </p:to>
                                    </p:set>
                                    <p:animEffect transition="in" filter="fade">
                                      <p:cBhvr>
                                        <p:cTn id="39" dur="500"/>
                                        <p:tgtEl>
                                          <p:spTgt spid="118"/>
                                        </p:tgtEl>
                                      </p:cBhvr>
                                    </p:animEffect>
                                  </p:childTnLst>
                                </p:cTn>
                              </p:par>
                              <p:par>
                                <p:cTn id="40" presetID="42" presetClass="path" presetSubtype="0" decel="50000" fill="hold" grpId="1" nodeType="withEffect">
                                  <p:stCondLst>
                                    <p:cond delay="1200"/>
                                  </p:stCondLst>
                                  <p:childTnLst>
                                    <p:animMotion origin="layout" path="M 1.45833E-6 -4.81481E-6 L -0.0306 -4.81481E-6 " pathEditMode="relative" rAng="0" ptsTypes="AA">
                                      <p:cBhvr>
                                        <p:cTn id="41" dur="750" spd="-100000" fill="hold"/>
                                        <p:tgtEl>
                                          <p:spTgt spid="118"/>
                                        </p:tgtEl>
                                        <p:attrNameLst>
                                          <p:attrName>ppt_x</p:attrName>
                                          <p:attrName>ppt_y</p:attrName>
                                        </p:attrNameLst>
                                      </p:cBhvr>
                                      <p:rCtr x="-1536" y="0"/>
                                    </p:animMotion>
                                  </p:childTnLst>
                                </p:cTn>
                              </p:par>
                              <p:par>
                                <p:cTn id="42" presetID="10" presetClass="entr" presetSubtype="0" fill="hold" nodeType="withEffect">
                                  <p:stCondLst>
                                    <p:cond delay="1500"/>
                                  </p:stCondLst>
                                  <p:childTnLst>
                                    <p:set>
                                      <p:cBhvr>
                                        <p:cTn id="43" dur="1" fill="hold">
                                          <p:stCondLst>
                                            <p:cond delay="0"/>
                                          </p:stCondLst>
                                        </p:cTn>
                                        <p:tgtEl>
                                          <p:spTgt spid="136"/>
                                        </p:tgtEl>
                                        <p:attrNameLst>
                                          <p:attrName>style.visibility</p:attrName>
                                        </p:attrNameLst>
                                      </p:cBhvr>
                                      <p:to>
                                        <p:strVal val="visible"/>
                                      </p:to>
                                    </p:set>
                                    <p:animEffect transition="in" filter="fade">
                                      <p:cBhvr>
                                        <p:cTn id="44" dur="500"/>
                                        <p:tgtEl>
                                          <p:spTgt spid="136"/>
                                        </p:tgtEl>
                                      </p:cBhvr>
                                    </p:animEffect>
                                  </p:childTnLst>
                                </p:cTn>
                              </p:par>
                              <p:par>
                                <p:cTn id="45" presetID="42" presetClass="path" presetSubtype="0" decel="50000" fill="hold" nodeType="withEffect">
                                  <p:stCondLst>
                                    <p:cond delay="1500"/>
                                  </p:stCondLst>
                                  <p:childTnLst>
                                    <p:animMotion origin="layout" path="M 1.66667E-6 -3.33333E-6 L -0.03008 -3.33333E-6 " pathEditMode="relative" rAng="0" ptsTypes="AA">
                                      <p:cBhvr>
                                        <p:cTn id="46" dur="750" spd="-100000" fill="hold"/>
                                        <p:tgtEl>
                                          <p:spTgt spid="136"/>
                                        </p:tgtEl>
                                        <p:attrNameLst>
                                          <p:attrName>ppt_x</p:attrName>
                                          <p:attrName>ppt_y</p:attrName>
                                        </p:attrNameLst>
                                      </p:cBhvr>
                                      <p:rCtr x="-1510" y="0"/>
                                    </p:animMotion>
                                  </p:childTnLst>
                                </p:cTn>
                              </p:par>
                              <p:par>
                                <p:cTn id="47" presetID="10" presetClass="entr" presetSubtype="0" fill="hold" grpId="0" nodeType="withEffect">
                                  <p:stCondLst>
                                    <p:cond delay="1000"/>
                                  </p:stCondLst>
                                  <p:childTnLst>
                                    <p:set>
                                      <p:cBhvr>
                                        <p:cTn id="48" dur="1" fill="hold">
                                          <p:stCondLst>
                                            <p:cond delay="0"/>
                                          </p:stCondLst>
                                        </p:cTn>
                                        <p:tgtEl>
                                          <p:spTgt spid="139"/>
                                        </p:tgtEl>
                                        <p:attrNameLst>
                                          <p:attrName>style.visibility</p:attrName>
                                        </p:attrNameLst>
                                      </p:cBhvr>
                                      <p:to>
                                        <p:strVal val="visible"/>
                                      </p:to>
                                    </p:set>
                                    <p:animEffect transition="in" filter="fade">
                                      <p:cBhvr>
                                        <p:cTn id="49" dur="500"/>
                                        <p:tgtEl>
                                          <p:spTgt spid="139"/>
                                        </p:tgtEl>
                                      </p:cBhvr>
                                    </p:animEffect>
                                  </p:childTnLst>
                                </p:cTn>
                              </p:par>
                              <p:par>
                                <p:cTn id="50" presetID="42" presetClass="path" presetSubtype="0" decel="50000" fill="hold" grpId="1" nodeType="withEffect">
                                  <p:stCondLst>
                                    <p:cond delay="1000"/>
                                  </p:stCondLst>
                                  <p:childTnLst>
                                    <p:animMotion origin="layout" path="M 1.45833E-6 1.85185E-6 L -0.03112 1.85185E-6 " pathEditMode="relative" rAng="0" ptsTypes="AA">
                                      <p:cBhvr>
                                        <p:cTn id="51" dur="750" spd="-100000" fill="hold"/>
                                        <p:tgtEl>
                                          <p:spTgt spid="139"/>
                                        </p:tgtEl>
                                        <p:attrNameLst>
                                          <p:attrName>ppt_x</p:attrName>
                                          <p:attrName>ppt_y</p:attrName>
                                        </p:attrNameLst>
                                      </p:cBhvr>
                                      <p:rCtr x="-1563" y="0"/>
                                    </p:animMotion>
                                  </p:childTnLst>
                                </p:cTn>
                              </p:par>
                              <p:par>
                                <p:cTn id="52" presetID="10" presetClass="entr" presetSubtype="0" fill="hold" grpId="0" nodeType="withEffect">
                                  <p:stCondLst>
                                    <p:cond delay="1100"/>
                                  </p:stCondLst>
                                  <p:childTnLst>
                                    <p:set>
                                      <p:cBhvr>
                                        <p:cTn id="53" dur="1" fill="hold">
                                          <p:stCondLst>
                                            <p:cond delay="0"/>
                                          </p:stCondLst>
                                        </p:cTn>
                                        <p:tgtEl>
                                          <p:spTgt spid="140"/>
                                        </p:tgtEl>
                                        <p:attrNameLst>
                                          <p:attrName>style.visibility</p:attrName>
                                        </p:attrNameLst>
                                      </p:cBhvr>
                                      <p:to>
                                        <p:strVal val="visible"/>
                                      </p:to>
                                    </p:set>
                                    <p:animEffect transition="in" filter="fade">
                                      <p:cBhvr>
                                        <p:cTn id="54" dur="500"/>
                                        <p:tgtEl>
                                          <p:spTgt spid="140"/>
                                        </p:tgtEl>
                                      </p:cBhvr>
                                    </p:animEffect>
                                  </p:childTnLst>
                                </p:cTn>
                              </p:par>
                              <p:par>
                                <p:cTn id="55" presetID="42" presetClass="path" presetSubtype="0" decel="50000" fill="hold" grpId="1" nodeType="withEffect">
                                  <p:stCondLst>
                                    <p:cond delay="1100"/>
                                  </p:stCondLst>
                                  <p:childTnLst>
                                    <p:animMotion origin="layout" path="M 1.45833E-6 1.85185E-6 L -0.03216 1.85185E-6 " pathEditMode="relative" rAng="0" ptsTypes="AA">
                                      <p:cBhvr>
                                        <p:cTn id="56" dur="750" spd="-100000" fill="hold"/>
                                        <p:tgtEl>
                                          <p:spTgt spid="140"/>
                                        </p:tgtEl>
                                        <p:attrNameLst>
                                          <p:attrName>ppt_x</p:attrName>
                                          <p:attrName>ppt_y</p:attrName>
                                        </p:attrNameLst>
                                      </p:cBhvr>
                                      <p:rCtr x="-1615" y="0"/>
                                    </p:animMotion>
                                  </p:childTnLst>
                                </p:cTn>
                              </p:par>
                              <p:par>
                                <p:cTn id="57" presetID="10" presetClass="entr" presetSubtype="0" fill="hold" grpId="0" nodeType="withEffect">
                                  <p:stCondLst>
                                    <p:cond delay="1200"/>
                                  </p:stCondLst>
                                  <p:childTnLst>
                                    <p:set>
                                      <p:cBhvr>
                                        <p:cTn id="58" dur="1" fill="hold">
                                          <p:stCondLst>
                                            <p:cond delay="0"/>
                                          </p:stCondLst>
                                        </p:cTn>
                                        <p:tgtEl>
                                          <p:spTgt spid="141"/>
                                        </p:tgtEl>
                                        <p:attrNameLst>
                                          <p:attrName>style.visibility</p:attrName>
                                        </p:attrNameLst>
                                      </p:cBhvr>
                                      <p:to>
                                        <p:strVal val="visible"/>
                                      </p:to>
                                    </p:set>
                                    <p:animEffect transition="in" filter="fade">
                                      <p:cBhvr>
                                        <p:cTn id="59" dur="500"/>
                                        <p:tgtEl>
                                          <p:spTgt spid="141"/>
                                        </p:tgtEl>
                                      </p:cBhvr>
                                    </p:animEffect>
                                  </p:childTnLst>
                                </p:cTn>
                              </p:par>
                              <p:par>
                                <p:cTn id="60" presetID="42" presetClass="path" presetSubtype="0" decel="50000" fill="hold" grpId="1" nodeType="withEffect">
                                  <p:stCondLst>
                                    <p:cond delay="1200"/>
                                  </p:stCondLst>
                                  <p:childTnLst>
                                    <p:animMotion origin="layout" path="M 1.45833E-6 1.85185E-6 L -0.0306 1.85185E-6 " pathEditMode="relative" rAng="0" ptsTypes="AA">
                                      <p:cBhvr>
                                        <p:cTn id="61" dur="750" spd="-100000" fill="hold"/>
                                        <p:tgtEl>
                                          <p:spTgt spid="141"/>
                                        </p:tgtEl>
                                        <p:attrNameLst>
                                          <p:attrName>ppt_x</p:attrName>
                                          <p:attrName>ppt_y</p:attrName>
                                        </p:attrNameLst>
                                      </p:cBhvr>
                                      <p:rCtr x="-1536" y="0"/>
                                    </p:animMotion>
                                  </p:childTnLst>
                                </p:cTn>
                              </p:par>
                              <p:par>
                                <p:cTn id="62" presetID="10" presetClass="entr" presetSubtype="0" fill="hold" nodeType="withEffect">
                                  <p:stCondLst>
                                    <p:cond delay="1500"/>
                                  </p:stCondLst>
                                  <p:childTnLst>
                                    <p:set>
                                      <p:cBhvr>
                                        <p:cTn id="63" dur="1" fill="hold">
                                          <p:stCondLst>
                                            <p:cond delay="0"/>
                                          </p:stCondLst>
                                        </p:cTn>
                                        <p:tgtEl>
                                          <p:spTgt spid="142"/>
                                        </p:tgtEl>
                                        <p:attrNameLst>
                                          <p:attrName>style.visibility</p:attrName>
                                        </p:attrNameLst>
                                      </p:cBhvr>
                                      <p:to>
                                        <p:strVal val="visible"/>
                                      </p:to>
                                    </p:set>
                                    <p:animEffect transition="in" filter="fade">
                                      <p:cBhvr>
                                        <p:cTn id="64" dur="500"/>
                                        <p:tgtEl>
                                          <p:spTgt spid="142"/>
                                        </p:tgtEl>
                                      </p:cBhvr>
                                    </p:animEffect>
                                  </p:childTnLst>
                                </p:cTn>
                              </p:par>
                              <p:par>
                                <p:cTn id="65" presetID="42" presetClass="path" presetSubtype="0" decel="50000" fill="hold" nodeType="withEffect">
                                  <p:stCondLst>
                                    <p:cond delay="1500"/>
                                  </p:stCondLst>
                                  <p:childTnLst>
                                    <p:animMotion origin="layout" path="M 1.66667E-6 1.85185E-6 L -0.03008 1.85185E-6 " pathEditMode="relative" rAng="0" ptsTypes="AA">
                                      <p:cBhvr>
                                        <p:cTn id="66" dur="750" spd="-100000" fill="hold"/>
                                        <p:tgtEl>
                                          <p:spTgt spid="142"/>
                                        </p:tgtEl>
                                        <p:attrNameLst>
                                          <p:attrName>ppt_x</p:attrName>
                                          <p:attrName>ppt_y</p:attrName>
                                        </p:attrNameLst>
                                      </p:cBhvr>
                                      <p:rCtr x="-1510" y="0"/>
                                    </p:animMotion>
                                  </p:childTnLst>
                                </p:cTn>
                              </p:par>
                              <p:par>
                                <p:cTn id="67" presetID="10" presetClass="entr" presetSubtype="0" fill="hold" grpId="0" nodeType="withEffect">
                                  <p:stCondLst>
                                    <p:cond delay="1000"/>
                                  </p:stCondLst>
                                  <p:childTnLst>
                                    <p:set>
                                      <p:cBhvr>
                                        <p:cTn id="68" dur="1" fill="hold">
                                          <p:stCondLst>
                                            <p:cond delay="0"/>
                                          </p:stCondLst>
                                        </p:cTn>
                                        <p:tgtEl>
                                          <p:spTgt spid="145"/>
                                        </p:tgtEl>
                                        <p:attrNameLst>
                                          <p:attrName>style.visibility</p:attrName>
                                        </p:attrNameLst>
                                      </p:cBhvr>
                                      <p:to>
                                        <p:strVal val="visible"/>
                                      </p:to>
                                    </p:set>
                                    <p:animEffect transition="in" filter="fade">
                                      <p:cBhvr>
                                        <p:cTn id="69" dur="500"/>
                                        <p:tgtEl>
                                          <p:spTgt spid="145"/>
                                        </p:tgtEl>
                                      </p:cBhvr>
                                    </p:animEffect>
                                  </p:childTnLst>
                                </p:cTn>
                              </p:par>
                              <p:par>
                                <p:cTn id="70" presetID="42" presetClass="path" presetSubtype="0" decel="50000" fill="hold" grpId="1" nodeType="withEffect">
                                  <p:stCondLst>
                                    <p:cond delay="1000"/>
                                  </p:stCondLst>
                                  <p:childTnLst>
                                    <p:animMotion origin="layout" path="M 1.45833E-6 -1.48148E-6 L -0.03112 -1.48148E-6 " pathEditMode="relative" rAng="0" ptsTypes="AA">
                                      <p:cBhvr>
                                        <p:cTn id="71" dur="750" spd="-100000" fill="hold"/>
                                        <p:tgtEl>
                                          <p:spTgt spid="145"/>
                                        </p:tgtEl>
                                        <p:attrNameLst>
                                          <p:attrName>ppt_x</p:attrName>
                                          <p:attrName>ppt_y</p:attrName>
                                        </p:attrNameLst>
                                      </p:cBhvr>
                                      <p:rCtr x="-1563" y="0"/>
                                    </p:animMotion>
                                  </p:childTnLst>
                                </p:cTn>
                              </p:par>
                              <p:par>
                                <p:cTn id="72" presetID="10" presetClass="entr" presetSubtype="0" fill="hold" grpId="0" nodeType="withEffect">
                                  <p:stCondLst>
                                    <p:cond delay="1100"/>
                                  </p:stCondLst>
                                  <p:childTnLst>
                                    <p:set>
                                      <p:cBhvr>
                                        <p:cTn id="73" dur="1" fill="hold">
                                          <p:stCondLst>
                                            <p:cond delay="0"/>
                                          </p:stCondLst>
                                        </p:cTn>
                                        <p:tgtEl>
                                          <p:spTgt spid="146"/>
                                        </p:tgtEl>
                                        <p:attrNameLst>
                                          <p:attrName>style.visibility</p:attrName>
                                        </p:attrNameLst>
                                      </p:cBhvr>
                                      <p:to>
                                        <p:strVal val="visible"/>
                                      </p:to>
                                    </p:set>
                                    <p:animEffect transition="in" filter="fade">
                                      <p:cBhvr>
                                        <p:cTn id="74" dur="500"/>
                                        <p:tgtEl>
                                          <p:spTgt spid="146"/>
                                        </p:tgtEl>
                                      </p:cBhvr>
                                    </p:animEffect>
                                  </p:childTnLst>
                                </p:cTn>
                              </p:par>
                              <p:par>
                                <p:cTn id="75" presetID="42" presetClass="path" presetSubtype="0" decel="50000" fill="hold" grpId="1" nodeType="withEffect">
                                  <p:stCondLst>
                                    <p:cond delay="1100"/>
                                  </p:stCondLst>
                                  <p:childTnLst>
                                    <p:animMotion origin="layout" path="M 1.45833E-6 -1.48148E-6 L -0.03216 -1.48148E-6 " pathEditMode="relative" rAng="0" ptsTypes="AA">
                                      <p:cBhvr>
                                        <p:cTn id="76" dur="750" spd="-100000" fill="hold"/>
                                        <p:tgtEl>
                                          <p:spTgt spid="146"/>
                                        </p:tgtEl>
                                        <p:attrNameLst>
                                          <p:attrName>ppt_x</p:attrName>
                                          <p:attrName>ppt_y</p:attrName>
                                        </p:attrNameLst>
                                      </p:cBhvr>
                                      <p:rCtr x="-1615" y="0"/>
                                    </p:animMotion>
                                  </p:childTnLst>
                                </p:cTn>
                              </p:par>
                              <p:par>
                                <p:cTn id="77" presetID="10" presetClass="entr" presetSubtype="0" fill="hold" grpId="0" nodeType="withEffect">
                                  <p:stCondLst>
                                    <p:cond delay="1200"/>
                                  </p:stCondLst>
                                  <p:childTnLst>
                                    <p:set>
                                      <p:cBhvr>
                                        <p:cTn id="78" dur="1" fill="hold">
                                          <p:stCondLst>
                                            <p:cond delay="0"/>
                                          </p:stCondLst>
                                        </p:cTn>
                                        <p:tgtEl>
                                          <p:spTgt spid="147"/>
                                        </p:tgtEl>
                                        <p:attrNameLst>
                                          <p:attrName>style.visibility</p:attrName>
                                        </p:attrNameLst>
                                      </p:cBhvr>
                                      <p:to>
                                        <p:strVal val="visible"/>
                                      </p:to>
                                    </p:set>
                                    <p:animEffect transition="in" filter="fade">
                                      <p:cBhvr>
                                        <p:cTn id="79" dur="500"/>
                                        <p:tgtEl>
                                          <p:spTgt spid="147"/>
                                        </p:tgtEl>
                                      </p:cBhvr>
                                    </p:animEffect>
                                  </p:childTnLst>
                                </p:cTn>
                              </p:par>
                              <p:par>
                                <p:cTn id="80" presetID="42" presetClass="path" presetSubtype="0" decel="50000" fill="hold" grpId="1" nodeType="withEffect">
                                  <p:stCondLst>
                                    <p:cond delay="1200"/>
                                  </p:stCondLst>
                                  <p:childTnLst>
                                    <p:animMotion origin="layout" path="M 1.45833E-6 -1.48148E-6 L -0.0306 -1.48148E-6 " pathEditMode="relative" rAng="0" ptsTypes="AA">
                                      <p:cBhvr>
                                        <p:cTn id="81" dur="750" spd="-100000" fill="hold"/>
                                        <p:tgtEl>
                                          <p:spTgt spid="147"/>
                                        </p:tgtEl>
                                        <p:attrNameLst>
                                          <p:attrName>ppt_x</p:attrName>
                                          <p:attrName>ppt_y</p:attrName>
                                        </p:attrNameLst>
                                      </p:cBhvr>
                                      <p:rCtr x="-1536" y="0"/>
                                    </p:animMotion>
                                  </p:childTnLst>
                                </p:cTn>
                              </p:par>
                              <p:par>
                                <p:cTn id="82" presetID="10" presetClass="entr" presetSubtype="0" fill="hold" nodeType="withEffect">
                                  <p:stCondLst>
                                    <p:cond delay="1500"/>
                                  </p:stCondLst>
                                  <p:childTnLst>
                                    <p:set>
                                      <p:cBhvr>
                                        <p:cTn id="83" dur="1" fill="hold">
                                          <p:stCondLst>
                                            <p:cond delay="0"/>
                                          </p:stCondLst>
                                        </p:cTn>
                                        <p:tgtEl>
                                          <p:spTgt spid="148"/>
                                        </p:tgtEl>
                                        <p:attrNameLst>
                                          <p:attrName>style.visibility</p:attrName>
                                        </p:attrNameLst>
                                      </p:cBhvr>
                                      <p:to>
                                        <p:strVal val="visible"/>
                                      </p:to>
                                    </p:set>
                                    <p:animEffect transition="in" filter="fade">
                                      <p:cBhvr>
                                        <p:cTn id="84" dur="500"/>
                                        <p:tgtEl>
                                          <p:spTgt spid="148"/>
                                        </p:tgtEl>
                                      </p:cBhvr>
                                    </p:animEffect>
                                  </p:childTnLst>
                                </p:cTn>
                              </p:par>
                              <p:par>
                                <p:cTn id="85" presetID="42" presetClass="path" presetSubtype="0" decel="50000" fill="hold" nodeType="withEffect">
                                  <p:stCondLst>
                                    <p:cond delay="1500"/>
                                  </p:stCondLst>
                                  <p:childTnLst>
                                    <p:animMotion origin="layout" path="M 1.66667E-6 -1.48148E-6 L -0.03008 -1.48148E-6 " pathEditMode="relative" rAng="0" ptsTypes="AA">
                                      <p:cBhvr>
                                        <p:cTn id="86" dur="750" spd="-100000" fill="hold"/>
                                        <p:tgtEl>
                                          <p:spTgt spid="148"/>
                                        </p:tgtEl>
                                        <p:attrNameLst>
                                          <p:attrName>ppt_x</p:attrName>
                                          <p:attrName>ppt_y</p:attrName>
                                        </p:attrNameLst>
                                      </p:cBhvr>
                                      <p:rCtr x="-1510" y="0"/>
                                    </p:animMotion>
                                  </p:childTnLst>
                                </p:cTn>
                              </p:par>
                              <p:par>
                                <p:cTn id="87" presetID="10" presetClass="entr" presetSubtype="0" fill="hold" grpId="0" nodeType="withEffect">
                                  <p:stCondLst>
                                    <p:cond delay="1750"/>
                                  </p:stCondLst>
                                  <p:childTnLst>
                                    <p:set>
                                      <p:cBhvr>
                                        <p:cTn id="88" dur="1" fill="hold">
                                          <p:stCondLst>
                                            <p:cond delay="0"/>
                                          </p:stCondLst>
                                        </p:cTn>
                                        <p:tgtEl>
                                          <p:spTgt spid="157"/>
                                        </p:tgtEl>
                                        <p:attrNameLst>
                                          <p:attrName>style.visibility</p:attrName>
                                        </p:attrNameLst>
                                      </p:cBhvr>
                                      <p:to>
                                        <p:strVal val="visible"/>
                                      </p:to>
                                    </p:set>
                                    <p:animEffect transition="in" filter="fade">
                                      <p:cBhvr>
                                        <p:cTn id="89" dur="500"/>
                                        <p:tgtEl>
                                          <p:spTgt spid="157"/>
                                        </p:tgtEl>
                                      </p:cBhvr>
                                    </p:animEffect>
                                  </p:childTnLst>
                                </p:cTn>
                              </p:par>
                              <p:par>
                                <p:cTn id="90" presetID="42" presetClass="path" presetSubtype="0" decel="50000" fill="hold" grpId="1" nodeType="withEffect">
                                  <p:stCondLst>
                                    <p:cond delay="1750"/>
                                  </p:stCondLst>
                                  <p:childTnLst>
                                    <p:animMotion origin="layout" path="M -4.375E-6 -3.7037E-6 L 0.01276 -3.7037E-6 " pathEditMode="relative" rAng="0" ptsTypes="AA">
                                      <p:cBhvr>
                                        <p:cTn id="91" dur="750" spd="-100000" fill="hold"/>
                                        <p:tgtEl>
                                          <p:spTgt spid="157"/>
                                        </p:tgtEl>
                                        <p:attrNameLst>
                                          <p:attrName>ppt_x</p:attrName>
                                          <p:attrName>ppt_y</p:attrName>
                                        </p:attrNameLst>
                                      </p:cBhvr>
                                      <p:rCtr x="638" y="0"/>
                                    </p:animMotion>
                                  </p:childTnLst>
                                </p:cTn>
                              </p:par>
                              <p:par>
                                <p:cTn id="92" presetID="10" presetClass="entr" presetSubtype="0" fill="hold" grpId="0" nodeType="withEffect">
                                  <p:stCondLst>
                                    <p:cond delay="1750"/>
                                  </p:stCondLst>
                                  <p:childTnLst>
                                    <p:set>
                                      <p:cBhvr>
                                        <p:cTn id="93" dur="1" fill="hold">
                                          <p:stCondLst>
                                            <p:cond delay="0"/>
                                          </p:stCondLst>
                                        </p:cTn>
                                        <p:tgtEl>
                                          <p:spTgt spid="158"/>
                                        </p:tgtEl>
                                        <p:attrNameLst>
                                          <p:attrName>style.visibility</p:attrName>
                                        </p:attrNameLst>
                                      </p:cBhvr>
                                      <p:to>
                                        <p:strVal val="visible"/>
                                      </p:to>
                                    </p:set>
                                    <p:animEffect transition="in" filter="fade">
                                      <p:cBhvr>
                                        <p:cTn id="94" dur="500"/>
                                        <p:tgtEl>
                                          <p:spTgt spid="158"/>
                                        </p:tgtEl>
                                      </p:cBhvr>
                                    </p:animEffect>
                                  </p:childTnLst>
                                </p:cTn>
                              </p:par>
                              <p:par>
                                <p:cTn id="95" presetID="42" presetClass="path" presetSubtype="0" decel="50000" fill="hold" grpId="1" nodeType="withEffect">
                                  <p:stCondLst>
                                    <p:cond delay="1750"/>
                                  </p:stCondLst>
                                  <p:childTnLst>
                                    <p:animMotion origin="layout" path="M -4.375E-6 1.48148E-6 L 0.01276 1.48148E-6 " pathEditMode="relative" rAng="0" ptsTypes="AA">
                                      <p:cBhvr>
                                        <p:cTn id="96" dur="750" spd="-100000" fill="hold"/>
                                        <p:tgtEl>
                                          <p:spTgt spid="158"/>
                                        </p:tgtEl>
                                        <p:attrNameLst>
                                          <p:attrName>ppt_x</p:attrName>
                                          <p:attrName>ppt_y</p:attrName>
                                        </p:attrNameLst>
                                      </p:cBhvr>
                                      <p:rCtr x="638" y="0"/>
                                    </p:animMotion>
                                  </p:childTnLst>
                                </p:cTn>
                              </p:par>
                              <p:par>
                                <p:cTn id="97" presetID="10" presetClass="entr" presetSubtype="0" fill="hold" grpId="0" nodeType="withEffect">
                                  <p:stCondLst>
                                    <p:cond delay="1750"/>
                                  </p:stCondLst>
                                  <p:childTnLst>
                                    <p:set>
                                      <p:cBhvr>
                                        <p:cTn id="98" dur="1" fill="hold">
                                          <p:stCondLst>
                                            <p:cond delay="0"/>
                                          </p:stCondLst>
                                        </p:cTn>
                                        <p:tgtEl>
                                          <p:spTgt spid="159"/>
                                        </p:tgtEl>
                                        <p:attrNameLst>
                                          <p:attrName>style.visibility</p:attrName>
                                        </p:attrNameLst>
                                      </p:cBhvr>
                                      <p:to>
                                        <p:strVal val="visible"/>
                                      </p:to>
                                    </p:set>
                                    <p:animEffect transition="in" filter="fade">
                                      <p:cBhvr>
                                        <p:cTn id="99" dur="500"/>
                                        <p:tgtEl>
                                          <p:spTgt spid="159"/>
                                        </p:tgtEl>
                                      </p:cBhvr>
                                    </p:animEffect>
                                  </p:childTnLst>
                                </p:cTn>
                              </p:par>
                              <p:par>
                                <p:cTn id="100" presetID="42" presetClass="path" presetSubtype="0" decel="50000" fill="hold" grpId="1" nodeType="withEffect">
                                  <p:stCondLst>
                                    <p:cond delay="1750"/>
                                  </p:stCondLst>
                                  <p:childTnLst>
                                    <p:animMotion origin="layout" path="M -4.375E-6 -1.85185E-6 L 0.01276 -1.85185E-6 " pathEditMode="relative" rAng="0" ptsTypes="AA">
                                      <p:cBhvr>
                                        <p:cTn id="101" dur="750" spd="-100000" fill="hold"/>
                                        <p:tgtEl>
                                          <p:spTgt spid="159"/>
                                        </p:tgtEl>
                                        <p:attrNameLst>
                                          <p:attrName>ppt_x</p:attrName>
                                          <p:attrName>ppt_y</p:attrName>
                                        </p:attrNameLst>
                                      </p:cBhvr>
                                      <p:rCtr x="638" y="0"/>
                                    </p:animMotion>
                                  </p:childTnLst>
                                </p:cTn>
                              </p:par>
                              <p:par>
                                <p:cTn id="102" presetID="10" presetClass="entr" presetSubtype="0" fill="hold" nodeType="withEffect">
                                  <p:stCondLst>
                                    <p:cond delay="1750"/>
                                  </p:stCondLst>
                                  <p:childTnLst>
                                    <p:set>
                                      <p:cBhvr>
                                        <p:cTn id="103" dur="1" fill="hold">
                                          <p:stCondLst>
                                            <p:cond delay="0"/>
                                          </p:stCondLst>
                                        </p:cTn>
                                        <p:tgtEl>
                                          <p:spTgt spid="161"/>
                                        </p:tgtEl>
                                        <p:attrNameLst>
                                          <p:attrName>style.visibility</p:attrName>
                                        </p:attrNameLst>
                                      </p:cBhvr>
                                      <p:to>
                                        <p:strVal val="visible"/>
                                      </p:to>
                                    </p:set>
                                    <p:animEffect transition="in" filter="fade">
                                      <p:cBhvr>
                                        <p:cTn id="104" dur="500"/>
                                        <p:tgtEl>
                                          <p:spTgt spid="161"/>
                                        </p:tgtEl>
                                      </p:cBhvr>
                                    </p:animEffect>
                                  </p:childTnLst>
                                </p:cTn>
                              </p:par>
                              <p:par>
                                <p:cTn id="105" presetID="42" presetClass="path" presetSubtype="0" decel="50000" fill="hold" nodeType="withEffect">
                                  <p:stCondLst>
                                    <p:cond delay="1750"/>
                                  </p:stCondLst>
                                  <p:childTnLst>
                                    <p:animMotion origin="layout" path="M 3.33333E-6 3.7037E-6 L -0.03711 3.7037E-6 " pathEditMode="relative" rAng="0" ptsTypes="AA">
                                      <p:cBhvr>
                                        <p:cTn id="106" dur="750" spd="-100000" fill="hold"/>
                                        <p:tgtEl>
                                          <p:spTgt spid="161"/>
                                        </p:tgtEl>
                                        <p:attrNameLst>
                                          <p:attrName>ppt_x</p:attrName>
                                          <p:attrName>ppt_y</p:attrName>
                                        </p:attrNameLst>
                                      </p:cBhvr>
                                      <p:rCtr x="-1862" y="0"/>
                                    </p:animMotion>
                                  </p:childTnLst>
                                </p:cTn>
                              </p:par>
                              <p:par>
                                <p:cTn id="107" presetID="22" presetClass="entr" presetSubtype="8" fill="hold" nodeType="withEffect">
                                  <p:stCondLst>
                                    <p:cond delay="1750"/>
                                  </p:stCondLst>
                                  <p:childTnLst>
                                    <p:set>
                                      <p:cBhvr>
                                        <p:cTn id="108" dur="1" fill="hold">
                                          <p:stCondLst>
                                            <p:cond delay="0"/>
                                          </p:stCondLst>
                                        </p:cTn>
                                        <p:tgtEl>
                                          <p:spTgt spid="164"/>
                                        </p:tgtEl>
                                        <p:attrNameLst>
                                          <p:attrName>style.visibility</p:attrName>
                                        </p:attrNameLst>
                                      </p:cBhvr>
                                      <p:to>
                                        <p:strVal val="visible"/>
                                      </p:to>
                                    </p:set>
                                    <p:animEffect transition="in" filter="wipe(left)">
                                      <p:cBhvr>
                                        <p:cTn id="109" dur="750"/>
                                        <p:tgtEl>
                                          <p:spTgt spid="164"/>
                                        </p:tgtEl>
                                      </p:cBhvr>
                                    </p:animEffect>
                                  </p:childTnLst>
                                </p:cTn>
                              </p:par>
                              <p:par>
                                <p:cTn id="110" presetID="42" presetClass="path" presetSubtype="0" decel="50000" fill="hold" nodeType="withEffect">
                                  <p:stCondLst>
                                    <p:cond delay="1750"/>
                                  </p:stCondLst>
                                  <p:childTnLst>
                                    <p:animMotion origin="layout" path="M -4.16667E-7 -4.81481E-6 L 0.04727 -0.00115 " pathEditMode="relative" rAng="0" ptsTypes="AA">
                                      <p:cBhvr>
                                        <p:cTn id="111" dur="750" spd="-100000" fill="hold"/>
                                        <p:tgtEl>
                                          <p:spTgt spid="164"/>
                                        </p:tgtEl>
                                        <p:attrNameLst>
                                          <p:attrName>ppt_x</p:attrName>
                                          <p:attrName>ppt_y</p:attrName>
                                        </p:attrNameLst>
                                      </p:cBhvr>
                                      <p:rCtr x="2357" y="-69"/>
                                    </p:animMotion>
                                  </p:childTnLst>
                                </p:cTn>
                              </p:par>
                              <p:par>
                                <p:cTn id="112" presetID="22" presetClass="entr" presetSubtype="8" fill="hold" nodeType="withEffect">
                                  <p:stCondLst>
                                    <p:cond delay="1750"/>
                                  </p:stCondLst>
                                  <p:childTnLst>
                                    <p:set>
                                      <p:cBhvr>
                                        <p:cTn id="113" dur="1" fill="hold">
                                          <p:stCondLst>
                                            <p:cond delay="0"/>
                                          </p:stCondLst>
                                        </p:cTn>
                                        <p:tgtEl>
                                          <p:spTgt spid="165"/>
                                        </p:tgtEl>
                                        <p:attrNameLst>
                                          <p:attrName>style.visibility</p:attrName>
                                        </p:attrNameLst>
                                      </p:cBhvr>
                                      <p:to>
                                        <p:strVal val="visible"/>
                                      </p:to>
                                    </p:set>
                                    <p:animEffect transition="in" filter="wipe(left)">
                                      <p:cBhvr>
                                        <p:cTn id="114" dur="750"/>
                                        <p:tgtEl>
                                          <p:spTgt spid="165"/>
                                        </p:tgtEl>
                                      </p:cBhvr>
                                    </p:animEffect>
                                  </p:childTnLst>
                                </p:cTn>
                              </p:par>
                              <p:par>
                                <p:cTn id="115" presetID="42" presetClass="path" presetSubtype="0" decel="50000" fill="hold" nodeType="withEffect">
                                  <p:stCondLst>
                                    <p:cond delay="1750"/>
                                  </p:stCondLst>
                                  <p:childTnLst>
                                    <p:animMotion origin="layout" path="M -4.16667E-7 4.81481E-6 L 0.04727 -0.00116 " pathEditMode="relative" rAng="0" ptsTypes="AA">
                                      <p:cBhvr>
                                        <p:cTn id="116" dur="750" spd="-100000" fill="hold"/>
                                        <p:tgtEl>
                                          <p:spTgt spid="165"/>
                                        </p:tgtEl>
                                        <p:attrNameLst>
                                          <p:attrName>ppt_x</p:attrName>
                                          <p:attrName>ppt_y</p:attrName>
                                        </p:attrNameLst>
                                      </p:cBhvr>
                                      <p:rCtr x="2357" y="-69"/>
                                    </p:animMotion>
                                  </p:childTnLst>
                                </p:cTn>
                              </p:par>
                              <p:par>
                                <p:cTn id="117" presetID="22" presetClass="entr" presetSubtype="8" fill="hold" nodeType="withEffect">
                                  <p:stCondLst>
                                    <p:cond delay="1750"/>
                                  </p:stCondLst>
                                  <p:childTnLst>
                                    <p:set>
                                      <p:cBhvr>
                                        <p:cTn id="118" dur="1" fill="hold">
                                          <p:stCondLst>
                                            <p:cond delay="0"/>
                                          </p:stCondLst>
                                        </p:cTn>
                                        <p:tgtEl>
                                          <p:spTgt spid="166"/>
                                        </p:tgtEl>
                                        <p:attrNameLst>
                                          <p:attrName>style.visibility</p:attrName>
                                        </p:attrNameLst>
                                      </p:cBhvr>
                                      <p:to>
                                        <p:strVal val="visible"/>
                                      </p:to>
                                    </p:set>
                                    <p:animEffect transition="in" filter="wipe(left)">
                                      <p:cBhvr>
                                        <p:cTn id="119" dur="750"/>
                                        <p:tgtEl>
                                          <p:spTgt spid="166"/>
                                        </p:tgtEl>
                                      </p:cBhvr>
                                    </p:animEffect>
                                  </p:childTnLst>
                                </p:cTn>
                              </p:par>
                              <p:par>
                                <p:cTn id="120" presetID="42" presetClass="path" presetSubtype="0" decel="50000" fill="hold" nodeType="withEffect">
                                  <p:stCondLst>
                                    <p:cond delay="1750"/>
                                  </p:stCondLst>
                                  <p:childTnLst>
                                    <p:animMotion origin="layout" path="M 6.25E-7 0 L 0.04727 -0.00116 " pathEditMode="relative" rAng="0" ptsTypes="AA">
                                      <p:cBhvr>
                                        <p:cTn id="121" dur="750" spd="-100000" fill="hold"/>
                                        <p:tgtEl>
                                          <p:spTgt spid="166"/>
                                        </p:tgtEl>
                                        <p:attrNameLst>
                                          <p:attrName>ppt_x</p:attrName>
                                          <p:attrName>ppt_y</p:attrName>
                                        </p:attrNameLst>
                                      </p:cBhvr>
                                      <p:rCtr x="2357" y="-69"/>
                                    </p:animMotion>
                                  </p:childTnLst>
                                </p:cTn>
                              </p:par>
                              <p:par>
                                <p:cTn id="122" presetID="10" presetClass="entr" presetSubtype="0" fill="hold" nodeType="withEffect">
                                  <p:stCondLst>
                                    <p:cond delay="1750"/>
                                  </p:stCondLst>
                                  <p:childTnLst>
                                    <p:set>
                                      <p:cBhvr>
                                        <p:cTn id="123" dur="1" fill="hold">
                                          <p:stCondLst>
                                            <p:cond delay="0"/>
                                          </p:stCondLst>
                                        </p:cTn>
                                        <p:tgtEl>
                                          <p:spTgt spid="168"/>
                                        </p:tgtEl>
                                        <p:attrNameLst>
                                          <p:attrName>style.visibility</p:attrName>
                                        </p:attrNameLst>
                                      </p:cBhvr>
                                      <p:to>
                                        <p:strVal val="visible"/>
                                      </p:to>
                                    </p:set>
                                    <p:animEffect transition="in" filter="fade">
                                      <p:cBhvr>
                                        <p:cTn id="124" dur="500"/>
                                        <p:tgtEl>
                                          <p:spTgt spid="168"/>
                                        </p:tgtEl>
                                      </p:cBhvr>
                                    </p:animEffect>
                                  </p:childTnLst>
                                </p:cTn>
                              </p:par>
                              <p:par>
                                <p:cTn id="125" presetID="42" presetClass="path" presetSubtype="0" decel="50000" fill="hold" nodeType="withEffect">
                                  <p:stCondLst>
                                    <p:cond delay="1750"/>
                                  </p:stCondLst>
                                  <p:childTnLst>
                                    <p:animMotion origin="layout" path="M 3.33333E-6 -2.22222E-6 L -0.03711 -2.22222E-6 " pathEditMode="relative" rAng="0" ptsTypes="AA">
                                      <p:cBhvr>
                                        <p:cTn id="126" dur="750" spd="-100000" fill="hold"/>
                                        <p:tgtEl>
                                          <p:spTgt spid="168"/>
                                        </p:tgtEl>
                                        <p:attrNameLst>
                                          <p:attrName>ppt_x</p:attrName>
                                          <p:attrName>ppt_y</p:attrName>
                                        </p:attrNameLst>
                                      </p:cBhvr>
                                      <p:rCtr x="-1862" y="0"/>
                                    </p:animMotion>
                                  </p:childTnLst>
                                </p:cTn>
                              </p:par>
                              <p:par>
                                <p:cTn id="127" presetID="10" presetClass="entr" presetSubtype="0" fill="hold" nodeType="withEffect">
                                  <p:stCondLst>
                                    <p:cond delay="1750"/>
                                  </p:stCondLst>
                                  <p:childTnLst>
                                    <p:set>
                                      <p:cBhvr>
                                        <p:cTn id="128" dur="1" fill="hold">
                                          <p:stCondLst>
                                            <p:cond delay="0"/>
                                          </p:stCondLst>
                                        </p:cTn>
                                        <p:tgtEl>
                                          <p:spTgt spid="171"/>
                                        </p:tgtEl>
                                        <p:attrNameLst>
                                          <p:attrName>style.visibility</p:attrName>
                                        </p:attrNameLst>
                                      </p:cBhvr>
                                      <p:to>
                                        <p:strVal val="visible"/>
                                      </p:to>
                                    </p:set>
                                    <p:animEffect transition="in" filter="fade">
                                      <p:cBhvr>
                                        <p:cTn id="129" dur="500"/>
                                        <p:tgtEl>
                                          <p:spTgt spid="171"/>
                                        </p:tgtEl>
                                      </p:cBhvr>
                                    </p:animEffect>
                                  </p:childTnLst>
                                </p:cTn>
                              </p:par>
                              <p:par>
                                <p:cTn id="130" presetID="42" presetClass="path" presetSubtype="0" decel="50000" fill="hold" nodeType="withEffect">
                                  <p:stCondLst>
                                    <p:cond delay="1750"/>
                                  </p:stCondLst>
                                  <p:childTnLst>
                                    <p:animMotion origin="layout" path="M 3.33333E-6 0 L -0.03711 0 " pathEditMode="relative" rAng="0" ptsTypes="AA">
                                      <p:cBhvr>
                                        <p:cTn id="131" dur="750" spd="-100000" fill="hold"/>
                                        <p:tgtEl>
                                          <p:spTgt spid="171"/>
                                        </p:tgtEl>
                                        <p:attrNameLst>
                                          <p:attrName>ppt_x</p:attrName>
                                          <p:attrName>ppt_y</p:attrName>
                                        </p:attrNameLst>
                                      </p:cBhvr>
                                      <p:rCtr x="-1862" y="0"/>
                                    </p:animMotion>
                                  </p:childTnLst>
                                </p:cTn>
                              </p:par>
                              <p:par>
                                <p:cTn id="132" presetID="10" presetClass="entr" presetSubtype="0" fill="hold" nodeType="withEffect">
                                  <p:stCondLst>
                                    <p:cond delay="1500"/>
                                  </p:stCondLst>
                                  <p:childTnLst>
                                    <p:set>
                                      <p:cBhvr>
                                        <p:cTn id="133" dur="1" fill="hold">
                                          <p:stCondLst>
                                            <p:cond delay="0"/>
                                          </p:stCondLst>
                                        </p:cTn>
                                        <p:tgtEl>
                                          <p:spTgt spid="177"/>
                                        </p:tgtEl>
                                        <p:attrNameLst>
                                          <p:attrName>style.visibility</p:attrName>
                                        </p:attrNameLst>
                                      </p:cBhvr>
                                      <p:to>
                                        <p:strVal val="visible"/>
                                      </p:to>
                                    </p:set>
                                    <p:animEffect transition="in" filter="fade">
                                      <p:cBhvr>
                                        <p:cTn id="134" dur="500"/>
                                        <p:tgtEl>
                                          <p:spTgt spid="177"/>
                                        </p:tgtEl>
                                      </p:cBhvr>
                                    </p:animEffect>
                                  </p:childTnLst>
                                </p:cTn>
                              </p:par>
                              <p:par>
                                <p:cTn id="135" presetID="42" presetClass="path" presetSubtype="0" decel="50000" fill="hold" nodeType="withEffect">
                                  <p:stCondLst>
                                    <p:cond delay="1500"/>
                                  </p:stCondLst>
                                  <p:childTnLst>
                                    <p:animMotion origin="layout" path="M 1.45833E-6 -2.96296E-6 L -0.00873 -2.96296E-6 " pathEditMode="relative" rAng="0" ptsTypes="AA">
                                      <p:cBhvr>
                                        <p:cTn id="136" dur="750" spd="-100000" fill="hold"/>
                                        <p:tgtEl>
                                          <p:spTgt spid="177"/>
                                        </p:tgtEl>
                                        <p:attrNameLst>
                                          <p:attrName>ppt_x</p:attrName>
                                          <p:attrName>ppt_y</p:attrName>
                                        </p:attrNameLst>
                                      </p:cBhvr>
                                      <p:rCtr x="-443" y="0"/>
                                    </p:animMotion>
                                  </p:childTnLst>
                                </p:cTn>
                              </p:par>
                              <p:par>
                                <p:cTn id="137" presetID="17" presetClass="entr" presetSubtype="8" fill="hold" grpId="0" nodeType="withEffect">
                                  <p:stCondLst>
                                    <p:cond delay="1250"/>
                                  </p:stCondLst>
                                  <p:childTnLst>
                                    <p:set>
                                      <p:cBhvr>
                                        <p:cTn id="138" dur="1" fill="hold">
                                          <p:stCondLst>
                                            <p:cond delay="0"/>
                                          </p:stCondLst>
                                        </p:cTn>
                                        <p:tgtEl>
                                          <p:spTgt spid="94"/>
                                        </p:tgtEl>
                                        <p:attrNameLst>
                                          <p:attrName>style.visibility</p:attrName>
                                        </p:attrNameLst>
                                      </p:cBhvr>
                                      <p:to>
                                        <p:strVal val="visible"/>
                                      </p:to>
                                    </p:set>
                                    <p:anim calcmode="lin" valueType="num">
                                      <p:cBhvr>
                                        <p:cTn id="139" dur="1250" fill="hold"/>
                                        <p:tgtEl>
                                          <p:spTgt spid="94"/>
                                        </p:tgtEl>
                                        <p:attrNameLst>
                                          <p:attrName>ppt_x</p:attrName>
                                        </p:attrNameLst>
                                      </p:cBhvr>
                                      <p:tavLst>
                                        <p:tav tm="0">
                                          <p:val>
                                            <p:strVal val="#ppt_x-#ppt_w/2"/>
                                          </p:val>
                                        </p:tav>
                                        <p:tav tm="100000">
                                          <p:val>
                                            <p:strVal val="#ppt_x"/>
                                          </p:val>
                                        </p:tav>
                                      </p:tavLst>
                                    </p:anim>
                                    <p:anim calcmode="lin" valueType="num">
                                      <p:cBhvr>
                                        <p:cTn id="140" dur="1250" fill="hold"/>
                                        <p:tgtEl>
                                          <p:spTgt spid="94"/>
                                        </p:tgtEl>
                                        <p:attrNameLst>
                                          <p:attrName>ppt_y</p:attrName>
                                        </p:attrNameLst>
                                      </p:cBhvr>
                                      <p:tavLst>
                                        <p:tav tm="0">
                                          <p:val>
                                            <p:strVal val="#ppt_y"/>
                                          </p:val>
                                        </p:tav>
                                        <p:tav tm="100000">
                                          <p:val>
                                            <p:strVal val="#ppt_y"/>
                                          </p:val>
                                        </p:tav>
                                      </p:tavLst>
                                    </p:anim>
                                    <p:anim calcmode="lin" valueType="num">
                                      <p:cBhvr>
                                        <p:cTn id="141" dur="1250" fill="hold"/>
                                        <p:tgtEl>
                                          <p:spTgt spid="94"/>
                                        </p:tgtEl>
                                        <p:attrNameLst>
                                          <p:attrName>ppt_w</p:attrName>
                                        </p:attrNameLst>
                                      </p:cBhvr>
                                      <p:tavLst>
                                        <p:tav tm="0">
                                          <p:val>
                                            <p:fltVal val="0"/>
                                          </p:val>
                                        </p:tav>
                                        <p:tav tm="100000">
                                          <p:val>
                                            <p:strVal val="#ppt_w"/>
                                          </p:val>
                                        </p:tav>
                                      </p:tavLst>
                                    </p:anim>
                                    <p:anim calcmode="lin" valueType="num">
                                      <p:cBhvr>
                                        <p:cTn id="142" dur="1250" fill="hold"/>
                                        <p:tgtEl>
                                          <p:spTgt spid="94"/>
                                        </p:tgtEl>
                                        <p:attrNameLst>
                                          <p:attrName>ppt_h</p:attrName>
                                        </p:attrNameLst>
                                      </p:cBhvr>
                                      <p:tavLst>
                                        <p:tav tm="0">
                                          <p:val>
                                            <p:strVal val="#ppt_h"/>
                                          </p:val>
                                        </p:tav>
                                        <p:tav tm="100000">
                                          <p:val>
                                            <p:strVal val="#ppt_h"/>
                                          </p:val>
                                        </p:tav>
                                      </p:tavLst>
                                    </p:anim>
                                  </p:childTnLst>
                                </p:cTn>
                              </p:par>
                              <p:par>
                                <p:cTn id="143" presetID="17" presetClass="entr" presetSubtype="8" fill="hold" grpId="0" nodeType="withEffect">
                                  <p:stCondLst>
                                    <p:cond delay="1250"/>
                                  </p:stCondLst>
                                  <p:childTnLst>
                                    <p:set>
                                      <p:cBhvr>
                                        <p:cTn id="144" dur="1" fill="hold">
                                          <p:stCondLst>
                                            <p:cond delay="0"/>
                                          </p:stCondLst>
                                        </p:cTn>
                                        <p:tgtEl>
                                          <p:spTgt spid="93"/>
                                        </p:tgtEl>
                                        <p:attrNameLst>
                                          <p:attrName>style.visibility</p:attrName>
                                        </p:attrNameLst>
                                      </p:cBhvr>
                                      <p:to>
                                        <p:strVal val="visible"/>
                                      </p:to>
                                    </p:set>
                                    <p:anim calcmode="lin" valueType="num">
                                      <p:cBhvr>
                                        <p:cTn id="145" dur="1250" fill="hold"/>
                                        <p:tgtEl>
                                          <p:spTgt spid="93"/>
                                        </p:tgtEl>
                                        <p:attrNameLst>
                                          <p:attrName>ppt_x</p:attrName>
                                        </p:attrNameLst>
                                      </p:cBhvr>
                                      <p:tavLst>
                                        <p:tav tm="0">
                                          <p:val>
                                            <p:strVal val="#ppt_x-#ppt_w/2"/>
                                          </p:val>
                                        </p:tav>
                                        <p:tav tm="100000">
                                          <p:val>
                                            <p:strVal val="#ppt_x"/>
                                          </p:val>
                                        </p:tav>
                                      </p:tavLst>
                                    </p:anim>
                                    <p:anim calcmode="lin" valueType="num">
                                      <p:cBhvr>
                                        <p:cTn id="146" dur="1250" fill="hold"/>
                                        <p:tgtEl>
                                          <p:spTgt spid="93"/>
                                        </p:tgtEl>
                                        <p:attrNameLst>
                                          <p:attrName>ppt_y</p:attrName>
                                        </p:attrNameLst>
                                      </p:cBhvr>
                                      <p:tavLst>
                                        <p:tav tm="0">
                                          <p:val>
                                            <p:strVal val="#ppt_y"/>
                                          </p:val>
                                        </p:tav>
                                        <p:tav tm="100000">
                                          <p:val>
                                            <p:strVal val="#ppt_y"/>
                                          </p:val>
                                        </p:tav>
                                      </p:tavLst>
                                    </p:anim>
                                    <p:anim calcmode="lin" valueType="num">
                                      <p:cBhvr>
                                        <p:cTn id="147" dur="1250" fill="hold"/>
                                        <p:tgtEl>
                                          <p:spTgt spid="93"/>
                                        </p:tgtEl>
                                        <p:attrNameLst>
                                          <p:attrName>ppt_w</p:attrName>
                                        </p:attrNameLst>
                                      </p:cBhvr>
                                      <p:tavLst>
                                        <p:tav tm="0">
                                          <p:val>
                                            <p:fltVal val="0"/>
                                          </p:val>
                                        </p:tav>
                                        <p:tav tm="100000">
                                          <p:val>
                                            <p:strVal val="#ppt_w"/>
                                          </p:val>
                                        </p:tav>
                                      </p:tavLst>
                                    </p:anim>
                                    <p:anim calcmode="lin" valueType="num">
                                      <p:cBhvr>
                                        <p:cTn id="148" dur="1250" fill="hold"/>
                                        <p:tgtEl>
                                          <p:spTgt spid="93"/>
                                        </p:tgtEl>
                                        <p:attrNameLst>
                                          <p:attrName>ppt_h</p:attrName>
                                        </p:attrNameLst>
                                      </p:cBhvr>
                                      <p:tavLst>
                                        <p:tav tm="0">
                                          <p:val>
                                            <p:strVal val="#ppt_h"/>
                                          </p:val>
                                        </p:tav>
                                        <p:tav tm="100000">
                                          <p:val>
                                            <p:strVal val="#ppt_h"/>
                                          </p:val>
                                        </p:tav>
                                      </p:tavLst>
                                    </p:anim>
                                  </p:childTnLst>
                                </p:cTn>
                              </p:par>
                              <p:par>
                                <p:cTn id="149" presetID="17" presetClass="entr" presetSubtype="8" fill="hold" grpId="0" nodeType="withEffect">
                                  <p:stCondLst>
                                    <p:cond delay="1250"/>
                                  </p:stCondLst>
                                  <p:childTnLst>
                                    <p:set>
                                      <p:cBhvr>
                                        <p:cTn id="150" dur="1" fill="hold">
                                          <p:stCondLst>
                                            <p:cond delay="0"/>
                                          </p:stCondLst>
                                        </p:cTn>
                                        <p:tgtEl>
                                          <p:spTgt spid="91"/>
                                        </p:tgtEl>
                                        <p:attrNameLst>
                                          <p:attrName>style.visibility</p:attrName>
                                        </p:attrNameLst>
                                      </p:cBhvr>
                                      <p:to>
                                        <p:strVal val="visible"/>
                                      </p:to>
                                    </p:set>
                                    <p:anim calcmode="lin" valueType="num">
                                      <p:cBhvr>
                                        <p:cTn id="151" dur="1250" fill="hold"/>
                                        <p:tgtEl>
                                          <p:spTgt spid="91"/>
                                        </p:tgtEl>
                                        <p:attrNameLst>
                                          <p:attrName>ppt_x</p:attrName>
                                        </p:attrNameLst>
                                      </p:cBhvr>
                                      <p:tavLst>
                                        <p:tav tm="0">
                                          <p:val>
                                            <p:strVal val="#ppt_x-#ppt_w/2"/>
                                          </p:val>
                                        </p:tav>
                                        <p:tav tm="100000">
                                          <p:val>
                                            <p:strVal val="#ppt_x"/>
                                          </p:val>
                                        </p:tav>
                                      </p:tavLst>
                                    </p:anim>
                                    <p:anim calcmode="lin" valueType="num">
                                      <p:cBhvr>
                                        <p:cTn id="152" dur="1250" fill="hold"/>
                                        <p:tgtEl>
                                          <p:spTgt spid="91"/>
                                        </p:tgtEl>
                                        <p:attrNameLst>
                                          <p:attrName>ppt_y</p:attrName>
                                        </p:attrNameLst>
                                      </p:cBhvr>
                                      <p:tavLst>
                                        <p:tav tm="0">
                                          <p:val>
                                            <p:strVal val="#ppt_y"/>
                                          </p:val>
                                        </p:tav>
                                        <p:tav tm="100000">
                                          <p:val>
                                            <p:strVal val="#ppt_y"/>
                                          </p:val>
                                        </p:tav>
                                      </p:tavLst>
                                    </p:anim>
                                    <p:anim calcmode="lin" valueType="num">
                                      <p:cBhvr>
                                        <p:cTn id="153" dur="1250" fill="hold"/>
                                        <p:tgtEl>
                                          <p:spTgt spid="91"/>
                                        </p:tgtEl>
                                        <p:attrNameLst>
                                          <p:attrName>ppt_w</p:attrName>
                                        </p:attrNameLst>
                                      </p:cBhvr>
                                      <p:tavLst>
                                        <p:tav tm="0">
                                          <p:val>
                                            <p:fltVal val="0"/>
                                          </p:val>
                                        </p:tav>
                                        <p:tav tm="100000">
                                          <p:val>
                                            <p:strVal val="#ppt_w"/>
                                          </p:val>
                                        </p:tav>
                                      </p:tavLst>
                                    </p:anim>
                                    <p:anim calcmode="lin" valueType="num">
                                      <p:cBhvr>
                                        <p:cTn id="154" dur="1250" fill="hold"/>
                                        <p:tgtEl>
                                          <p:spTgt spid="91"/>
                                        </p:tgtEl>
                                        <p:attrNameLst>
                                          <p:attrName>ppt_h</p:attrName>
                                        </p:attrNameLst>
                                      </p:cBhvr>
                                      <p:tavLst>
                                        <p:tav tm="0">
                                          <p:val>
                                            <p:strVal val="#ppt_h"/>
                                          </p:val>
                                        </p:tav>
                                        <p:tav tm="100000">
                                          <p:val>
                                            <p:strVal val="#ppt_h"/>
                                          </p:val>
                                        </p:tav>
                                      </p:tavLst>
                                    </p:anim>
                                  </p:childTnLst>
                                </p:cTn>
                              </p:par>
                              <p:par>
                                <p:cTn id="155" presetID="10" presetClass="entr" presetSubtype="0" fill="hold" nodeType="withEffect">
                                  <p:stCondLst>
                                    <p:cond delay="1500"/>
                                  </p:stCondLst>
                                  <p:childTnLst>
                                    <p:set>
                                      <p:cBhvr>
                                        <p:cTn id="156" dur="1" fill="hold">
                                          <p:stCondLst>
                                            <p:cond delay="0"/>
                                          </p:stCondLst>
                                        </p:cTn>
                                        <p:tgtEl>
                                          <p:spTgt spid="181"/>
                                        </p:tgtEl>
                                        <p:attrNameLst>
                                          <p:attrName>style.visibility</p:attrName>
                                        </p:attrNameLst>
                                      </p:cBhvr>
                                      <p:to>
                                        <p:strVal val="visible"/>
                                      </p:to>
                                    </p:set>
                                    <p:animEffect transition="in" filter="fade">
                                      <p:cBhvr>
                                        <p:cTn id="157" dur="500"/>
                                        <p:tgtEl>
                                          <p:spTgt spid="181"/>
                                        </p:tgtEl>
                                      </p:cBhvr>
                                    </p:animEffect>
                                  </p:childTnLst>
                                </p:cTn>
                              </p:par>
                              <p:par>
                                <p:cTn id="158" presetID="42" presetClass="path" presetSubtype="0" decel="50000" fill="hold" nodeType="withEffect">
                                  <p:stCondLst>
                                    <p:cond delay="1500"/>
                                  </p:stCondLst>
                                  <p:childTnLst>
                                    <p:animMotion origin="layout" path="M 1.66667E-6 -4.44444E-6 L -0.00873 -4.44444E-6 " pathEditMode="relative" rAng="0" ptsTypes="AA">
                                      <p:cBhvr>
                                        <p:cTn id="159" dur="750" spd="-100000" fill="hold"/>
                                        <p:tgtEl>
                                          <p:spTgt spid="181"/>
                                        </p:tgtEl>
                                        <p:attrNameLst>
                                          <p:attrName>ppt_x</p:attrName>
                                          <p:attrName>ppt_y</p:attrName>
                                        </p:attrNameLst>
                                      </p:cBhvr>
                                      <p:rCtr x="-443" y="0"/>
                                    </p:animMotion>
                                  </p:childTnLst>
                                </p:cTn>
                              </p:par>
                              <p:par>
                                <p:cTn id="160" presetID="10" presetClass="entr" presetSubtype="0" fill="hold" nodeType="withEffect">
                                  <p:stCondLst>
                                    <p:cond delay="150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42" presetClass="path" presetSubtype="0" decel="50000" fill="hold" nodeType="withEffect">
                                  <p:stCondLst>
                                    <p:cond delay="1500"/>
                                  </p:stCondLst>
                                  <p:childTnLst>
                                    <p:animMotion origin="layout" path="M 1.45833E-6 -2.96296E-6 L -0.00873 -2.96296E-6 " pathEditMode="relative" rAng="0" ptsTypes="AA">
                                      <p:cBhvr>
                                        <p:cTn id="164" dur="750" spd="-100000" fill="hold"/>
                                        <p:tgtEl>
                                          <p:spTgt spid="187"/>
                                        </p:tgtEl>
                                        <p:attrNameLst>
                                          <p:attrName>ppt_x</p:attrName>
                                          <p:attrName>ppt_y</p:attrName>
                                        </p:attrNameLst>
                                      </p:cBhvr>
                                      <p:rCtr x="-44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11" grpId="0" animBg="1"/>
      <p:bldP spid="11" grpId="1" animBg="1"/>
      <p:bldP spid="2" grpId="0"/>
      <p:bldP spid="2" grpId="1"/>
      <p:bldP spid="91" grpId="0" animBg="1"/>
      <p:bldP spid="93" grpId="0" animBg="1"/>
      <p:bldP spid="94" grpId="0" animBg="1"/>
      <p:bldP spid="95" grpId="0" animBg="1"/>
      <p:bldP spid="95" grpId="1" animBg="1"/>
      <p:bldP spid="108" grpId="0" animBg="1"/>
      <p:bldP spid="108" grpId="1" animBg="1"/>
      <p:bldP spid="118" grpId="0" animBg="1"/>
      <p:bldP spid="118" grpId="1" animBg="1"/>
      <p:bldP spid="139" grpId="0" animBg="1"/>
      <p:bldP spid="139" grpId="1" animBg="1"/>
      <p:bldP spid="140" grpId="0" animBg="1"/>
      <p:bldP spid="140" grpId="1" animBg="1"/>
      <p:bldP spid="141" grpId="0" animBg="1"/>
      <p:bldP spid="141" grpId="1" animBg="1"/>
      <p:bldP spid="145" grpId="0" animBg="1"/>
      <p:bldP spid="145" grpId="1" animBg="1"/>
      <p:bldP spid="146" grpId="0" animBg="1"/>
      <p:bldP spid="146" grpId="1" animBg="1"/>
      <p:bldP spid="147" grpId="0" animBg="1"/>
      <p:bldP spid="147" grpId="1" animBg="1"/>
      <p:bldP spid="157" grpId="0"/>
      <p:bldP spid="157" grpId="1"/>
      <p:bldP spid="158" grpId="0"/>
      <p:bldP spid="158" grpId="1"/>
      <p:bldP spid="159" grpId="0"/>
      <p:bldP spid="159" grpId="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1353800" y="6412229"/>
            <a:ext cx="34925" cy="0"/>
          </a:xfrm>
          <a:custGeom>
            <a:avLst/>
            <a:gdLst/>
            <a:ahLst/>
            <a:cxnLst/>
            <a:rect l="l" t="t" r="r" b="b"/>
            <a:pathLst>
              <a:path w="34925">
                <a:moveTo>
                  <a:pt x="0" y="0"/>
                </a:moveTo>
                <a:lnTo>
                  <a:pt x="34798" y="0"/>
                </a:lnTo>
              </a:path>
            </a:pathLst>
          </a:custGeom>
          <a:ln w="6096">
            <a:solidFill>
              <a:srgbClr val="7E7E7E"/>
            </a:solidFill>
          </a:ln>
        </p:spPr>
        <p:txBody>
          <a:bodyPr wrap="square" lIns="0" tIns="0" rIns="0" bIns="0" rtlCol="0"/>
          <a:lstStyle/>
          <a:p>
            <a:endParaRPr>
              <a:solidFill>
                <a:prstClr val="black"/>
              </a:solidFill>
            </a:endParaRPr>
          </a:p>
        </p:txBody>
      </p:sp>
      <p:sp>
        <p:nvSpPr>
          <p:cNvPr id="5" name="object 5"/>
          <p:cNvSpPr/>
          <p:nvPr/>
        </p:nvSpPr>
        <p:spPr>
          <a:xfrm>
            <a:off x="10439400" y="1897024"/>
            <a:ext cx="665106" cy="774263"/>
          </a:xfrm>
          <a:prstGeom prst="rect">
            <a:avLst/>
          </a:prstGeom>
          <a:blipFill>
            <a:blip r:embed="rId2" cstate="print"/>
            <a:stretch>
              <a:fillRect/>
            </a:stretch>
          </a:blipFill>
        </p:spPr>
        <p:txBody>
          <a:bodyPr wrap="square" lIns="0" tIns="0" rIns="0" bIns="0" rtlCol="0"/>
          <a:lstStyle/>
          <a:p>
            <a:endParaRPr>
              <a:solidFill>
                <a:prstClr val="black"/>
              </a:solidFill>
            </a:endParaRPr>
          </a:p>
        </p:txBody>
      </p:sp>
      <p:sp>
        <p:nvSpPr>
          <p:cNvPr id="6" name="object 6"/>
          <p:cNvSpPr txBox="1">
            <a:spLocks noGrp="1"/>
          </p:cNvSpPr>
          <p:nvPr>
            <p:ph type="title"/>
          </p:nvPr>
        </p:nvSpPr>
        <p:spPr>
          <a:xfrm>
            <a:off x="840486" y="276480"/>
            <a:ext cx="10146665" cy="641201"/>
          </a:xfrm>
          <a:prstGeom prst="rect">
            <a:avLst/>
          </a:prstGeom>
        </p:spPr>
        <p:txBody>
          <a:bodyPr vert="horz" wrap="square" lIns="0" tIns="0" rIns="0" bIns="0" rtlCol="0">
            <a:spAutoFit/>
          </a:bodyPr>
          <a:lstStyle/>
          <a:p>
            <a:pPr marL="12700">
              <a:lnSpc>
                <a:spcPts val="5030"/>
              </a:lnSpc>
            </a:pPr>
            <a:r>
              <a:rPr lang="en-US" dirty="0">
                <a:solidFill>
                  <a:srgbClr val="0070C0"/>
                </a:solidFill>
              </a:rPr>
              <a:t>We are </a:t>
            </a:r>
            <a:r>
              <a:rPr lang="en-US" spc="-5" dirty="0">
                <a:solidFill>
                  <a:srgbClr val="0070C0"/>
                </a:solidFill>
              </a:rPr>
              <a:t>working on</a:t>
            </a:r>
            <a:r>
              <a:rPr spc="-5" dirty="0">
                <a:solidFill>
                  <a:srgbClr val="0070C0"/>
                </a:solidFill>
              </a:rPr>
              <a:t> </a:t>
            </a:r>
            <a:r>
              <a:rPr dirty="0">
                <a:solidFill>
                  <a:srgbClr val="0070C0"/>
                </a:solidFill>
              </a:rPr>
              <a:t>a wide </a:t>
            </a:r>
            <a:r>
              <a:rPr spc="-5" dirty="0">
                <a:solidFill>
                  <a:srgbClr val="0070C0"/>
                </a:solidFill>
              </a:rPr>
              <a:t>number </a:t>
            </a:r>
            <a:r>
              <a:rPr dirty="0">
                <a:solidFill>
                  <a:srgbClr val="0070C0"/>
                </a:solidFill>
              </a:rPr>
              <a:t>of use cases...</a:t>
            </a:r>
          </a:p>
        </p:txBody>
      </p:sp>
      <p:sp>
        <p:nvSpPr>
          <p:cNvPr id="7" name="object 7"/>
          <p:cNvSpPr/>
          <p:nvPr/>
        </p:nvSpPr>
        <p:spPr>
          <a:xfrm>
            <a:off x="1842443" y="2212050"/>
            <a:ext cx="7752732" cy="2209800"/>
          </a:xfrm>
          <a:prstGeom prst="rect">
            <a:avLst/>
          </a:prstGeom>
          <a:blipFill>
            <a:blip r:embed="rId3" cstate="print"/>
            <a:stretch>
              <a:fillRect/>
            </a:stretch>
          </a:blipFill>
        </p:spPr>
        <p:txBody>
          <a:bodyPr wrap="square" lIns="0" tIns="0" rIns="0" bIns="0" rtlCol="0"/>
          <a:lstStyle/>
          <a:p>
            <a:endParaRPr>
              <a:solidFill>
                <a:prstClr val="black"/>
              </a:solidFill>
            </a:endParaRPr>
          </a:p>
        </p:txBody>
      </p:sp>
      <p:sp>
        <p:nvSpPr>
          <p:cNvPr id="8" name="object 8"/>
          <p:cNvSpPr txBox="1"/>
          <p:nvPr/>
        </p:nvSpPr>
        <p:spPr>
          <a:xfrm>
            <a:off x="1933955" y="4468876"/>
            <a:ext cx="857885" cy="175260"/>
          </a:xfrm>
          <a:prstGeom prst="rect">
            <a:avLst/>
          </a:prstGeom>
        </p:spPr>
        <p:txBody>
          <a:bodyPr vert="horz" wrap="square" lIns="0" tIns="0" rIns="0" bIns="0" rtlCol="0">
            <a:spAutoFit/>
          </a:bodyPr>
          <a:lstStyle/>
          <a:p>
            <a:pPr marL="12700"/>
            <a:r>
              <a:rPr sz="1000" b="1" dirty="0">
                <a:solidFill>
                  <a:srgbClr val="006FC0"/>
                </a:solidFill>
                <a:latin typeface="Univers for KPMG"/>
                <a:cs typeface="Univers for KPMG"/>
              </a:rPr>
              <a:t>Panic</a:t>
            </a:r>
            <a:r>
              <a:rPr sz="1000" b="1" spc="-105" dirty="0">
                <a:solidFill>
                  <a:srgbClr val="006FC0"/>
                </a:solidFill>
                <a:latin typeface="Univers for KPMG"/>
                <a:cs typeface="Univers for KPMG"/>
              </a:rPr>
              <a:t> </a:t>
            </a:r>
            <a:r>
              <a:rPr sz="1000" b="1" dirty="0">
                <a:solidFill>
                  <a:srgbClr val="006FC0"/>
                </a:solidFill>
                <a:latin typeface="Univers for KPMG"/>
                <a:cs typeface="Univers for KPMG"/>
              </a:rPr>
              <a:t>Button/</a:t>
            </a:r>
            <a:endParaRPr sz="1000">
              <a:solidFill>
                <a:prstClr val="black"/>
              </a:solidFill>
              <a:latin typeface="Univers for KPMG"/>
              <a:cs typeface="Univers for KPMG"/>
            </a:endParaRPr>
          </a:p>
        </p:txBody>
      </p:sp>
      <p:sp>
        <p:nvSpPr>
          <p:cNvPr id="9" name="object 9"/>
          <p:cNvSpPr txBox="1"/>
          <p:nvPr/>
        </p:nvSpPr>
        <p:spPr>
          <a:xfrm>
            <a:off x="1674876" y="4621276"/>
            <a:ext cx="1376680" cy="937894"/>
          </a:xfrm>
          <a:prstGeom prst="rect">
            <a:avLst/>
          </a:prstGeom>
        </p:spPr>
        <p:txBody>
          <a:bodyPr vert="horz" wrap="square" lIns="0" tIns="0" rIns="0" bIns="0" rtlCol="0">
            <a:spAutoFit/>
          </a:bodyPr>
          <a:lstStyle/>
          <a:p>
            <a:pPr algn="ctr"/>
            <a:r>
              <a:rPr sz="1000" b="1" dirty="0">
                <a:solidFill>
                  <a:srgbClr val="006FC0"/>
                </a:solidFill>
                <a:latin typeface="Univers for KPMG"/>
                <a:cs typeface="Univers for KPMG"/>
              </a:rPr>
              <a:t>emergency</a:t>
            </a:r>
            <a:r>
              <a:rPr sz="1000" b="1" spc="-85" dirty="0">
                <a:solidFill>
                  <a:srgbClr val="006FC0"/>
                </a:solidFill>
                <a:latin typeface="Univers for KPMG"/>
                <a:cs typeface="Univers for KPMG"/>
              </a:rPr>
              <a:t> </a:t>
            </a:r>
            <a:r>
              <a:rPr sz="1000" b="1" spc="-5" dirty="0">
                <a:solidFill>
                  <a:srgbClr val="006FC0"/>
                </a:solidFill>
                <a:latin typeface="Univers for KPMG"/>
                <a:cs typeface="Univers for KPMG"/>
              </a:rPr>
              <a:t>Assistance</a:t>
            </a:r>
            <a:endParaRPr sz="1000" dirty="0">
              <a:solidFill>
                <a:prstClr val="black"/>
              </a:solidFill>
              <a:latin typeface="Univers for KPMG"/>
              <a:cs typeface="Univers for KPMG"/>
            </a:endParaRPr>
          </a:p>
          <a:p>
            <a:pPr marL="81280" marR="74295" algn="ctr">
              <a:spcBef>
                <a:spcPts val="615"/>
              </a:spcBef>
            </a:pPr>
            <a:r>
              <a:rPr sz="900" dirty="0">
                <a:solidFill>
                  <a:prstClr val="black"/>
                </a:solidFill>
                <a:latin typeface="Univers for KPMG"/>
                <a:cs typeface="Univers for KPMG"/>
              </a:rPr>
              <a:t>Pre configured</a:t>
            </a:r>
            <a:r>
              <a:rPr sz="900" spc="-114" dirty="0">
                <a:solidFill>
                  <a:prstClr val="black"/>
                </a:solidFill>
                <a:latin typeface="Univers for KPMG"/>
                <a:cs typeface="Univers for KPMG"/>
              </a:rPr>
              <a:t> </a:t>
            </a:r>
            <a:r>
              <a:rPr sz="900" dirty="0">
                <a:solidFill>
                  <a:prstClr val="black"/>
                </a:solidFill>
                <a:latin typeface="Univers for KPMG"/>
                <a:cs typeface="Univers for KPMG"/>
              </a:rPr>
              <a:t>actions  like intense </a:t>
            </a:r>
            <a:r>
              <a:rPr sz="900" spc="-5" dirty="0">
                <a:solidFill>
                  <a:prstClr val="black"/>
                </a:solidFill>
                <a:latin typeface="Univers for KPMG"/>
                <a:cs typeface="Univers for KPMG"/>
              </a:rPr>
              <a:t>LED rays,  sirens, </a:t>
            </a:r>
            <a:r>
              <a:rPr sz="900" dirty="0">
                <a:solidFill>
                  <a:prstClr val="black"/>
                </a:solidFill>
                <a:latin typeface="Univers for KPMG"/>
                <a:cs typeface="Univers for KPMG"/>
              </a:rPr>
              <a:t>security  </a:t>
            </a:r>
            <a:r>
              <a:rPr sz="900" spc="-5" dirty="0">
                <a:solidFill>
                  <a:prstClr val="black"/>
                </a:solidFill>
                <a:latin typeface="Univers for KPMG"/>
                <a:cs typeface="Univers for KPMG"/>
              </a:rPr>
              <a:t>assistance, </a:t>
            </a:r>
            <a:r>
              <a:rPr sz="900" dirty="0">
                <a:solidFill>
                  <a:prstClr val="black"/>
                </a:solidFill>
                <a:latin typeface="Univers for KPMG"/>
                <a:cs typeface="Univers for KPMG"/>
              </a:rPr>
              <a:t>two way  communication</a:t>
            </a:r>
            <a:r>
              <a:rPr sz="900" spc="-114" dirty="0">
                <a:solidFill>
                  <a:prstClr val="black"/>
                </a:solidFill>
                <a:latin typeface="Univers for KPMG"/>
                <a:cs typeface="Univers for KPMG"/>
              </a:rPr>
              <a:t> </a:t>
            </a:r>
            <a:r>
              <a:rPr sz="900" dirty="0">
                <a:solidFill>
                  <a:prstClr val="black"/>
                </a:solidFill>
                <a:latin typeface="Univers for KPMG"/>
                <a:cs typeface="Univers for KPMG"/>
              </a:rPr>
              <a:t>etc,</a:t>
            </a:r>
          </a:p>
        </p:txBody>
      </p:sp>
      <p:sp>
        <p:nvSpPr>
          <p:cNvPr id="10" name="object 10"/>
          <p:cNvSpPr txBox="1"/>
          <p:nvPr/>
        </p:nvSpPr>
        <p:spPr>
          <a:xfrm>
            <a:off x="2343911" y="3831082"/>
            <a:ext cx="1564005" cy="601980"/>
          </a:xfrm>
          <a:prstGeom prst="rect">
            <a:avLst/>
          </a:prstGeom>
        </p:spPr>
        <p:txBody>
          <a:bodyPr vert="horz" wrap="square" lIns="0" tIns="0" rIns="0" bIns="0" rtlCol="0">
            <a:spAutoFit/>
          </a:bodyPr>
          <a:lstStyle/>
          <a:p>
            <a:pPr marL="1270" algn="ctr"/>
            <a:r>
              <a:rPr sz="900" b="1" spc="-5" dirty="0">
                <a:solidFill>
                  <a:srgbClr val="006FC0"/>
                </a:solidFill>
                <a:latin typeface="Univers for KPMG"/>
                <a:cs typeface="Univers for KPMG"/>
              </a:rPr>
              <a:t>RFID</a:t>
            </a:r>
            <a:endParaRPr sz="900">
              <a:solidFill>
                <a:prstClr val="black"/>
              </a:solidFill>
              <a:latin typeface="Univers for KPMG"/>
              <a:cs typeface="Univers for KPMG"/>
            </a:endParaRPr>
          </a:p>
          <a:p>
            <a:pPr marL="12700" marR="5080" algn="ctr">
              <a:spcBef>
                <a:spcPts val="615"/>
              </a:spcBef>
            </a:pPr>
            <a:r>
              <a:rPr sz="800" spc="-5" dirty="0">
                <a:solidFill>
                  <a:prstClr val="black"/>
                </a:solidFill>
                <a:latin typeface="Univers for KPMG"/>
                <a:cs typeface="Univers for KPMG"/>
              </a:rPr>
              <a:t>Authorised personnel can  activate and monitor features of  the Smart</a:t>
            </a:r>
            <a:r>
              <a:rPr sz="800" spc="-55" dirty="0">
                <a:solidFill>
                  <a:prstClr val="black"/>
                </a:solidFill>
                <a:latin typeface="Univers for KPMG"/>
                <a:cs typeface="Univers for KPMG"/>
              </a:rPr>
              <a:t> </a:t>
            </a:r>
            <a:r>
              <a:rPr sz="800" spc="-5" dirty="0">
                <a:solidFill>
                  <a:prstClr val="black"/>
                </a:solidFill>
                <a:latin typeface="Univers for KPMG"/>
                <a:cs typeface="Univers for KPMG"/>
              </a:rPr>
              <a:t>Pole</a:t>
            </a:r>
            <a:endParaRPr sz="800">
              <a:solidFill>
                <a:prstClr val="black"/>
              </a:solidFill>
              <a:latin typeface="Univers for KPMG"/>
              <a:cs typeface="Univers for KPMG"/>
            </a:endParaRPr>
          </a:p>
        </p:txBody>
      </p:sp>
      <p:sp>
        <p:nvSpPr>
          <p:cNvPr id="11" name="object 11"/>
          <p:cNvSpPr txBox="1"/>
          <p:nvPr/>
        </p:nvSpPr>
        <p:spPr>
          <a:xfrm>
            <a:off x="3622802" y="4515611"/>
            <a:ext cx="845185" cy="158750"/>
          </a:xfrm>
          <a:prstGeom prst="rect">
            <a:avLst/>
          </a:prstGeom>
        </p:spPr>
        <p:txBody>
          <a:bodyPr vert="horz" wrap="square" lIns="0" tIns="0" rIns="0" bIns="0" rtlCol="0">
            <a:spAutoFit/>
          </a:bodyPr>
          <a:lstStyle/>
          <a:p>
            <a:pPr marL="12700"/>
            <a:r>
              <a:rPr sz="900" b="1" dirty="0">
                <a:solidFill>
                  <a:srgbClr val="006FC0"/>
                </a:solidFill>
                <a:latin typeface="Univers for KPMG"/>
                <a:cs typeface="Univers for KPMG"/>
              </a:rPr>
              <a:t>Smart</a:t>
            </a:r>
            <a:r>
              <a:rPr sz="900" b="1" spc="-105" dirty="0">
                <a:solidFill>
                  <a:srgbClr val="006FC0"/>
                </a:solidFill>
                <a:latin typeface="Univers for KPMG"/>
                <a:cs typeface="Univers for KPMG"/>
              </a:rPr>
              <a:t> </a:t>
            </a:r>
            <a:r>
              <a:rPr sz="900" b="1" dirty="0">
                <a:solidFill>
                  <a:srgbClr val="006FC0"/>
                </a:solidFill>
                <a:latin typeface="Univers for KPMG"/>
                <a:cs typeface="Univers for KPMG"/>
              </a:rPr>
              <a:t>Lighting</a:t>
            </a:r>
            <a:endParaRPr sz="900">
              <a:solidFill>
                <a:prstClr val="black"/>
              </a:solidFill>
              <a:latin typeface="Univers for KPMG"/>
              <a:cs typeface="Univers for KPMG"/>
            </a:endParaRPr>
          </a:p>
        </p:txBody>
      </p:sp>
      <p:sp>
        <p:nvSpPr>
          <p:cNvPr id="12" name="object 12"/>
          <p:cNvSpPr txBox="1"/>
          <p:nvPr/>
        </p:nvSpPr>
        <p:spPr>
          <a:xfrm>
            <a:off x="3300476" y="4731004"/>
            <a:ext cx="1490980" cy="386715"/>
          </a:xfrm>
          <a:prstGeom prst="rect">
            <a:avLst/>
          </a:prstGeom>
        </p:spPr>
        <p:txBody>
          <a:bodyPr vert="horz" wrap="square" lIns="0" tIns="0" rIns="0" bIns="0" rtlCol="0">
            <a:spAutoFit/>
          </a:bodyPr>
          <a:lstStyle/>
          <a:p>
            <a:pPr marL="12065" marR="5080" algn="ctr"/>
            <a:r>
              <a:rPr sz="800" spc="-5" dirty="0">
                <a:solidFill>
                  <a:prstClr val="black"/>
                </a:solidFill>
                <a:latin typeface="Univers for KPMG"/>
                <a:cs typeface="Univers for KPMG"/>
              </a:rPr>
              <a:t>Remotely controlled and  energy saving (solar powered)  lights</a:t>
            </a:r>
            <a:endParaRPr sz="800">
              <a:solidFill>
                <a:prstClr val="black"/>
              </a:solidFill>
              <a:latin typeface="Univers for KPMG"/>
              <a:cs typeface="Univers for KPMG"/>
            </a:endParaRPr>
          </a:p>
        </p:txBody>
      </p:sp>
      <p:sp>
        <p:nvSpPr>
          <p:cNvPr id="13" name="object 13"/>
          <p:cNvSpPr txBox="1"/>
          <p:nvPr/>
        </p:nvSpPr>
        <p:spPr>
          <a:xfrm>
            <a:off x="5145532" y="4531105"/>
            <a:ext cx="1118235" cy="295910"/>
          </a:xfrm>
          <a:prstGeom prst="rect">
            <a:avLst/>
          </a:prstGeom>
        </p:spPr>
        <p:txBody>
          <a:bodyPr vert="horz" wrap="square" lIns="0" tIns="0" rIns="0" bIns="0" rtlCol="0">
            <a:spAutoFit/>
          </a:bodyPr>
          <a:lstStyle/>
          <a:p>
            <a:pPr marL="12700" marR="5080" indent="12700"/>
            <a:r>
              <a:rPr sz="900" b="1" spc="-5" dirty="0">
                <a:solidFill>
                  <a:srgbClr val="006FC0"/>
                </a:solidFill>
                <a:latin typeface="Univers for KPMG"/>
                <a:cs typeface="Univers for KPMG"/>
              </a:rPr>
              <a:t>Environmental </a:t>
            </a:r>
            <a:r>
              <a:rPr sz="900" b="1" dirty="0">
                <a:solidFill>
                  <a:srgbClr val="006FC0"/>
                </a:solidFill>
                <a:latin typeface="Univers for KPMG"/>
                <a:cs typeface="Univers for KPMG"/>
              </a:rPr>
              <a:t>and  </a:t>
            </a:r>
            <a:r>
              <a:rPr sz="900" b="1" spc="-5" dirty="0">
                <a:solidFill>
                  <a:srgbClr val="006FC0"/>
                </a:solidFill>
                <a:latin typeface="Univers for KPMG"/>
                <a:cs typeface="Univers for KPMG"/>
              </a:rPr>
              <a:t>Meteorological</a:t>
            </a:r>
            <a:r>
              <a:rPr sz="900" b="1" spc="-45" dirty="0">
                <a:solidFill>
                  <a:srgbClr val="006FC0"/>
                </a:solidFill>
                <a:latin typeface="Univers for KPMG"/>
                <a:cs typeface="Univers for KPMG"/>
              </a:rPr>
              <a:t> </a:t>
            </a:r>
            <a:r>
              <a:rPr sz="900" b="1" dirty="0">
                <a:solidFill>
                  <a:srgbClr val="006FC0"/>
                </a:solidFill>
                <a:latin typeface="Univers for KPMG"/>
                <a:cs typeface="Univers for KPMG"/>
              </a:rPr>
              <a:t>data</a:t>
            </a:r>
            <a:endParaRPr sz="900">
              <a:solidFill>
                <a:prstClr val="black"/>
              </a:solidFill>
              <a:latin typeface="Univers for KPMG"/>
              <a:cs typeface="Univers for KPMG"/>
            </a:endParaRPr>
          </a:p>
        </p:txBody>
      </p:sp>
      <p:sp>
        <p:nvSpPr>
          <p:cNvPr id="14" name="object 14"/>
          <p:cNvSpPr txBox="1"/>
          <p:nvPr/>
        </p:nvSpPr>
        <p:spPr>
          <a:xfrm>
            <a:off x="5096002" y="4883657"/>
            <a:ext cx="1216660" cy="508634"/>
          </a:xfrm>
          <a:prstGeom prst="rect">
            <a:avLst/>
          </a:prstGeom>
        </p:spPr>
        <p:txBody>
          <a:bodyPr vert="horz" wrap="square" lIns="0" tIns="0" rIns="0" bIns="0" rtlCol="0">
            <a:spAutoFit/>
          </a:bodyPr>
          <a:lstStyle/>
          <a:p>
            <a:pPr marL="12700" marR="5080" indent="-1270" algn="ctr"/>
            <a:r>
              <a:rPr sz="800" spc="-5" dirty="0">
                <a:solidFill>
                  <a:prstClr val="black"/>
                </a:solidFill>
                <a:latin typeface="Univers for KPMG"/>
                <a:cs typeface="Univers for KPMG"/>
              </a:rPr>
              <a:t>Seismic sensors,  weather information and  alerts on signboards,  monitor air</a:t>
            </a:r>
            <a:r>
              <a:rPr sz="800" spc="-30" dirty="0">
                <a:solidFill>
                  <a:prstClr val="black"/>
                </a:solidFill>
                <a:latin typeface="Univers for KPMG"/>
                <a:cs typeface="Univers for KPMG"/>
              </a:rPr>
              <a:t> </a:t>
            </a:r>
            <a:r>
              <a:rPr sz="800" spc="-5" dirty="0">
                <a:solidFill>
                  <a:prstClr val="black"/>
                </a:solidFill>
                <a:latin typeface="Univers for KPMG"/>
                <a:cs typeface="Univers for KPMG"/>
              </a:rPr>
              <a:t>quality</a:t>
            </a:r>
            <a:endParaRPr sz="800">
              <a:solidFill>
                <a:prstClr val="black"/>
              </a:solidFill>
              <a:latin typeface="Univers for KPMG"/>
              <a:cs typeface="Univers for KPMG"/>
            </a:endParaRPr>
          </a:p>
        </p:txBody>
      </p:sp>
      <p:sp>
        <p:nvSpPr>
          <p:cNvPr id="15" name="object 15"/>
          <p:cNvSpPr txBox="1"/>
          <p:nvPr/>
        </p:nvSpPr>
        <p:spPr>
          <a:xfrm>
            <a:off x="5956808" y="3844035"/>
            <a:ext cx="1215390" cy="601980"/>
          </a:xfrm>
          <a:prstGeom prst="rect">
            <a:avLst/>
          </a:prstGeom>
        </p:spPr>
        <p:txBody>
          <a:bodyPr vert="horz" wrap="square" lIns="0" tIns="0" rIns="0" bIns="0" rtlCol="0">
            <a:spAutoFit/>
          </a:bodyPr>
          <a:lstStyle/>
          <a:p>
            <a:pPr algn="ctr"/>
            <a:r>
              <a:rPr sz="900" b="1" dirty="0">
                <a:solidFill>
                  <a:srgbClr val="006FC0"/>
                </a:solidFill>
                <a:latin typeface="Univers for KPMG"/>
                <a:cs typeface="Univers for KPMG"/>
              </a:rPr>
              <a:t>Traffic</a:t>
            </a:r>
            <a:r>
              <a:rPr sz="900" b="1" spc="-55" dirty="0">
                <a:solidFill>
                  <a:srgbClr val="006FC0"/>
                </a:solidFill>
                <a:latin typeface="Univers for KPMG"/>
                <a:cs typeface="Univers for KPMG"/>
              </a:rPr>
              <a:t> </a:t>
            </a:r>
            <a:r>
              <a:rPr sz="900" b="1" spc="-5" dirty="0">
                <a:solidFill>
                  <a:srgbClr val="006FC0"/>
                </a:solidFill>
                <a:latin typeface="Univers for KPMG"/>
                <a:cs typeface="Univers for KPMG"/>
              </a:rPr>
              <a:t>Management</a:t>
            </a:r>
            <a:endParaRPr sz="900">
              <a:solidFill>
                <a:prstClr val="black"/>
              </a:solidFill>
              <a:latin typeface="Univers for KPMG"/>
              <a:cs typeface="Univers for KPMG"/>
            </a:endParaRPr>
          </a:p>
          <a:p>
            <a:pPr marL="12065" marR="5080" algn="ctr">
              <a:spcBef>
                <a:spcPts val="615"/>
              </a:spcBef>
            </a:pPr>
            <a:r>
              <a:rPr sz="800" spc="-5" dirty="0">
                <a:solidFill>
                  <a:prstClr val="black"/>
                </a:solidFill>
                <a:latin typeface="Univers for KPMG"/>
                <a:cs typeface="Univers for KPMG"/>
              </a:rPr>
              <a:t>Motion Detection, Traffic  direction, Commuter  Information,</a:t>
            </a:r>
            <a:r>
              <a:rPr sz="800" spc="-35" dirty="0">
                <a:solidFill>
                  <a:prstClr val="black"/>
                </a:solidFill>
                <a:latin typeface="Univers for KPMG"/>
                <a:cs typeface="Univers for KPMG"/>
              </a:rPr>
              <a:t> </a:t>
            </a:r>
            <a:r>
              <a:rPr sz="800" spc="-5" dirty="0">
                <a:solidFill>
                  <a:prstClr val="black"/>
                </a:solidFill>
                <a:latin typeface="Univers for KPMG"/>
                <a:cs typeface="Univers for KPMG"/>
              </a:rPr>
              <a:t>Buses</a:t>
            </a:r>
            <a:endParaRPr sz="800">
              <a:solidFill>
                <a:prstClr val="black"/>
              </a:solidFill>
              <a:latin typeface="Univers for KPMG"/>
              <a:cs typeface="Univers for KPMG"/>
            </a:endParaRPr>
          </a:p>
        </p:txBody>
      </p:sp>
      <p:sp>
        <p:nvSpPr>
          <p:cNvPr id="16" name="object 16"/>
          <p:cNvSpPr txBox="1"/>
          <p:nvPr/>
        </p:nvSpPr>
        <p:spPr>
          <a:xfrm>
            <a:off x="6270752" y="4425188"/>
            <a:ext cx="588010" cy="142875"/>
          </a:xfrm>
          <a:prstGeom prst="rect">
            <a:avLst/>
          </a:prstGeom>
        </p:spPr>
        <p:txBody>
          <a:bodyPr vert="horz" wrap="square" lIns="0" tIns="0" rIns="0" bIns="0" rtlCol="0">
            <a:spAutoFit/>
          </a:bodyPr>
          <a:lstStyle/>
          <a:p>
            <a:pPr marL="12700"/>
            <a:r>
              <a:rPr sz="800" spc="-5" dirty="0">
                <a:solidFill>
                  <a:prstClr val="black"/>
                </a:solidFill>
                <a:latin typeface="Univers for KPMG"/>
                <a:cs typeface="Univers for KPMG"/>
              </a:rPr>
              <a:t>Information</a:t>
            </a:r>
            <a:endParaRPr sz="800">
              <a:solidFill>
                <a:prstClr val="black"/>
              </a:solidFill>
              <a:latin typeface="Univers for KPMG"/>
              <a:cs typeface="Univers for KPMG"/>
            </a:endParaRPr>
          </a:p>
        </p:txBody>
      </p:sp>
      <p:sp>
        <p:nvSpPr>
          <p:cNvPr id="17" name="object 17"/>
          <p:cNvSpPr txBox="1"/>
          <p:nvPr/>
        </p:nvSpPr>
        <p:spPr>
          <a:xfrm>
            <a:off x="6880352" y="4507992"/>
            <a:ext cx="1303020" cy="601980"/>
          </a:xfrm>
          <a:prstGeom prst="rect">
            <a:avLst/>
          </a:prstGeom>
        </p:spPr>
        <p:txBody>
          <a:bodyPr vert="horz" wrap="square" lIns="0" tIns="0" rIns="0" bIns="0" rtlCol="0">
            <a:spAutoFit/>
          </a:bodyPr>
          <a:lstStyle/>
          <a:p>
            <a:pPr algn="ctr"/>
            <a:r>
              <a:rPr sz="900" b="1" spc="-5" dirty="0">
                <a:solidFill>
                  <a:srgbClr val="006FC0"/>
                </a:solidFill>
                <a:latin typeface="Univers for KPMG"/>
                <a:cs typeface="Univers for KPMG"/>
              </a:rPr>
              <a:t>Parking</a:t>
            </a:r>
            <a:r>
              <a:rPr sz="900" b="1" spc="-25" dirty="0">
                <a:solidFill>
                  <a:srgbClr val="006FC0"/>
                </a:solidFill>
                <a:latin typeface="Univers for KPMG"/>
                <a:cs typeface="Univers for KPMG"/>
              </a:rPr>
              <a:t> </a:t>
            </a:r>
            <a:r>
              <a:rPr sz="900" b="1" spc="-5" dirty="0">
                <a:solidFill>
                  <a:srgbClr val="006FC0"/>
                </a:solidFill>
                <a:latin typeface="Univers for KPMG"/>
                <a:cs typeface="Univers for KPMG"/>
              </a:rPr>
              <a:t>Assistance</a:t>
            </a:r>
            <a:endParaRPr sz="900" dirty="0">
              <a:solidFill>
                <a:prstClr val="black"/>
              </a:solidFill>
              <a:latin typeface="Univers for KPMG"/>
              <a:cs typeface="Univers for KPMG"/>
            </a:endParaRPr>
          </a:p>
          <a:p>
            <a:pPr marL="12065" marR="5080" algn="ctr">
              <a:spcBef>
                <a:spcPts val="615"/>
              </a:spcBef>
            </a:pPr>
            <a:r>
              <a:rPr sz="800" spc="-5" dirty="0">
                <a:solidFill>
                  <a:prstClr val="black"/>
                </a:solidFill>
                <a:latin typeface="Univers for KPMG"/>
                <a:cs typeface="Univers for KPMG"/>
              </a:rPr>
              <a:t>Proximity Sensor and data  based applications for  Smart</a:t>
            </a:r>
            <a:r>
              <a:rPr sz="800" spc="-55" dirty="0">
                <a:solidFill>
                  <a:prstClr val="black"/>
                </a:solidFill>
                <a:latin typeface="Univers for KPMG"/>
                <a:cs typeface="Univers for KPMG"/>
              </a:rPr>
              <a:t> </a:t>
            </a:r>
            <a:r>
              <a:rPr sz="800" spc="-5" dirty="0">
                <a:solidFill>
                  <a:prstClr val="black"/>
                </a:solidFill>
                <a:latin typeface="Univers for KPMG"/>
                <a:cs typeface="Univers for KPMG"/>
              </a:rPr>
              <a:t>Parking</a:t>
            </a:r>
            <a:endParaRPr sz="800" dirty="0">
              <a:solidFill>
                <a:prstClr val="black"/>
              </a:solidFill>
              <a:latin typeface="Univers for KPMG"/>
              <a:cs typeface="Univers for KPMG"/>
            </a:endParaRPr>
          </a:p>
        </p:txBody>
      </p:sp>
      <p:sp>
        <p:nvSpPr>
          <p:cNvPr id="18" name="object 18"/>
          <p:cNvSpPr txBox="1"/>
          <p:nvPr/>
        </p:nvSpPr>
        <p:spPr>
          <a:xfrm>
            <a:off x="7712456" y="3826002"/>
            <a:ext cx="1179830" cy="617220"/>
          </a:xfrm>
          <a:prstGeom prst="rect">
            <a:avLst/>
          </a:prstGeom>
        </p:spPr>
        <p:txBody>
          <a:bodyPr vert="horz" wrap="square" lIns="0" tIns="0" rIns="0" bIns="0" rtlCol="0">
            <a:spAutoFit/>
          </a:bodyPr>
          <a:lstStyle/>
          <a:p>
            <a:pPr marL="12700" marR="5080" algn="ctr"/>
            <a:r>
              <a:rPr sz="900" b="1" spc="-5" dirty="0">
                <a:solidFill>
                  <a:srgbClr val="006FC0"/>
                </a:solidFill>
                <a:latin typeface="Univers for KPMG"/>
                <a:cs typeface="Univers for KPMG"/>
              </a:rPr>
              <a:t>Charging </a:t>
            </a:r>
            <a:r>
              <a:rPr sz="900" b="1" dirty="0">
                <a:solidFill>
                  <a:srgbClr val="006FC0"/>
                </a:solidFill>
                <a:latin typeface="Univers for KPMG"/>
                <a:cs typeface="Univers for KPMG"/>
              </a:rPr>
              <a:t>points for</a:t>
            </a:r>
            <a:r>
              <a:rPr sz="900" b="1" spc="-80" dirty="0">
                <a:solidFill>
                  <a:srgbClr val="006FC0"/>
                </a:solidFill>
                <a:latin typeface="Univers for KPMG"/>
                <a:cs typeface="Univers for KPMG"/>
              </a:rPr>
              <a:t> </a:t>
            </a:r>
            <a:r>
              <a:rPr sz="900" b="1" dirty="0">
                <a:solidFill>
                  <a:srgbClr val="006FC0"/>
                </a:solidFill>
                <a:latin typeface="Univers for KPMG"/>
                <a:cs typeface="Univers for KPMG"/>
              </a:rPr>
              <a:t>E  </a:t>
            </a:r>
            <a:r>
              <a:rPr sz="900" b="1" spc="-5" dirty="0">
                <a:solidFill>
                  <a:srgbClr val="006FC0"/>
                </a:solidFill>
                <a:latin typeface="Univers for KPMG"/>
                <a:cs typeface="Univers for KPMG"/>
              </a:rPr>
              <a:t>vehicles </a:t>
            </a:r>
            <a:r>
              <a:rPr sz="900" b="1" dirty="0">
                <a:solidFill>
                  <a:srgbClr val="006FC0"/>
                </a:solidFill>
                <a:latin typeface="Univers for KPMG"/>
                <a:cs typeface="Univers for KPMG"/>
              </a:rPr>
              <a:t>and</a:t>
            </a:r>
            <a:r>
              <a:rPr sz="900" b="1" spc="-45" dirty="0">
                <a:solidFill>
                  <a:srgbClr val="006FC0"/>
                </a:solidFill>
                <a:latin typeface="Univers for KPMG"/>
                <a:cs typeface="Univers for KPMG"/>
              </a:rPr>
              <a:t> </a:t>
            </a:r>
            <a:r>
              <a:rPr sz="900" b="1" spc="-5" dirty="0">
                <a:solidFill>
                  <a:srgbClr val="006FC0"/>
                </a:solidFill>
                <a:latin typeface="Univers for KPMG"/>
                <a:cs typeface="Univers for KPMG"/>
              </a:rPr>
              <a:t>Drone</a:t>
            </a:r>
            <a:endParaRPr sz="900" dirty="0">
              <a:solidFill>
                <a:prstClr val="black"/>
              </a:solidFill>
              <a:latin typeface="Univers for KPMG"/>
              <a:cs typeface="Univers for KPMG"/>
            </a:endParaRPr>
          </a:p>
          <a:p>
            <a:pPr marL="106045" marR="99060" algn="ctr">
              <a:spcBef>
                <a:spcPts val="615"/>
              </a:spcBef>
            </a:pPr>
            <a:r>
              <a:rPr sz="800" spc="-5" dirty="0">
                <a:solidFill>
                  <a:prstClr val="black"/>
                </a:solidFill>
                <a:latin typeface="Univers for KPMG"/>
                <a:cs typeface="Univers for KPMG"/>
              </a:rPr>
              <a:t>Charging point for e  vehicles and</a:t>
            </a:r>
            <a:r>
              <a:rPr sz="800" dirty="0">
                <a:solidFill>
                  <a:prstClr val="black"/>
                </a:solidFill>
                <a:latin typeface="Univers for KPMG"/>
                <a:cs typeface="Univers for KPMG"/>
              </a:rPr>
              <a:t> </a:t>
            </a:r>
            <a:r>
              <a:rPr sz="800" spc="-5" dirty="0">
                <a:solidFill>
                  <a:prstClr val="black"/>
                </a:solidFill>
                <a:latin typeface="Univers for KPMG"/>
                <a:cs typeface="Univers for KPMG"/>
              </a:rPr>
              <a:t>drones</a:t>
            </a:r>
            <a:endParaRPr sz="800" dirty="0">
              <a:solidFill>
                <a:prstClr val="black"/>
              </a:solidFill>
              <a:latin typeface="Univers for KPMG"/>
              <a:cs typeface="Univers for KPMG"/>
            </a:endParaRPr>
          </a:p>
        </p:txBody>
      </p:sp>
      <p:sp>
        <p:nvSpPr>
          <p:cNvPr id="19" name="object 19"/>
          <p:cNvSpPr/>
          <p:nvPr/>
        </p:nvSpPr>
        <p:spPr>
          <a:xfrm>
            <a:off x="9428226" y="1151382"/>
            <a:ext cx="1399794" cy="5090922"/>
          </a:xfrm>
          <a:prstGeom prst="rect">
            <a:avLst/>
          </a:prstGeom>
          <a:blipFill>
            <a:blip r:embed="rId4" cstate="print"/>
            <a:stretch>
              <a:fillRect/>
            </a:stretch>
          </a:blipFill>
        </p:spPr>
        <p:txBody>
          <a:bodyPr wrap="square" lIns="0" tIns="0" rIns="0" bIns="0" rtlCol="0"/>
          <a:lstStyle/>
          <a:p>
            <a:endParaRPr>
              <a:solidFill>
                <a:prstClr val="black"/>
              </a:solidFill>
            </a:endParaRPr>
          </a:p>
        </p:txBody>
      </p:sp>
      <p:sp>
        <p:nvSpPr>
          <p:cNvPr id="21" name="object 21"/>
          <p:cNvSpPr/>
          <p:nvPr/>
        </p:nvSpPr>
        <p:spPr>
          <a:xfrm>
            <a:off x="3762755" y="3065526"/>
            <a:ext cx="457200" cy="392429"/>
          </a:xfrm>
          <a:prstGeom prst="rect">
            <a:avLst/>
          </a:prstGeom>
          <a:blipFill>
            <a:blip r:embed="rId5" cstate="print"/>
            <a:stretch>
              <a:fillRect/>
            </a:stretch>
          </a:blipFill>
        </p:spPr>
        <p:txBody>
          <a:bodyPr wrap="square" lIns="0" tIns="0" rIns="0" bIns="0" rtlCol="0"/>
          <a:lstStyle/>
          <a:p>
            <a:endParaRPr>
              <a:solidFill>
                <a:prstClr val="black"/>
              </a:solidFill>
            </a:endParaRPr>
          </a:p>
        </p:txBody>
      </p:sp>
      <p:sp>
        <p:nvSpPr>
          <p:cNvPr id="22" name="object 22"/>
          <p:cNvSpPr/>
          <p:nvPr/>
        </p:nvSpPr>
        <p:spPr>
          <a:xfrm>
            <a:off x="4658105" y="2379726"/>
            <a:ext cx="390144" cy="477774"/>
          </a:xfrm>
          <a:prstGeom prst="rect">
            <a:avLst/>
          </a:prstGeom>
          <a:blipFill>
            <a:blip r:embed="rId6" cstate="print"/>
            <a:stretch>
              <a:fillRect/>
            </a:stretch>
          </a:blipFill>
        </p:spPr>
        <p:txBody>
          <a:bodyPr wrap="square" lIns="0" tIns="0" rIns="0" bIns="0" rtlCol="0"/>
          <a:lstStyle/>
          <a:p>
            <a:endParaRPr>
              <a:solidFill>
                <a:prstClr val="black"/>
              </a:solidFill>
            </a:endParaRPr>
          </a:p>
        </p:txBody>
      </p:sp>
      <p:sp>
        <p:nvSpPr>
          <p:cNvPr id="23" name="object 23"/>
          <p:cNvSpPr/>
          <p:nvPr/>
        </p:nvSpPr>
        <p:spPr>
          <a:xfrm>
            <a:off x="5483352" y="3046476"/>
            <a:ext cx="480060" cy="439674"/>
          </a:xfrm>
          <a:prstGeom prst="rect">
            <a:avLst/>
          </a:prstGeom>
          <a:blipFill>
            <a:blip r:embed="rId7" cstate="print"/>
            <a:stretch>
              <a:fillRect/>
            </a:stretch>
          </a:blipFill>
        </p:spPr>
        <p:txBody>
          <a:bodyPr wrap="square" lIns="0" tIns="0" rIns="0" bIns="0" rtlCol="0"/>
          <a:lstStyle/>
          <a:p>
            <a:endParaRPr>
              <a:solidFill>
                <a:prstClr val="black"/>
              </a:solidFill>
            </a:endParaRPr>
          </a:p>
        </p:txBody>
      </p:sp>
      <p:sp>
        <p:nvSpPr>
          <p:cNvPr id="24" name="object 24"/>
          <p:cNvSpPr/>
          <p:nvPr/>
        </p:nvSpPr>
        <p:spPr>
          <a:xfrm>
            <a:off x="6390132" y="2394204"/>
            <a:ext cx="383286" cy="469391"/>
          </a:xfrm>
          <a:prstGeom prst="rect">
            <a:avLst/>
          </a:prstGeom>
          <a:blipFill>
            <a:blip r:embed="rId8" cstate="print"/>
            <a:stretch>
              <a:fillRect/>
            </a:stretch>
          </a:blipFill>
        </p:spPr>
        <p:txBody>
          <a:bodyPr wrap="square" lIns="0" tIns="0" rIns="0" bIns="0" rtlCol="0"/>
          <a:lstStyle/>
          <a:p>
            <a:endParaRPr>
              <a:solidFill>
                <a:prstClr val="black"/>
              </a:solidFill>
            </a:endParaRPr>
          </a:p>
        </p:txBody>
      </p:sp>
      <p:sp>
        <p:nvSpPr>
          <p:cNvPr id="25" name="object 25"/>
          <p:cNvSpPr/>
          <p:nvPr/>
        </p:nvSpPr>
        <p:spPr>
          <a:xfrm>
            <a:off x="7235190" y="3053333"/>
            <a:ext cx="422148" cy="422148"/>
          </a:xfrm>
          <a:prstGeom prst="rect">
            <a:avLst/>
          </a:prstGeom>
          <a:blipFill>
            <a:blip r:embed="rId9" cstate="print"/>
            <a:stretch>
              <a:fillRect/>
            </a:stretch>
          </a:blipFill>
        </p:spPr>
        <p:txBody>
          <a:bodyPr wrap="square" lIns="0" tIns="0" rIns="0" bIns="0" rtlCol="0"/>
          <a:lstStyle/>
          <a:p>
            <a:endParaRPr>
              <a:solidFill>
                <a:prstClr val="black"/>
              </a:solidFill>
            </a:endParaRPr>
          </a:p>
        </p:txBody>
      </p:sp>
      <p:sp>
        <p:nvSpPr>
          <p:cNvPr id="26" name="object 26"/>
          <p:cNvSpPr/>
          <p:nvPr/>
        </p:nvSpPr>
        <p:spPr>
          <a:xfrm>
            <a:off x="8089392" y="2440685"/>
            <a:ext cx="451866" cy="395477"/>
          </a:xfrm>
          <a:prstGeom prst="rect">
            <a:avLst/>
          </a:prstGeom>
          <a:blipFill>
            <a:blip r:embed="rId10" cstate="print"/>
            <a:stretch>
              <a:fillRect/>
            </a:stretch>
          </a:blipFill>
        </p:spPr>
        <p:txBody>
          <a:bodyPr wrap="square" lIns="0" tIns="0" rIns="0" bIns="0" rtlCol="0"/>
          <a:lstStyle/>
          <a:p>
            <a:endParaRPr>
              <a:solidFill>
                <a:prstClr val="black"/>
              </a:solidFill>
            </a:endParaRPr>
          </a:p>
        </p:txBody>
      </p:sp>
      <p:sp>
        <p:nvSpPr>
          <p:cNvPr id="27" name="object 27"/>
          <p:cNvSpPr txBox="1"/>
          <p:nvPr/>
        </p:nvSpPr>
        <p:spPr>
          <a:xfrm>
            <a:off x="8782050" y="4607052"/>
            <a:ext cx="1040765" cy="461665"/>
          </a:xfrm>
          <a:prstGeom prst="rect">
            <a:avLst/>
          </a:prstGeom>
        </p:spPr>
        <p:txBody>
          <a:bodyPr vert="horz" wrap="square" lIns="0" tIns="0" rIns="0" bIns="0" rtlCol="0">
            <a:spAutoFit/>
          </a:bodyPr>
          <a:lstStyle/>
          <a:p>
            <a:pPr algn="ctr"/>
            <a:r>
              <a:rPr lang="en-US" sz="900" b="1" spc="-5" dirty="0">
                <a:solidFill>
                  <a:srgbClr val="006FC0"/>
                </a:solidFill>
                <a:latin typeface="Univers for KPMG"/>
                <a:cs typeface="Univers for KPMG"/>
              </a:rPr>
              <a:t>ICCC</a:t>
            </a:r>
            <a:endParaRPr sz="900" dirty="0">
              <a:solidFill>
                <a:prstClr val="black"/>
              </a:solidFill>
              <a:latin typeface="Univers for KPMG"/>
              <a:cs typeface="Univers for KPMG"/>
            </a:endParaRPr>
          </a:p>
          <a:p>
            <a:pPr algn="ctr">
              <a:spcBef>
                <a:spcPts val="615"/>
              </a:spcBef>
            </a:pPr>
            <a:r>
              <a:rPr lang="en-US" sz="800" spc="-5" dirty="0">
                <a:solidFill>
                  <a:prstClr val="black"/>
                </a:solidFill>
                <a:latin typeface="Univers for KPMG"/>
                <a:cs typeface="Univers for KPMG"/>
              </a:rPr>
              <a:t>Integrated Command and Control Centre</a:t>
            </a:r>
            <a:endParaRPr sz="800" dirty="0">
              <a:solidFill>
                <a:prstClr val="black"/>
              </a:solidFill>
              <a:latin typeface="Univers for KPMG"/>
              <a:cs typeface="Univers for KPMG"/>
            </a:endParaRPr>
          </a:p>
        </p:txBody>
      </p:sp>
      <p:sp>
        <p:nvSpPr>
          <p:cNvPr id="28" name="object 28"/>
          <p:cNvSpPr txBox="1"/>
          <p:nvPr/>
        </p:nvSpPr>
        <p:spPr>
          <a:xfrm>
            <a:off x="4170934" y="3831082"/>
            <a:ext cx="1433830" cy="358140"/>
          </a:xfrm>
          <a:prstGeom prst="rect">
            <a:avLst/>
          </a:prstGeom>
        </p:spPr>
        <p:txBody>
          <a:bodyPr vert="horz" wrap="square" lIns="0" tIns="0" rIns="0" bIns="0" rtlCol="0">
            <a:spAutoFit/>
          </a:bodyPr>
          <a:lstStyle/>
          <a:p>
            <a:pPr algn="ctr"/>
            <a:r>
              <a:rPr sz="900" b="1" spc="-5" dirty="0">
                <a:solidFill>
                  <a:srgbClr val="006FC0"/>
                </a:solidFill>
                <a:latin typeface="Univers for KPMG"/>
                <a:cs typeface="Univers for KPMG"/>
              </a:rPr>
              <a:t>Electronic surveillance</a:t>
            </a:r>
            <a:endParaRPr sz="900" dirty="0">
              <a:solidFill>
                <a:prstClr val="black"/>
              </a:solidFill>
              <a:latin typeface="Univers for KPMG"/>
              <a:cs typeface="Univers for KPMG"/>
            </a:endParaRPr>
          </a:p>
          <a:p>
            <a:pPr algn="ctr">
              <a:spcBef>
                <a:spcPts val="615"/>
              </a:spcBef>
            </a:pPr>
            <a:r>
              <a:rPr sz="800" spc="-5" dirty="0">
                <a:solidFill>
                  <a:prstClr val="black"/>
                </a:solidFill>
                <a:latin typeface="Univers for KPMG"/>
                <a:cs typeface="Univers for KPMG"/>
              </a:rPr>
              <a:t>CCTV’s for video</a:t>
            </a:r>
            <a:r>
              <a:rPr sz="800" spc="35" dirty="0">
                <a:solidFill>
                  <a:prstClr val="black"/>
                </a:solidFill>
                <a:latin typeface="Univers for KPMG"/>
                <a:cs typeface="Univers for KPMG"/>
              </a:rPr>
              <a:t> </a:t>
            </a:r>
            <a:r>
              <a:rPr sz="800" spc="-5" dirty="0">
                <a:solidFill>
                  <a:prstClr val="black"/>
                </a:solidFill>
                <a:latin typeface="Univers for KPMG"/>
                <a:cs typeface="Univers for KPMG"/>
              </a:rPr>
              <a:t>surveillance</a:t>
            </a:r>
            <a:endParaRPr sz="800" dirty="0">
              <a:solidFill>
                <a:prstClr val="black"/>
              </a:solidFill>
              <a:latin typeface="Univers for KPMG"/>
              <a:cs typeface="Univers for KPMG"/>
            </a:endParaRPr>
          </a:p>
        </p:txBody>
      </p:sp>
      <p:sp>
        <p:nvSpPr>
          <p:cNvPr id="29" name="object 29"/>
          <p:cNvSpPr/>
          <p:nvPr/>
        </p:nvSpPr>
        <p:spPr>
          <a:xfrm>
            <a:off x="172973" y="2205989"/>
            <a:ext cx="1769364" cy="2219706"/>
          </a:xfrm>
          <a:prstGeom prst="rect">
            <a:avLst/>
          </a:prstGeom>
          <a:blipFill>
            <a:blip r:embed="rId11" cstate="print"/>
            <a:stretch>
              <a:fillRect/>
            </a:stretch>
          </a:blipFill>
        </p:spPr>
        <p:txBody>
          <a:bodyPr wrap="square" lIns="0" tIns="0" rIns="0" bIns="0" rtlCol="0"/>
          <a:lstStyle/>
          <a:p>
            <a:endParaRPr>
              <a:solidFill>
                <a:prstClr val="black"/>
              </a:solidFill>
            </a:endParaRPr>
          </a:p>
        </p:txBody>
      </p:sp>
      <p:sp>
        <p:nvSpPr>
          <p:cNvPr id="30" name="object 30"/>
          <p:cNvSpPr/>
          <p:nvPr/>
        </p:nvSpPr>
        <p:spPr>
          <a:xfrm>
            <a:off x="1388363" y="3658361"/>
            <a:ext cx="116839" cy="118110"/>
          </a:xfrm>
          <a:custGeom>
            <a:avLst/>
            <a:gdLst/>
            <a:ahLst/>
            <a:cxnLst/>
            <a:rect l="l" t="t" r="r" b="b"/>
            <a:pathLst>
              <a:path w="116840" h="118110">
                <a:moveTo>
                  <a:pt x="62738" y="0"/>
                </a:moveTo>
                <a:lnTo>
                  <a:pt x="37826" y="3405"/>
                </a:lnTo>
                <a:lnTo>
                  <a:pt x="17938" y="13620"/>
                </a:lnTo>
                <a:lnTo>
                  <a:pt x="4766" y="30646"/>
                </a:lnTo>
                <a:lnTo>
                  <a:pt x="0" y="54482"/>
                </a:lnTo>
                <a:lnTo>
                  <a:pt x="4627" y="79748"/>
                </a:lnTo>
                <a:lnTo>
                  <a:pt x="16827" y="99917"/>
                </a:lnTo>
                <a:lnTo>
                  <a:pt x="34075" y="113276"/>
                </a:lnTo>
                <a:lnTo>
                  <a:pt x="53848" y="118110"/>
                </a:lnTo>
                <a:lnTo>
                  <a:pt x="78759" y="113276"/>
                </a:lnTo>
                <a:lnTo>
                  <a:pt x="98647" y="99917"/>
                </a:lnTo>
                <a:lnTo>
                  <a:pt x="111819" y="79748"/>
                </a:lnTo>
                <a:lnTo>
                  <a:pt x="116586" y="54482"/>
                </a:lnTo>
                <a:lnTo>
                  <a:pt x="111958" y="34504"/>
                </a:lnTo>
                <a:lnTo>
                  <a:pt x="99758" y="17049"/>
                </a:lnTo>
                <a:lnTo>
                  <a:pt x="82510" y="4691"/>
                </a:lnTo>
                <a:lnTo>
                  <a:pt x="62738" y="0"/>
                </a:lnTo>
                <a:close/>
              </a:path>
            </a:pathLst>
          </a:custGeom>
          <a:solidFill>
            <a:srgbClr val="FFFFFF"/>
          </a:solidFill>
        </p:spPr>
        <p:txBody>
          <a:bodyPr wrap="square" lIns="0" tIns="0" rIns="0" bIns="0" rtlCol="0"/>
          <a:lstStyle/>
          <a:p>
            <a:endParaRPr>
              <a:solidFill>
                <a:prstClr val="black"/>
              </a:solidFill>
            </a:endParaRPr>
          </a:p>
        </p:txBody>
      </p:sp>
      <p:sp>
        <p:nvSpPr>
          <p:cNvPr id="31" name="object 31"/>
          <p:cNvSpPr/>
          <p:nvPr/>
        </p:nvSpPr>
        <p:spPr>
          <a:xfrm>
            <a:off x="521208" y="4271771"/>
            <a:ext cx="116839" cy="118110"/>
          </a:xfrm>
          <a:custGeom>
            <a:avLst/>
            <a:gdLst/>
            <a:ahLst/>
            <a:cxnLst/>
            <a:rect l="l" t="t" r="r" b="b"/>
            <a:pathLst>
              <a:path w="116840" h="118110">
                <a:moveTo>
                  <a:pt x="62776" y="0"/>
                </a:moveTo>
                <a:lnTo>
                  <a:pt x="37831" y="3405"/>
                </a:lnTo>
                <a:lnTo>
                  <a:pt x="17933" y="13620"/>
                </a:lnTo>
                <a:lnTo>
                  <a:pt x="4763" y="30646"/>
                </a:lnTo>
                <a:lnTo>
                  <a:pt x="0" y="54482"/>
                </a:lnTo>
                <a:lnTo>
                  <a:pt x="4623" y="79748"/>
                </a:lnTo>
                <a:lnTo>
                  <a:pt x="16813" y="99917"/>
                </a:lnTo>
                <a:lnTo>
                  <a:pt x="34048" y="113276"/>
                </a:lnTo>
                <a:lnTo>
                  <a:pt x="53809" y="118109"/>
                </a:lnTo>
                <a:lnTo>
                  <a:pt x="78754" y="113276"/>
                </a:lnTo>
                <a:lnTo>
                  <a:pt x="98652" y="99917"/>
                </a:lnTo>
                <a:lnTo>
                  <a:pt x="111822" y="79748"/>
                </a:lnTo>
                <a:lnTo>
                  <a:pt x="116586" y="54482"/>
                </a:lnTo>
                <a:lnTo>
                  <a:pt x="111962" y="34504"/>
                </a:lnTo>
                <a:lnTo>
                  <a:pt x="99772" y="17049"/>
                </a:lnTo>
                <a:lnTo>
                  <a:pt x="82537" y="4691"/>
                </a:lnTo>
                <a:lnTo>
                  <a:pt x="62776" y="0"/>
                </a:lnTo>
                <a:close/>
              </a:path>
            </a:pathLst>
          </a:custGeom>
          <a:solidFill>
            <a:srgbClr val="FFFFFF"/>
          </a:solidFill>
        </p:spPr>
        <p:txBody>
          <a:bodyPr wrap="square" lIns="0" tIns="0" rIns="0" bIns="0" rtlCol="0"/>
          <a:lstStyle/>
          <a:p>
            <a:endParaRPr>
              <a:solidFill>
                <a:prstClr val="black"/>
              </a:solidFill>
            </a:endParaRPr>
          </a:p>
        </p:txBody>
      </p:sp>
      <p:sp>
        <p:nvSpPr>
          <p:cNvPr id="32" name="object 32"/>
          <p:cNvSpPr/>
          <p:nvPr/>
        </p:nvSpPr>
        <p:spPr>
          <a:xfrm>
            <a:off x="1142585" y="2313307"/>
            <a:ext cx="634365" cy="631190"/>
          </a:xfrm>
          <a:custGeom>
            <a:avLst/>
            <a:gdLst/>
            <a:ahLst/>
            <a:cxnLst/>
            <a:rect l="l" t="t" r="r" b="b"/>
            <a:pathLst>
              <a:path w="634364" h="631189">
                <a:moveTo>
                  <a:pt x="322260" y="0"/>
                </a:moveTo>
                <a:lnTo>
                  <a:pt x="277910" y="2116"/>
                </a:lnTo>
                <a:lnTo>
                  <a:pt x="234611" y="10457"/>
                </a:lnTo>
                <a:lnTo>
                  <a:pt x="193014" y="24694"/>
                </a:lnTo>
                <a:lnTo>
                  <a:pt x="153768" y="44501"/>
                </a:lnTo>
                <a:lnTo>
                  <a:pt x="117523" y="69551"/>
                </a:lnTo>
                <a:lnTo>
                  <a:pt x="84929" y="99517"/>
                </a:lnTo>
                <a:lnTo>
                  <a:pt x="56636" y="134072"/>
                </a:lnTo>
                <a:lnTo>
                  <a:pt x="33294" y="172890"/>
                </a:lnTo>
                <a:lnTo>
                  <a:pt x="15553" y="215643"/>
                </a:lnTo>
                <a:lnTo>
                  <a:pt x="4348" y="262628"/>
                </a:lnTo>
                <a:lnTo>
                  <a:pt x="0" y="309085"/>
                </a:lnTo>
                <a:lnTo>
                  <a:pt x="2223" y="354482"/>
                </a:lnTo>
                <a:lnTo>
                  <a:pt x="10735" y="398285"/>
                </a:lnTo>
                <a:lnTo>
                  <a:pt x="25251" y="439959"/>
                </a:lnTo>
                <a:lnTo>
                  <a:pt x="45488" y="478972"/>
                </a:lnTo>
                <a:lnTo>
                  <a:pt x="71161" y="514790"/>
                </a:lnTo>
                <a:lnTo>
                  <a:pt x="101986" y="546879"/>
                </a:lnTo>
                <a:lnTo>
                  <a:pt x="137680" y="574706"/>
                </a:lnTo>
                <a:lnTo>
                  <a:pt x="177958" y="597737"/>
                </a:lnTo>
                <a:lnTo>
                  <a:pt x="222537" y="615439"/>
                </a:lnTo>
                <a:lnTo>
                  <a:pt x="267040" y="626750"/>
                </a:lnTo>
                <a:lnTo>
                  <a:pt x="311794" y="631184"/>
                </a:lnTo>
                <a:lnTo>
                  <a:pt x="356147" y="629067"/>
                </a:lnTo>
                <a:lnTo>
                  <a:pt x="399450" y="620727"/>
                </a:lnTo>
                <a:lnTo>
                  <a:pt x="441052" y="606489"/>
                </a:lnTo>
                <a:lnTo>
                  <a:pt x="480302" y="586682"/>
                </a:lnTo>
                <a:lnTo>
                  <a:pt x="516551" y="561632"/>
                </a:lnTo>
                <a:lnTo>
                  <a:pt x="549148" y="531666"/>
                </a:lnTo>
                <a:lnTo>
                  <a:pt x="577443" y="497111"/>
                </a:lnTo>
                <a:lnTo>
                  <a:pt x="600784" y="458294"/>
                </a:lnTo>
                <a:lnTo>
                  <a:pt x="618523" y="415541"/>
                </a:lnTo>
                <a:lnTo>
                  <a:pt x="629720" y="368556"/>
                </a:lnTo>
                <a:lnTo>
                  <a:pt x="634061" y="322098"/>
                </a:lnTo>
                <a:lnTo>
                  <a:pt x="631829" y="276701"/>
                </a:lnTo>
                <a:lnTo>
                  <a:pt x="623309" y="232898"/>
                </a:lnTo>
                <a:lnTo>
                  <a:pt x="608786" y="191224"/>
                </a:lnTo>
                <a:lnTo>
                  <a:pt x="588544" y="152211"/>
                </a:lnTo>
                <a:lnTo>
                  <a:pt x="562868" y="116393"/>
                </a:lnTo>
                <a:lnTo>
                  <a:pt x="532043" y="84304"/>
                </a:lnTo>
                <a:lnTo>
                  <a:pt x="496352" y="56477"/>
                </a:lnTo>
                <a:lnTo>
                  <a:pt x="456081" y="33446"/>
                </a:lnTo>
                <a:lnTo>
                  <a:pt x="411513" y="15745"/>
                </a:lnTo>
                <a:lnTo>
                  <a:pt x="367011" y="4433"/>
                </a:lnTo>
                <a:lnTo>
                  <a:pt x="322260" y="0"/>
                </a:lnTo>
                <a:close/>
              </a:path>
            </a:pathLst>
          </a:custGeom>
          <a:solidFill>
            <a:srgbClr val="FFFFFF"/>
          </a:solidFill>
        </p:spPr>
        <p:txBody>
          <a:bodyPr wrap="square" lIns="0" tIns="0" rIns="0" bIns="0" rtlCol="0"/>
          <a:lstStyle/>
          <a:p>
            <a:endParaRPr>
              <a:solidFill>
                <a:prstClr val="black"/>
              </a:solidFill>
            </a:endParaRPr>
          </a:p>
        </p:txBody>
      </p:sp>
      <p:sp>
        <p:nvSpPr>
          <p:cNvPr id="33" name="object 33"/>
          <p:cNvSpPr/>
          <p:nvPr/>
        </p:nvSpPr>
        <p:spPr>
          <a:xfrm>
            <a:off x="276953" y="2948053"/>
            <a:ext cx="634365" cy="631190"/>
          </a:xfrm>
          <a:custGeom>
            <a:avLst/>
            <a:gdLst/>
            <a:ahLst/>
            <a:cxnLst/>
            <a:rect l="l" t="t" r="r" b="b"/>
            <a:pathLst>
              <a:path w="634365" h="631189">
                <a:moveTo>
                  <a:pt x="322237" y="0"/>
                </a:moveTo>
                <a:lnTo>
                  <a:pt x="277883" y="2116"/>
                </a:lnTo>
                <a:lnTo>
                  <a:pt x="234583" y="10457"/>
                </a:lnTo>
                <a:lnTo>
                  <a:pt x="192988" y="24694"/>
                </a:lnTo>
                <a:lnTo>
                  <a:pt x="153746" y="44501"/>
                </a:lnTo>
                <a:lnTo>
                  <a:pt x="117507" y="69551"/>
                </a:lnTo>
                <a:lnTo>
                  <a:pt x="84918" y="99517"/>
                </a:lnTo>
                <a:lnTo>
                  <a:pt x="56631" y="134072"/>
                </a:lnTo>
                <a:lnTo>
                  <a:pt x="33292" y="172890"/>
                </a:lnTo>
                <a:lnTo>
                  <a:pt x="15553" y="215643"/>
                </a:lnTo>
                <a:lnTo>
                  <a:pt x="4348" y="262628"/>
                </a:lnTo>
                <a:lnTo>
                  <a:pt x="0" y="309085"/>
                </a:lnTo>
                <a:lnTo>
                  <a:pt x="2223" y="354482"/>
                </a:lnTo>
                <a:lnTo>
                  <a:pt x="10735" y="398285"/>
                </a:lnTo>
                <a:lnTo>
                  <a:pt x="25251" y="439959"/>
                </a:lnTo>
                <a:lnTo>
                  <a:pt x="45488" y="478972"/>
                </a:lnTo>
                <a:lnTo>
                  <a:pt x="71161" y="514790"/>
                </a:lnTo>
                <a:lnTo>
                  <a:pt x="101986" y="546879"/>
                </a:lnTo>
                <a:lnTo>
                  <a:pt x="137680" y="574706"/>
                </a:lnTo>
                <a:lnTo>
                  <a:pt x="177958" y="597737"/>
                </a:lnTo>
                <a:lnTo>
                  <a:pt x="222537" y="615439"/>
                </a:lnTo>
                <a:lnTo>
                  <a:pt x="267054" y="626750"/>
                </a:lnTo>
                <a:lnTo>
                  <a:pt x="311814" y="631184"/>
                </a:lnTo>
                <a:lnTo>
                  <a:pt x="356168" y="629067"/>
                </a:lnTo>
                <a:lnTo>
                  <a:pt x="399467" y="620727"/>
                </a:lnTo>
                <a:lnTo>
                  <a:pt x="441062" y="606489"/>
                </a:lnTo>
                <a:lnTo>
                  <a:pt x="480304" y="586682"/>
                </a:lnTo>
                <a:lnTo>
                  <a:pt x="516544" y="561632"/>
                </a:lnTo>
                <a:lnTo>
                  <a:pt x="549132" y="531666"/>
                </a:lnTo>
                <a:lnTo>
                  <a:pt x="577420" y="497111"/>
                </a:lnTo>
                <a:lnTo>
                  <a:pt x="600758" y="458294"/>
                </a:lnTo>
                <a:lnTo>
                  <a:pt x="618498" y="415541"/>
                </a:lnTo>
                <a:lnTo>
                  <a:pt x="629702" y="368556"/>
                </a:lnTo>
                <a:lnTo>
                  <a:pt x="634051" y="322098"/>
                </a:lnTo>
                <a:lnTo>
                  <a:pt x="631827" y="276701"/>
                </a:lnTo>
                <a:lnTo>
                  <a:pt x="623315" y="232898"/>
                </a:lnTo>
                <a:lnTo>
                  <a:pt x="608799" y="191224"/>
                </a:lnTo>
                <a:lnTo>
                  <a:pt x="588562" y="152211"/>
                </a:lnTo>
                <a:lnTo>
                  <a:pt x="562889" y="116393"/>
                </a:lnTo>
                <a:lnTo>
                  <a:pt x="532064" y="84304"/>
                </a:lnTo>
                <a:lnTo>
                  <a:pt x="496370" y="56477"/>
                </a:lnTo>
                <a:lnTo>
                  <a:pt x="456092" y="33446"/>
                </a:lnTo>
                <a:lnTo>
                  <a:pt x="411513" y="15745"/>
                </a:lnTo>
                <a:lnTo>
                  <a:pt x="366997" y="4433"/>
                </a:lnTo>
                <a:lnTo>
                  <a:pt x="322237" y="0"/>
                </a:lnTo>
                <a:close/>
              </a:path>
            </a:pathLst>
          </a:custGeom>
          <a:solidFill>
            <a:srgbClr val="FFFFFF"/>
          </a:solidFill>
        </p:spPr>
        <p:txBody>
          <a:bodyPr wrap="square" lIns="0" tIns="0" rIns="0" bIns="0" rtlCol="0"/>
          <a:lstStyle/>
          <a:p>
            <a:endParaRPr>
              <a:solidFill>
                <a:prstClr val="black"/>
              </a:solidFill>
            </a:endParaRPr>
          </a:p>
        </p:txBody>
      </p:sp>
      <p:sp>
        <p:nvSpPr>
          <p:cNvPr id="34" name="object 34"/>
          <p:cNvSpPr txBox="1"/>
          <p:nvPr/>
        </p:nvSpPr>
        <p:spPr>
          <a:xfrm>
            <a:off x="42671" y="4445507"/>
            <a:ext cx="1098550" cy="663575"/>
          </a:xfrm>
          <a:prstGeom prst="rect">
            <a:avLst/>
          </a:prstGeom>
        </p:spPr>
        <p:txBody>
          <a:bodyPr vert="horz" wrap="square" lIns="0" tIns="0" rIns="0" bIns="0" rtlCol="0">
            <a:spAutoFit/>
          </a:bodyPr>
          <a:lstStyle/>
          <a:p>
            <a:pPr algn="ctr"/>
            <a:r>
              <a:rPr sz="1000" b="1" dirty="0">
                <a:solidFill>
                  <a:srgbClr val="006FC0"/>
                </a:solidFill>
                <a:latin typeface="Univers for KPMG"/>
                <a:cs typeface="Univers for KPMG"/>
              </a:rPr>
              <a:t>Wi-Fi</a:t>
            </a:r>
            <a:r>
              <a:rPr sz="1000" b="1" spc="-114" dirty="0">
                <a:solidFill>
                  <a:srgbClr val="006FC0"/>
                </a:solidFill>
                <a:latin typeface="Univers for KPMG"/>
                <a:cs typeface="Univers for KPMG"/>
              </a:rPr>
              <a:t> </a:t>
            </a:r>
            <a:r>
              <a:rPr sz="1000" b="1" dirty="0">
                <a:solidFill>
                  <a:srgbClr val="006FC0"/>
                </a:solidFill>
                <a:latin typeface="Univers for KPMG"/>
                <a:cs typeface="Univers for KPMG"/>
              </a:rPr>
              <a:t>Hotspots</a:t>
            </a:r>
            <a:endParaRPr sz="1000">
              <a:solidFill>
                <a:prstClr val="black"/>
              </a:solidFill>
              <a:latin typeface="Univers for KPMG"/>
              <a:cs typeface="Univers for KPMG"/>
            </a:endParaRPr>
          </a:p>
          <a:p>
            <a:pPr marL="12065" marR="5080" algn="ctr">
              <a:spcBef>
                <a:spcPts val="615"/>
              </a:spcBef>
            </a:pPr>
            <a:r>
              <a:rPr sz="900" dirty="0">
                <a:solidFill>
                  <a:prstClr val="black"/>
                </a:solidFill>
                <a:latin typeface="Univers for KPMG"/>
                <a:cs typeface="Univers for KPMG"/>
              </a:rPr>
              <a:t>Customizable -</a:t>
            </a:r>
            <a:r>
              <a:rPr sz="900" spc="-95" dirty="0">
                <a:solidFill>
                  <a:prstClr val="black"/>
                </a:solidFill>
                <a:latin typeface="Univers for KPMG"/>
                <a:cs typeface="Univers for KPMG"/>
              </a:rPr>
              <a:t> </a:t>
            </a:r>
            <a:r>
              <a:rPr sz="900" spc="-5" dirty="0">
                <a:solidFill>
                  <a:prstClr val="black"/>
                </a:solidFill>
                <a:latin typeface="Univers for KPMG"/>
                <a:cs typeface="Univers for KPMG"/>
              </a:rPr>
              <a:t>free,  </a:t>
            </a:r>
            <a:r>
              <a:rPr sz="900" dirty="0">
                <a:solidFill>
                  <a:prstClr val="black"/>
                </a:solidFill>
                <a:latin typeface="Univers for KPMG"/>
                <a:cs typeface="Univers for KPMG"/>
              </a:rPr>
              <a:t>limited </a:t>
            </a:r>
            <a:r>
              <a:rPr sz="900" spc="-5" dirty="0">
                <a:solidFill>
                  <a:prstClr val="black"/>
                </a:solidFill>
                <a:latin typeface="Univers for KPMG"/>
                <a:cs typeface="Univers for KPMG"/>
              </a:rPr>
              <a:t>access </a:t>
            </a:r>
            <a:r>
              <a:rPr sz="900" dirty="0">
                <a:solidFill>
                  <a:prstClr val="black"/>
                </a:solidFill>
                <a:latin typeface="Univers for KPMG"/>
                <a:cs typeface="Univers for KPMG"/>
              </a:rPr>
              <a:t>or  </a:t>
            </a:r>
            <a:r>
              <a:rPr sz="900" spc="-5" dirty="0">
                <a:solidFill>
                  <a:prstClr val="black"/>
                </a:solidFill>
                <a:latin typeface="Univers for KPMG"/>
                <a:cs typeface="Univers for KPMG"/>
              </a:rPr>
              <a:t>prepaid</a:t>
            </a:r>
            <a:endParaRPr sz="900">
              <a:solidFill>
                <a:prstClr val="black"/>
              </a:solidFill>
              <a:latin typeface="Univers for KPMG"/>
              <a:cs typeface="Univers for KPMG"/>
            </a:endParaRPr>
          </a:p>
        </p:txBody>
      </p:sp>
      <p:sp>
        <p:nvSpPr>
          <p:cNvPr id="35" name="object 35"/>
          <p:cNvSpPr/>
          <p:nvPr/>
        </p:nvSpPr>
        <p:spPr>
          <a:xfrm>
            <a:off x="381761" y="3031998"/>
            <a:ext cx="424434" cy="424434"/>
          </a:xfrm>
          <a:prstGeom prst="rect">
            <a:avLst/>
          </a:prstGeom>
          <a:blipFill>
            <a:blip r:embed="rId12" cstate="print"/>
            <a:stretch>
              <a:fillRect/>
            </a:stretch>
          </a:blipFill>
        </p:spPr>
        <p:txBody>
          <a:bodyPr wrap="square" lIns="0" tIns="0" rIns="0" bIns="0" rtlCol="0"/>
          <a:lstStyle/>
          <a:p>
            <a:endParaRPr>
              <a:solidFill>
                <a:prstClr val="black"/>
              </a:solidFill>
            </a:endParaRPr>
          </a:p>
        </p:txBody>
      </p:sp>
      <p:sp>
        <p:nvSpPr>
          <p:cNvPr id="36" name="object 36"/>
          <p:cNvSpPr txBox="1"/>
          <p:nvPr/>
        </p:nvSpPr>
        <p:spPr>
          <a:xfrm>
            <a:off x="840486" y="3869182"/>
            <a:ext cx="1215390" cy="601980"/>
          </a:xfrm>
          <a:prstGeom prst="rect">
            <a:avLst/>
          </a:prstGeom>
        </p:spPr>
        <p:txBody>
          <a:bodyPr vert="horz" wrap="square" lIns="0" tIns="0" rIns="0" bIns="0" rtlCol="0">
            <a:spAutoFit/>
          </a:bodyPr>
          <a:lstStyle/>
          <a:p>
            <a:pPr algn="ctr"/>
            <a:r>
              <a:rPr sz="900" b="1" spc="-5" dirty="0">
                <a:solidFill>
                  <a:srgbClr val="006FC0"/>
                </a:solidFill>
                <a:latin typeface="Univers for KPMG"/>
                <a:cs typeface="Univers for KPMG"/>
              </a:rPr>
              <a:t>Digital</a:t>
            </a:r>
            <a:r>
              <a:rPr sz="900" b="1" spc="-40" dirty="0">
                <a:solidFill>
                  <a:srgbClr val="006FC0"/>
                </a:solidFill>
                <a:latin typeface="Univers for KPMG"/>
                <a:cs typeface="Univers for KPMG"/>
              </a:rPr>
              <a:t> </a:t>
            </a:r>
            <a:r>
              <a:rPr sz="900" b="1" spc="-5" dirty="0">
                <a:solidFill>
                  <a:srgbClr val="006FC0"/>
                </a:solidFill>
                <a:latin typeface="Univers for KPMG"/>
                <a:cs typeface="Univers for KPMG"/>
              </a:rPr>
              <a:t>Signage</a:t>
            </a:r>
            <a:endParaRPr sz="900" dirty="0">
              <a:solidFill>
                <a:prstClr val="black"/>
              </a:solidFill>
              <a:latin typeface="Univers for KPMG"/>
              <a:cs typeface="Univers for KPMG"/>
            </a:endParaRPr>
          </a:p>
          <a:p>
            <a:pPr marL="12700" marR="5080" indent="-635" algn="ctr">
              <a:spcBef>
                <a:spcPts val="615"/>
              </a:spcBef>
            </a:pPr>
            <a:r>
              <a:rPr sz="800" spc="-5" dirty="0">
                <a:solidFill>
                  <a:prstClr val="black"/>
                </a:solidFill>
                <a:latin typeface="Univers for KPMG"/>
                <a:cs typeface="Univers for KPMG"/>
              </a:rPr>
              <a:t>LED billboards to run  multiple</a:t>
            </a:r>
            <a:r>
              <a:rPr sz="800" spc="-15" dirty="0">
                <a:solidFill>
                  <a:prstClr val="black"/>
                </a:solidFill>
                <a:latin typeface="Univers for KPMG"/>
                <a:cs typeface="Univers for KPMG"/>
              </a:rPr>
              <a:t> </a:t>
            </a:r>
            <a:r>
              <a:rPr sz="800" spc="-5" dirty="0">
                <a:solidFill>
                  <a:prstClr val="black"/>
                </a:solidFill>
                <a:latin typeface="Univers for KPMG"/>
                <a:cs typeface="Univers for KPMG"/>
              </a:rPr>
              <a:t>advertisements,  navigation and civic</a:t>
            </a:r>
            <a:endParaRPr sz="800" dirty="0">
              <a:solidFill>
                <a:prstClr val="black"/>
              </a:solidFill>
              <a:latin typeface="Univers for KPMG"/>
              <a:cs typeface="Univers for KPMG"/>
            </a:endParaRPr>
          </a:p>
        </p:txBody>
      </p:sp>
      <p:sp>
        <p:nvSpPr>
          <p:cNvPr id="37" name="object 37"/>
          <p:cNvSpPr txBox="1"/>
          <p:nvPr/>
        </p:nvSpPr>
        <p:spPr>
          <a:xfrm>
            <a:off x="1154430" y="4450333"/>
            <a:ext cx="588010" cy="142875"/>
          </a:xfrm>
          <a:prstGeom prst="rect">
            <a:avLst/>
          </a:prstGeom>
        </p:spPr>
        <p:txBody>
          <a:bodyPr vert="horz" wrap="square" lIns="0" tIns="0" rIns="0" bIns="0" rtlCol="0">
            <a:spAutoFit/>
          </a:bodyPr>
          <a:lstStyle/>
          <a:p>
            <a:pPr marL="12700"/>
            <a:r>
              <a:rPr sz="800" spc="-5" dirty="0">
                <a:solidFill>
                  <a:prstClr val="black"/>
                </a:solidFill>
                <a:latin typeface="Univers for KPMG"/>
                <a:cs typeface="Univers for KPMG"/>
              </a:rPr>
              <a:t>information</a:t>
            </a:r>
            <a:endParaRPr sz="800">
              <a:solidFill>
                <a:prstClr val="black"/>
              </a:solidFill>
              <a:latin typeface="Univers for KPMG"/>
              <a:cs typeface="Univers for KPMG"/>
            </a:endParaRPr>
          </a:p>
        </p:txBody>
      </p:sp>
      <p:sp>
        <p:nvSpPr>
          <p:cNvPr id="38" name="object 38"/>
          <p:cNvSpPr/>
          <p:nvPr/>
        </p:nvSpPr>
        <p:spPr>
          <a:xfrm>
            <a:off x="1161288" y="2390394"/>
            <a:ext cx="561594" cy="571500"/>
          </a:xfrm>
          <a:prstGeom prst="rect">
            <a:avLst/>
          </a:prstGeom>
          <a:blipFill>
            <a:blip r:embed="rId13" cstate="print"/>
            <a:stretch>
              <a:fillRect/>
            </a:stretch>
          </a:blipFill>
        </p:spPr>
        <p:txBody>
          <a:bodyPr wrap="square" lIns="0" tIns="0" rIns="0" bIns="0" rtlCol="0"/>
          <a:lstStyle/>
          <a:p>
            <a:endParaRPr>
              <a:solidFill>
                <a:prstClr val="black"/>
              </a:solidFill>
            </a:endParaRPr>
          </a:p>
        </p:txBody>
      </p:sp>
      <p:sp>
        <p:nvSpPr>
          <p:cNvPr id="39" name="object 39"/>
          <p:cNvSpPr/>
          <p:nvPr/>
        </p:nvSpPr>
        <p:spPr>
          <a:xfrm>
            <a:off x="2006345" y="3019425"/>
            <a:ext cx="502920" cy="501650"/>
          </a:xfrm>
          <a:prstGeom prst="rect">
            <a:avLst/>
          </a:prstGeom>
          <a:blipFill>
            <a:blip r:embed="rId14" cstate="print"/>
            <a:stretch>
              <a:fillRect/>
            </a:stretch>
          </a:blipFill>
        </p:spPr>
        <p:txBody>
          <a:bodyPr wrap="square" lIns="0" tIns="0" rIns="0" bIns="0" rtlCol="0"/>
          <a:lstStyle/>
          <a:p>
            <a:endParaRPr>
              <a:solidFill>
                <a:prstClr val="black"/>
              </a:solidFill>
            </a:endParaRPr>
          </a:p>
        </p:txBody>
      </p:sp>
      <p:sp>
        <p:nvSpPr>
          <p:cNvPr id="40" name="object 40"/>
          <p:cNvSpPr/>
          <p:nvPr/>
        </p:nvSpPr>
        <p:spPr>
          <a:xfrm>
            <a:off x="2857500" y="2416301"/>
            <a:ext cx="536448" cy="399288"/>
          </a:xfrm>
          <a:prstGeom prst="rect">
            <a:avLst/>
          </a:prstGeom>
          <a:blipFill>
            <a:blip r:embed="rId15" cstate="print"/>
            <a:stretch>
              <a:fillRect/>
            </a:stretch>
          </a:blipFill>
        </p:spPr>
        <p:txBody>
          <a:bodyPr wrap="square" lIns="0" tIns="0" rIns="0" bIns="0" rtlCol="0"/>
          <a:lstStyle/>
          <a:p>
            <a:endParaRPr>
              <a:solidFill>
                <a:prstClr val="black"/>
              </a:solidFill>
            </a:endParaRPr>
          </a:p>
        </p:txBody>
      </p:sp>
      <p:sp>
        <p:nvSpPr>
          <p:cNvPr id="45" name="object 45"/>
          <p:cNvSpPr/>
          <p:nvPr/>
        </p:nvSpPr>
        <p:spPr>
          <a:xfrm>
            <a:off x="10472928" y="2662427"/>
            <a:ext cx="870966" cy="1543050"/>
          </a:xfrm>
          <a:prstGeom prst="rect">
            <a:avLst/>
          </a:prstGeom>
          <a:blipFill>
            <a:blip r:embed="rId16" cstate="print"/>
            <a:stretch>
              <a:fillRect/>
            </a:stretch>
          </a:blipFill>
        </p:spPr>
        <p:txBody>
          <a:bodyPr wrap="square" lIns="0" tIns="0" rIns="0" bIns="0" rtlCol="0"/>
          <a:lstStyle/>
          <a:p>
            <a:endParaRPr>
              <a:solidFill>
                <a:prstClr val="black"/>
              </a:solidFill>
            </a:endParaRPr>
          </a:p>
        </p:txBody>
      </p:sp>
      <p:grpSp>
        <p:nvGrpSpPr>
          <p:cNvPr id="47" name="Group 61"/>
          <p:cNvGrpSpPr>
            <a:grpSpLocks noChangeAspect="1"/>
          </p:cNvGrpSpPr>
          <p:nvPr/>
        </p:nvGrpSpPr>
        <p:grpSpPr bwMode="auto">
          <a:xfrm>
            <a:off x="8996472" y="3063036"/>
            <a:ext cx="371974" cy="369216"/>
            <a:chOff x="2009" y="4630"/>
            <a:chExt cx="540" cy="536"/>
          </a:xfrm>
          <a:solidFill>
            <a:schemeClr val="accent5"/>
          </a:solidFill>
        </p:grpSpPr>
        <p:sp>
          <p:nvSpPr>
            <p:cNvPr id="48" name="Freeform 62"/>
            <p:cNvSpPr>
              <a:spLocks/>
            </p:cNvSpPr>
            <p:nvPr/>
          </p:nvSpPr>
          <p:spPr bwMode="auto">
            <a:xfrm>
              <a:off x="2009" y="4630"/>
              <a:ext cx="478" cy="536"/>
            </a:xfrm>
            <a:custGeom>
              <a:avLst/>
              <a:gdLst>
                <a:gd name="T0" fmla="*/ 189 w 200"/>
                <a:gd name="T1" fmla="*/ 161 h 224"/>
                <a:gd name="T2" fmla="*/ 184 w 200"/>
                <a:gd name="T3" fmla="*/ 155 h 224"/>
                <a:gd name="T4" fmla="*/ 171 w 200"/>
                <a:gd name="T5" fmla="*/ 155 h 224"/>
                <a:gd name="T6" fmla="*/ 111 w 200"/>
                <a:gd name="T7" fmla="*/ 186 h 224"/>
                <a:gd name="T8" fmla="*/ 37 w 200"/>
                <a:gd name="T9" fmla="*/ 112 h 224"/>
                <a:gd name="T10" fmla="*/ 111 w 200"/>
                <a:gd name="T11" fmla="*/ 38 h 224"/>
                <a:gd name="T12" fmla="*/ 116 w 200"/>
                <a:gd name="T13" fmla="*/ 38 h 224"/>
                <a:gd name="T14" fmla="*/ 117 w 200"/>
                <a:gd name="T15" fmla="*/ 1 h 224"/>
                <a:gd name="T16" fmla="*/ 97 w 200"/>
                <a:gd name="T17" fmla="*/ 0 h 224"/>
                <a:gd name="T18" fmla="*/ 96 w 200"/>
                <a:gd name="T19" fmla="*/ 21 h 224"/>
                <a:gd name="T20" fmla="*/ 64 w 200"/>
                <a:gd name="T21" fmla="*/ 34 h 224"/>
                <a:gd name="T22" fmla="*/ 49 w 200"/>
                <a:gd name="T23" fmla="*/ 19 h 224"/>
                <a:gd name="T24" fmla="*/ 23 w 200"/>
                <a:gd name="T25" fmla="*/ 43 h 224"/>
                <a:gd name="T26" fmla="*/ 38 w 200"/>
                <a:gd name="T27" fmla="*/ 59 h 224"/>
                <a:gd name="T28" fmla="*/ 23 w 200"/>
                <a:gd name="T29" fmla="*/ 90 h 224"/>
                <a:gd name="T30" fmla="*/ 1 w 200"/>
                <a:gd name="T31" fmla="*/ 90 h 224"/>
                <a:gd name="T32" fmla="*/ 0 w 200"/>
                <a:gd name="T33" fmla="*/ 126 h 224"/>
                <a:gd name="T34" fmla="*/ 21 w 200"/>
                <a:gd name="T35" fmla="*/ 126 h 224"/>
                <a:gd name="T36" fmla="*/ 34 w 200"/>
                <a:gd name="T37" fmla="*/ 160 h 224"/>
                <a:gd name="T38" fmla="*/ 18 w 200"/>
                <a:gd name="T39" fmla="*/ 174 h 224"/>
                <a:gd name="T40" fmla="*/ 43 w 200"/>
                <a:gd name="T41" fmla="*/ 200 h 224"/>
                <a:gd name="T42" fmla="*/ 57 w 200"/>
                <a:gd name="T43" fmla="*/ 186 h 224"/>
                <a:gd name="T44" fmla="*/ 90 w 200"/>
                <a:gd name="T45" fmla="*/ 201 h 224"/>
                <a:gd name="T46" fmla="*/ 89 w 200"/>
                <a:gd name="T47" fmla="*/ 222 h 224"/>
                <a:gd name="T48" fmla="*/ 125 w 200"/>
                <a:gd name="T49" fmla="*/ 224 h 224"/>
                <a:gd name="T50" fmla="*/ 126 w 200"/>
                <a:gd name="T51" fmla="*/ 202 h 224"/>
                <a:gd name="T52" fmla="*/ 160 w 200"/>
                <a:gd name="T53" fmla="*/ 190 h 224"/>
                <a:gd name="T54" fmla="*/ 174 w 200"/>
                <a:gd name="T55" fmla="*/ 205 h 224"/>
                <a:gd name="T56" fmla="*/ 200 w 200"/>
                <a:gd name="T57" fmla="*/ 181 h 224"/>
                <a:gd name="T58" fmla="*/ 186 w 200"/>
                <a:gd name="T59" fmla="*/ 165 h 224"/>
                <a:gd name="T60" fmla="*/ 189 w 200"/>
                <a:gd name="T61" fmla="*/ 16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0" h="224">
                  <a:moveTo>
                    <a:pt x="189" y="161"/>
                  </a:moveTo>
                  <a:cubicBezTo>
                    <a:pt x="184" y="155"/>
                    <a:pt x="184" y="155"/>
                    <a:pt x="184" y="155"/>
                  </a:cubicBezTo>
                  <a:cubicBezTo>
                    <a:pt x="171" y="155"/>
                    <a:pt x="171" y="155"/>
                    <a:pt x="171" y="155"/>
                  </a:cubicBezTo>
                  <a:cubicBezTo>
                    <a:pt x="158" y="174"/>
                    <a:pt x="136" y="186"/>
                    <a:pt x="111" y="186"/>
                  </a:cubicBezTo>
                  <a:cubicBezTo>
                    <a:pt x="70" y="186"/>
                    <a:pt x="37" y="153"/>
                    <a:pt x="37" y="112"/>
                  </a:cubicBezTo>
                  <a:cubicBezTo>
                    <a:pt x="37" y="71"/>
                    <a:pt x="70" y="38"/>
                    <a:pt x="111" y="38"/>
                  </a:cubicBezTo>
                  <a:cubicBezTo>
                    <a:pt x="113" y="38"/>
                    <a:pt x="115" y="38"/>
                    <a:pt x="116" y="38"/>
                  </a:cubicBezTo>
                  <a:cubicBezTo>
                    <a:pt x="117" y="1"/>
                    <a:pt x="117" y="1"/>
                    <a:pt x="117" y="1"/>
                  </a:cubicBezTo>
                  <a:cubicBezTo>
                    <a:pt x="97" y="0"/>
                    <a:pt x="97" y="0"/>
                    <a:pt x="97" y="0"/>
                  </a:cubicBezTo>
                  <a:cubicBezTo>
                    <a:pt x="96" y="21"/>
                    <a:pt x="96" y="21"/>
                    <a:pt x="96" y="21"/>
                  </a:cubicBezTo>
                  <a:cubicBezTo>
                    <a:pt x="85" y="24"/>
                    <a:pt x="74" y="28"/>
                    <a:pt x="64" y="34"/>
                  </a:cubicBezTo>
                  <a:cubicBezTo>
                    <a:pt x="49" y="19"/>
                    <a:pt x="49" y="19"/>
                    <a:pt x="49" y="19"/>
                  </a:cubicBezTo>
                  <a:cubicBezTo>
                    <a:pt x="23" y="43"/>
                    <a:pt x="23" y="43"/>
                    <a:pt x="23" y="43"/>
                  </a:cubicBezTo>
                  <a:cubicBezTo>
                    <a:pt x="38" y="59"/>
                    <a:pt x="38" y="59"/>
                    <a:pt x="38" y="59"/>
                  </a:cubicBezTo>
                  <a:cubicBezTo>
                    <a:pt x="30" y="68"/>
                    <a:pt x="25" y="79"/>
                    <a:pt x="23" y="90"/>
                  </a:cubicBezTo>
                  <a:cubicBezTo>
                    <a:pt x="1" y="90"/>
                    <a:pt x="1" y="90"/>
                    <a:pt x="1" y="90"/>
                  </a:cubicBezTo>
                  <a:cubicBezTo>
                    <a:pt x="0" y="126"/>
                    <a:pt x="0" y="126"/>
                    <a:pt x="0" y="126"/>
                  </a:cubicBezTo>
                  <a:cubicBezTo>
                    <a:pt x="21" y="126"/>
                    <a:pt x="21" y="126"/>
                    <a:pt x="21" y="126"/>
                  </a:cubicBezTo>
                  <a:cubicBezTo>
                    <a:pt x="23" y="139"/>
                    <a:pt x="28" y="150"/>
                    <a:pt x="34" y="160"/>
                  </a:cubicBezTo>
                  <a:cubicBezTo>
                    <a:pt x="18" y="174"/>
                    <a:pt x="18" y="174"/>
                    <a:pt x="18" y="174"/>
                  </a:cubicBezTo>
                  <a:cubicBezTo>
                    <a:pt x="43" y="200"/>
                    <a:pt x="43" y="200"/>
                    <a:pt x="43" y="200"/>
                  </a:cubicBezTo>
                  <a:cubicBezTo>
                    <a:pt x="57" y="186"/>
                    <a:pt x="57" y="186"/>
                    <a:pt x="57" y="186"/>
                  </a:cubicBezTo>
                  <a:cubicBezTo>
                    <a:pt x="67" y="194"/>
                    <a:pt x="79" y="199"/>
                    <a:pt x="90" y="201"/>
                  </a:cubicBezTo>
                  <a:cubicBezTo>
                    <a:pt x="89" y="222"/>
                    <a:pt x="89" y="222"/>
                    <a:pt x="89" y="222"/>
                  </a:cubicBezTo>
                  <a:cubicBezTo>
                    <a:pt x="125" y="224"/>
                    <a:pt x="125" y="224"/>
                    <a:pt x="125" y="224"/>
                  </a:cubicBezTo>
                  <a:cubicBezTo>
                    <a:pt x="126" y="202"/>
                    <a:pt x="126" y="202"/>
                    <a:pt x="126" y="202"/>
                  </a:cubicBezTo>
                  <a:cubicBezTo>
                    <a:pt x="139" y="201"/>
                    <a:pt x="150" y="196"/>
                    <a:pt x="160" y="190"/>
                  </a:cubicBezTo>
                  <a:cubicBezTo>
                    <a:pt x="174" y="205"/>
                    <a:pt x="174" y="205"/>
                    <a:pt x="174" y="205"/>
                  </a:cubicBezTo>
                  <a:cubicBezTo>
                    <a:pt x="200" y="181"/>
                    <a:pt x="200" y="181"/>
                    <a:pt x="200" y="181"/>
                  </a:cubicBezTo>
                  <a:cubicBezTo>
                    <a:pt x="186" y="165"/>
                    <a:pt x="186" y="165"/>
                    <a:pt x="186" y="165"/>
                  </a:cubicBezTo>
                  <a:cubicBezTo>
                    <a:pt x="187" y="164"/>
                    <a:pt x="188" y="162"/>
                    <a:pt x="189" y="1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sp>
          <p:nvSpPr>
            <p:cNvPr id="49" name="Freeform 63"/>
            <p:cNvSpPr>
              <a:spLocks noEditPoints="1"/>
            </p:cNvSpPr>
            <p:nvPr/>
          </p:nvSpPr>
          <p:spPr bwMode="auto">
            <a:xfrm>
              <a:off x="2090" y="4874"/>
              <a:ext cx="459" cy="120"/>
            </a:xfrm>
            <a:custGeom>
              <a:avLst/>
              <a:gdLst>
                <a:gd name="T0" fmla="*/ 392 w 459"/>
                <a:gd name="T1" fmla="*/ 31 h 120"/>
                <a:gd name="T2" fmla="*/ 309 w 459"/>
                <a:gd name="T3" fmla="*/ 7 h 120"/>
                <a:gd name="T4" fmla="*/ 175 w 459"/>
                <a:gd name="T5" fmla="*/ 31 h 120"/>
                <a:gd name="T6" fmla="*/ 146 w 459"/>
                <a:gd name="T7" fmla="*/ 0 h 120"/>
                <a:gd name="T8" fmla="*/ 96 w 459"/>
                <a:gd name="T9" fmla="*/ 0 h 120"/>
                <a:gd name="T10" fmla="*/ 46 w 459"/>
                <a:gd name="T11" fmla="*/ 0 h 120"/>
                <a:gd name="T12" fmla="*/ 0 w 459"/>
                <a:gd name="T13" fmla="*/ 31 h 120"/>
                <a:gd name="T14" fmla="*/ 175 w 459"/>
                <a:gd name="T15" fmla="*/ 120 h 120"/>
                <a:gd name="T16" fmla="*/ 292 w 459"/>
                <a:gd name="T17" fmla="*/ 120 h 120"/>
                <a:gd name="T18" fmla="*/ 392 w 459"/>
                <a:gd name="T19" fmla="*/ 120 h 120"/>
                <a:gd name="T20" fmla="*/ 459 w 459"/>
                <a:gd name="T21" fmla="*/ 120 h 120"/>
                <a:gd name="T22" fmla="*/ 392 w 459"/>
                <a:gd name="T23" fmla="*/ 0 h 120"/>
                <a:gd name="T24" fmla="*/ 29 w 459"/>
                <a:gd name="T25" fmla="*/ 72 h 120"/>
                <a:gd name="T26" fmla="*/ 46 w 459"/>
                <a:gd name="T27" fmla="*/ 62 h 120"/>
                <a:gd name="T28" fmla="*/ 46 w 459"/>
                <a:gd name="T29" fmla="*/ 58 h 120"/>
                <a:gd name="T30" fmla="*/ 29 w 459"/>
                <a:gd name="T31" fmla="*/ 46 h 120"/>
                <a:gd name="T32" fmla="*/ 46 w 459"/>
                <a:gd name="T33" fmla="*/ 58 h 120"/>
                <a:gd name="T34" fmla="*/ 53 w 459"/>
                <a:gd name="T35" fmla="*/ 72 h 120"/>
                <a:gd name="T36" fmla="*/ 72 w 459"/>
                <a:gd name="T37" fmla="*/ 62 h 120"/>
                <a:gd name="T38" fmla="*/ 72 w 459"/>
                <a:gd name="T39" fmla="*/ 58 h 120"/>
                <a:gd name="T40" fmla="*/ 53 w 459"/>
                <a:gd name="T41" fmla="*/ 46 h 120"/>
                <a:gd name="T42" fmla="*/ 72 w 459"/>
                <a:gd name="T43" fmla="*/ 58 h 120"/>
                <a:gd name="T44" fmla="*/ 79 w 459"/>
                <a:gd name="T45" fmla="*/ 72 h 120"/>
                <a:gd name="T46" fmla="*/ 96 w 459"/>
                <a:gd name="T47" fmla="*/ 62 h 120"/>
                <a:gd name="T48" fmla="*/ 96 w 459"/>
                <a:gd name="T49" fmla="*/ 58 h 120"/>
                <a:gd name="T50" fmla="*/ 79 w 459"/>
                <a:gd name="T51" fmla="*/ 46 h 120"/>
                <a:gd name="T52" fmla="*/ 96 w 459"/>
                <a:gd name="T53" fmla="*/ 58 h 120"/>
                <a:gd name="T54" fmla="*/ 103 w 459"/>
                <a:gd name="T55" fmla="*/ 72 h 120"/>
                <a:gd name="T56" fmla="*/ 122 w 459"/>
                <a:gd name="T57" fmla="*/ 62 h 120"/>
                <a:gd name="T58" fmla="*/ 122 w 459"/>
                <a:gd name="T59" fmla="*/ 58 h 120"/>
                <a:gd name="T60" fmla="*/ 103 w 459"/>
                <a:gd name="T61" fmla="*/ 46 h 120"/>
                <a:gd name="T62" fmla="*/ 122 w 459"/>
                <a:gd name="T63" fmla="*/ 58 h 120"/>
                <a:gd name="T64" fmla="*/ 129 w 459"/>
                <a:gd name="T65" fmla="*/ 72 h 120"/>
                <a:gd name="T66" fmla="*/ 149 w 459"/>
                <a:gd name="T67" fmla="*/ 62 h 120"/>
                <a:gd name="T68" fmla="*/ 149 w 459"/>
                <a:gd name="T69" fmla="*/ 58 h 120"/>
                <a:gd name="T70" fmla="*/ 129 w 459"/>
                <a:gd name="T71" fmla="*/ 46 h 120"/>
                <a:gd name="T72" fmla="*/ 149 w 459"/>
                <a:gd name="T73" fmla="*/ 58 h 120"/>
                <a:gd name="T74" fmla="*/ 328 w 459"/>
                <a:gd name="T75" fmla="*/ 65 h 120"/>
                <a:gd name="T76" fmla="*/ 340 w 459"/>
                <a:gd name="T77" fmla="*/ 50 h 120"/>
                <a:gd name="T78" fmla="*/ 359 w 459"/>
                <a:gd name="T79" fmla="*/ 65 h 120"/>
                <a:gd name="T80" fmla="*/ 347 w 459"/>
                <a:gd name="T81" fmla="*/ 50 h 120"/>
                <a:gd name="T82" fmla="*/ 359 w 459"/>
                <a:gd name="T83" fmla="*/ 65 h 120"/>
                <a:gd name="T84" fmla="*/ 366 w 459"/>
                <a:gd name="T85" fmla="*/ 65 h 120"/>
                <a:gd name="T86" fmla="*/ 378 w 459"/>
                <a:gd name="T87" fmla="*/ 5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120">
                  <a:moveTo>
                    <a:pt x="392" y="0"/>
                  </a:moveTo>
                  <a:lnTo>
                    <a:pt x="392" y="31"/>
                  </a:lnTo>
                  <a:lnTo>
                    <a:pt x="309" y="31"/>
                  </a:lnTo>
                  <a:lnTo>
                    <a:pt x="309" y="7"/>
                  </a:lnTo>
                  <a:lnTo>
                    <a:pt x="175" y="7"/>
                  </a:lnTo>
                  <a:lnTo>
                    <a:pt x="175" y="31"/>
                  </a:lnTo>
                  <a:lnTo>
                    <a:pt x="168" y="31"/>
                  </a:lnTo>
                  <a:lnTo>
                    <a:pt x="146" y="0"/>
                  </a:lnTo>
                  <a:lnTo>
                    <a:pt x="115" y="24"/>
                  </a:lnTo>
                  <a:lnTo>
                    <a:pt x="96" y="0"/>
                  </a:lnTo>
                  <a:lnTo>
                    <a:pt x="65" y="24"/>
                  </a:lnTo>
                  <a:lnTo>
                    <a:pt x="46" y="0"/>
                  </a:lnTo>
                  <a:lnTo>
                    <a:pt x="8" y="31"/>
                  </a:lnTo>
                  <a:lnTo>
                    <a:pt x="0" y="31"/>
                  </a:lnTo>
                  <a:lnTo>
                    <a:pt x="0" y="120"/>
                  </a:lnTo>
                  <a:lnTo>
                    <a:pt x="175" y="120"/>
                  </a:lnTo>
                  <a:lnTo>
                    <a:pt x="184" y="120"/>
                  </a:lnTo>
                  <a:lnTo>
                    <a:pt x="292" y="120"/>
                  </a:lnTo>
                  <a:lnTo>
                    <a:pt x="309" y="120"/>
                  </a:lnTo>
                  <a:lnTo>
                    <a:pt x="392" y="120"/>
                  </a:lnTo>
                  <a:lnTo>
                    <a:pt x="402" y="120"/>
                  </a:lnTo>
                  <a:lnTo>
                    <a:pt x="459" y="120"/>
                  </a:lnTo>
                  <a:lnTo>
                    <a:pt x="459" y="0"/>
                  </a:lnTo>
                  <a:lnTo>
                    <a:pt x="392" y="0"/>
                  </a:lnTo>
                  <a:close/>
                  <a:moveTo>
                    <a:pt x="46" y="72"/>
                  </a:moveTo>
                  <a:lnTo>
                    <a:pt x="29" y="72"/>
                  </a:lnTo>
                  <a:lnTo>
                    <a:pt x="29" y="62"/>
                  </a:lnTo>
                  <a:lnTo>
                    <a:pt x="46" y="62"/>
                  </a:lnTo>
                  <a:lnTo>
                    <a:pt x="46" y="72"/>
                  </a:lnTo>
                  <a:close/>
                  <a:moveTo>
                    <a:pt x="46" y="58"/>
                  </a:moveTo>
                  <a:lnTo>
                    <a:pt x="29" y="58"/>
                  </a:lnTo>
                  <a:lnTo>
                    <a:pt x="29" y="46"/>
                  </a:lnTo>
                  <a:lnTo>
                    <a:pt x="46" y="46"/>
                  </a:lnTo>
                  <a:lnTo>
                    <a:pt x="46" y="58"/>
                  </a:lnTo>
                  <a:close/>
                  <a:moveTo>
                    <a:pt x="72" y="72"/>
                  </a:moveTo>
                  <a:lnTo>
                    <a:pt x="53" y="72"/>
                  </a:lnTo>
                  <a:lnTo>
                    <a:pt x="53" y="62"/>
                  </a:lnTo>
                  <a:lnTo>
                    <a:pt x="72" y="62"/>
                  </a:lnTo>
                  <a:lnTo>
                    <a:pt x="72" y="72"/>
                  </a:lnTo>
                  <a:close/>
                  <a:moveTo>
                    <a:pt x="72" y="58"/>
                  </a:moveTo>
                  <a:lnTo>
                    <a:pt x="53" y="58"/>
                  </a:lnTo>
                  <a:lnTo>
                    <a:pt x="53" y="46"/>
                  </a:lnTo>
                  <a:lnTo>
                    <a:pt x="72" y="46"/>
                  </a:lnTo>
                  <a:lnTo>
                    <a:pt x="72" y="58"/>
                  </a:lnTo>
                  <a:close/>
                  <a:moveTo>
                    <a:pt x="96" y="72"/>
                  </a:moveTo>
                  <a:lnTo>
                    <a:pt x="79" y="72"/>
                  </a:lnTo>
                  <a:lnTo>
                    <a:pt x="79" y="62"/>
                  </a:lnTo>
                  <a:lnTo>
                    <a:pt x="96" y="62"/>
                  </a:lnTo>
                  <a:lnTo>
                    <a:pt x="96" y="72"/>
                  </a:lnTo>
                  <a:close/>
                  <a:moveTo>
                    <a:pt x="96" y="58"/>
                  </a:moveTo>
                  <a:lnTo>
                    <a:pt x="79" y="58"/>
                  </a:lnTo>
                  <a:lnTo>
                    <a:pt x="79" y="46"/>
                  </a:lnTo>
                  <a:lnTo>
                    <a:pt x="96" y="46"/>
                  </a:lnTo>
                  <a:lnTo>
                    <a:pt x="96" y="58"/>
                  </a:lnTo>
                  <a:close/>
                  <a:moveTo>
                    <a:pt x="122" y="72"/>
                  </a:moveTo>
                  <a:lnTo>
                    <a:pt x="103" y="72"/>
                  </a:lnTo>
                  <a:lnTo>
                    <a:pt x="103" y="62"/>
                  </a:lnTo>
                  <a:lnTo>
                    <a:pt x="122" y="62"/>
                  </a:lnTo>
                  <a:lnTo>
                    <a:pt x="122" y="72"/>
                  </a:lnTo>
                  <a:close/>
                  <a:moveTo>
                    <a:pt x="122" y="58"/>
                  </a:moveTo>
                  <a:lnTo>
                    <a:pt x="103" y="58"/>
                  </a:lnTo>
                  <a:lnTo>
                    <a:pt x="103" y="46"/>
                  </a:lnTo>
                  <a:lnTo>
                    <a:pt x="122" y="46"/>
                  </a:lnTo>
                  <a:lnTo>
                    <a:pt x="122" y="58"/>
                  </a:lnTo>
                  <a:close/>
                  <a:moveTo>
                    <a:pt x="149" y="72"/>
                  </a:moveTo>
                  <a:lnTo>
                    <a:pt x="129" y="72"/>
                  </a:lnTo>
                  <a:lnTo>
                    <a:pt x="129" y="62"/>
                  </a:lnTo>
                  <a:lnTo>
                    <a:pt x="149" y="62"/>
                  </a:lnTo>
                  <a:lnTo>
                    <a:pt x="149" y="72"/>
                  </a:lnTo>
                  <a:close/>
                  <a:moveTo>
                    <a:pt x="149" y="58"/>
                  </a:moveTo>
                  <a:lnTo>
                    <a:pt x="129" y="58"/>
                  </a:lnTo>
                  <a:lnTo>
                    <a:pt x="129" y="46"/>
                  </a:lnTo>
                  <a:lnTo>
                    <a:pt x="149" y="46"/>
                  </a:lnTo>
                  <a:lnTo>
                    <a:pt x="149" y="58"/>
                  </a:lnTo>
                  <a:close/>
                  <a:moveTo>
                    <a:pt x="340" y="65"/>
                  </a:moveTo>
                  <a:lnTo>
                    <a:pt x="328" y="65"/>
                  </a:lnTo>
                  <a:lnTo>
                    <a:pt x="328" y="50"/>
                  </a:lnTo>
                  <a:lnTo>
                    <a:pt x="340" y="50"/>
                  </a:lnTo>
                  <a:lnTo>
                    <a:pt x="340" y="65"/>
                  </a:lnTo>
                  <a:close/>
                  <a:moveTo>
                    <a:pt x="359" y="65"/>
                  </a:moveTo>
                  <a:lnTo>
                    <a:pt x="347" y="65"/>
                  </a:lnTo>
                  <a:lnTo>
                    <a:pt x="347" y="50"/>
                  </a:lnTo>
                  <a:lnTo>
                    <a:pt x="359" y="50"/>
                  </a:lnTo>
                  <a:lnTo>
                    <a:pt x="359" y="65"/>
                  </a:lnTo>
                  <a:close/>
                  <a:moveTo>
                    <a:pt x="378" y="65"/>
                  </a:moveTo>
                  <a:lnTo>
                    <a:pt x="366" y="65"/>
                  </a:lnTo>
                  <a:lnTo>
                    <a:pt x="366" y="50"/>
                  </a:lnTo>
                  <a:lnTo>
                    <a:pt x="378" y="50"/>
                  </a:lnTo>
                  <a:lnTo>
                    <a:pt x="378"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sp>
          <p:nvSpPr>
            <p:cNvPr id="50" name="Freeform 64"/>
            <p:cNvSpPr>
              <a:spLocks/>
            </p:cNvSpPr>
            <p:nvPr/>
          </p:nvSpPr>
          <p:spPr bwMode="auto">
            <a:xfrm>
              <a:off x="2294" y="4658"/>
              <a:ext cx="31" cy="233"/>
            </a:xfrm>
            <a:custGeom>
              <a:avLst/>
              <a:gdLst>
                <a:gd name="T0" fmla="*/ 0 w 31"/>
                <a:gd name="T1" fmla="*/ 228 h 233"/>
                <a:gd name="T2" fmla="*/ 7 w 31"/>
                <a:gd name="T3" fmla="*/ 0 h 233"/>
                <a:gd name="T4" fmla="*/ 21 w 31"/>
                <a:gd name="T5" fmla="*/ 0 h 233"/>
                <a:gd name="T6" fmla="*/ 31 w 31"/>
                <a:gd name="T7" fmla="*/ 233 h 233"/>
                <a:gd name="T8" fmla="*/ 0 w 31"/>
                <a:gd name="T9" fmla="*/ 228 h 233"/>
              </a:gdLst>
              <a:ahLst/>
              <a:cxnLst>
                <a:cxn ang="0">
                  <a:pos x="T0" y="T1"/>
                </a:cxn>
                <a:cxn ang="0">
                  <a:pos x="T2" y="T3"/>
                </a:cxn>
                <a:cxn ang="0">
                  <a:pos x="T4" y="T5"/>
                </a:cxn>
                <a:cxn ang="0">
                  <a:pos x="T6" y="T7"/>
                </a:cxn>
                <a:cxn ang="0">
                  <a:pos x="T8" y="T9"/>
                </a:cxn>
              </a:cxnLst>
              <a:rect l="0" t="0" r="r" b="b"/>
              <a:pathLst>
                <a:path w="31" h="233">
                  <a:moveTo>
                    <a:pt x="0" y="228"/>
                  </a:moveTo>
                  <a:lnTo>
                    <a:pt x="7" y="0"/>
                  </a:lnTo>
                  <a:lnTo>
                    <a:pt x="21" y="0"/>
                  </a:lnTo>
                  <a:lnTo>
                    <a:pt x="31" y="233"/>
                  </a:lnTo>
                  <a:lnTo>
                    <a:pt x="0" y="2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sp>
          <p:nvSpPr>
            <p:cNvPr id="51" name="Freeform 65"/>
            <p:cNvSpPr>
              <a:spLocks/>
            </p:cNvSpPr>
            <p:nvPr/>
          </p:nvSpPr>
          <p:spPr bwMode="auto">
            <a:xfrm>
              <a:off x="2339" y="4697"/>
              <a:ext cx="33" cy="235"/>
            </a:xfrm>
            <a:custGeom>
              <a:avLst/>
              <a:gdLst>
                <a:gd name="T0" fmla="*/ 0 w 33"/>
                <a:gd name="T1" fmla="*/ 227 h 235"/>
                <a:gd name="T2" fmla="*/ 10 w 33"/>
                <a:gd name="T3" fmla="*/ 0 h 235"/>
                <a:gd name="T4" fmla="*/ 22 w 33"/>
                <a:gd name="T5" fmla="*/ 0 h 235"/>
                <a:gd name="T6" fmla="*/ 33 w 33"/>
                <a:gd name="T7" fmla="*/ 235 h 235"/>
                <a:gd name="T8" fmla="*/ 0 w 33"/>
                <a:gd name="T9" fmla="*/ 227 h 235"/>
              </a:gdLst>
              <a:ahLst/>
              <a:cxnLst>
                <a:cxn ang="0">
                  <a:pos x="T0" y="T1"/>
                </a:cxn>
                <a:cxn ang="0">
                  <a:pos x="T2" y="T3"/>
                </a:cxn>
                <a:cxn ang="0">
                  <a:pos x="T4" y="T5"/>
                </a:cxn>
                <a:cxn ang="0">
                  <a:pos x="T6" y="T7"/>
                </a:cxn>
                <a:cxn ang="0">
                  <a:pos x="T8" y="T9"/>
                </a:cxn>
              </a:cxnLst>
              <a:rect l="0" t="0" r="r" b="b"/>
              <a:pathLst>
                <a:path w="33" h="235">
                  <a:moveTo>
                    <a:pt x="0" y="227"/>
                  </a:moveTo>
                  <a:lnTo>
                    <a:pt x="10" y="0"/>
                  </a:lnTo>
                  <a:lnTo>
                    <a:pt x="22" y="0"/>
                  </a:lnTo>
                  <a:lnTo>
                    <a:pt x="33" y="235"/>
                  </a:lnTo>
                  <a:lnTo>
                    <a:pt x="0" y="2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sp>
          <p:nvSpPr>
            <p:cNvPr id="52" name="Freeform 67"/>
            <p:cNvSpPr>
              <a:spLocks/>
            </p:cNvSpPr>
            <p:nvPr/>
          </p:nvSpPr>
          <p:spPr bwMode="auto">
            <a:xfrm>
              <a:off x="2423" y="4793"/>
              <a:ext cx="40" cy="129"/>
            </a:xfrm>
            <a:custGeom>
              <a:avLst/>
              <a:gdLst>
                <a:gd name="T0" fmla="*/ 8 w 17"/>
                <a:gd name="T1" fmla="*/ 54 h 54"/>
                <a:gd name="T2" fmla="*/ 8 w 17"/>
                <a:gd name="T3" fmla="*/ 54 h 54"/>
                <a:gd name="T4" fmla="*/ 0 w 17"/>
                <a:gd name="T5" fmla="*/ 46 h 54"/>
                <a:gd name="T6" fmla="*/ 0 w 17"/>
                <a:gd name="T7" fmla="*/ 8 h 54"/>
                <a:gd name="T8" fmla="*/ 8 w 17"/>
                <a:gd name="T9" fmla="*/ 0 h 54"/>
                <a:gd name="T10" fmla="*/ 8 w 17"/>
                <a:gd name="T11" fmla="*/ 0 h 54"/>
                <a:gd name="T12" fmla="*/ 17 w 17"/>
                <a:gd name="T13" fmla="*/ 8 h 54"/>
                <a:gd name="T14" fmla="*/ 17 w 17"/>
                <a:gd name="T15" fmla="*/ 46 h 54"/>
                <a:gd name="T16" fmla="*/ 8 w 17"/>
                <a:gd name="T1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54">
                  <a:moveTo>
                    <a:pt x="8" y="54"/>
                  </a:moveTo>
                  <a:cubicBezTo>
                    <a:pt x="8" y="54"/>
                    <a:pt x="8" y="54"/>
                    <a:pt x="8" y="54"/>
                  </a:cubicBezTo>
                  <a:cubicBezTo>
                    <a:pt x="4" y="54"/>
                    <a:pt x="0" y="50"/>
                    <a:pt x="0" y="46"/>
                  </a:cubicBezTo>
                  <a:cubicBezTo>
                    <a:pt x="0" y="8"/>
                    <a:pt x="0" y="8"/>
                    <a:pt x="0" y="8"/>
                  </a:cubicBezTo>
                  <a:cubicBezTo>
                    <a:pt x="0" y="4"/>
                    <a:pt x="4" y="0"/>
                    <a:pt x="8" y="0"/>
                  </a:cubicBezTo>
                  <a:cubicBezTo>
                    <a:pt x="8" y="0"/>
                    <a:pt x="8" y="0"/>
                    <a:pt x="8" y="0"/>
                  </a:cubicBezTo>
                  <a:cubicBezTo>
                    <a:pt x="13" y="0"/>
                    <a:pt x="17" y="4"/>
                    <a:pt x="17" y="8"/>
                  </a:cubicBezTo>
                  <a:cubicBezTo>
                    <a:pt x="17" y="46"/>
                    <a:pt x="17" y="46"/>
                    <a:pt x="17" y="46"/>
                  </a:cubicBezTo>
                  <a:cubicBezTo>
                    <a:pt x="17" y="50"/>
                    <a:pt x="13" y="54"/>
                    <a:pt x="8"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sp>
          <p:nvSpPr>
            <p:cNvPr id="53" name="Freeform 68"/>
            <p:cNvSpPr>
              <a:spLocks/>
            </p:cNvSpPr>
            <p:nvPr/>
          </p:nvSpPr>
          <p:spPr bwMode="auto">
            <a:xfrm>
              <a:off x="2502" y="4788"/>
              <a:ext cx="38" cy="134"/>
            </a:xfrm>
            <a:custGeom>
              <a:avLst/>
              <a:gdLst>
                <a:gd name="T0" fmla="*/ 11 w 16"/>
                <a:gd name="T1" fmla="*/ 2 h 56"/>
                <a:gd name="T2" fmla="*/ 11 w 16"/>
                <a:gd name="T3" fmla="*/ 0 h 56"/>
                <a:gd name="T4" fmla="*/ 6 w 16"/>
                <a:gd name="T5" fmla="*/ 0 h 56"/>
                <a:gd name="T6" fmla="*/ 6 w 16"/>
                <a:gd name="T7" fmla="*/ 2 h 56"/>
                <a:gd name="T8" fmla="*/ 0 w 16"/>
                <a:gd name="T9" fmla="*/ 10 h 56"/>
                <a:gd name="T10" fmla="*/ 0 w 16"/>
                <a:gd name="T11" fmla="*/ 48 h 56"/>
                <a:gd name="T12" fmla="*/ 8 w 16"/>
                <a:gd name="T13" fmla="*/ 56 h 56"/>
                <a:gd name="T14" fmla="*/ 16 w 16"/>
                <a:gd name="T15" fmla="*/ 48 h 56"/>
                <a:gd name="T16" fmla="*/ 16 w 16"/>
                <a:gd name="T17" fmla="*/ 10 h 56"/>
                <a:gd name="T18" fmla="*/ 11 w 16"/>
                <a:gd name="T19" fmla="*/ 2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 h="56">
                  <a:moveTo>
                    <a:pt x="11" y="2"/>
                  </a:moveTo>
                  <a:cubicBezTo>
                    <a:pt x="11" y="0"/>
                    <a:pt x="11" y="0"/>
                    <a:pt x="11" y="0"/>
                  </a:cubicBezTo>
                  <a:cubicBezTo>
                    <a:pt x="6" y="0"/>
                    <a:pt x="6" y="0"/>
                    <a:pt x="6" y="0"/>
                  </a:cubicBezTo>
                  <a:cubicBezTo>
                    <a:pt x="6" y="2"/>
                    <a:pt x="6" y="2"/>
                    <a:pt x="6" y="2"/>
                  </a:cubicBezTo>
                  <a:cubicBezTo>
                    <a:pt x="3" y="4"/>
                    <a:pt x="0" y="7"/>
                    <a:pt x="0" y="10"/>
                  </a:cubicBezTo>
                  <a:cubicBezTo>
                    <a:pt x="0" y="48"/>
                    <a:pt x="0" y="48"/>
                    <a:pt x="0" y="48"/>
                  </a:cubicBezTo>
                  <a:cubicBezTo>
                    <a:pt x="0" y="52"/>
                    <a:pt x="4" y="56"/>
                    <a:pt x="8" y="56"/>
                  </a:cubicBezTo>
                  <a:cubicBezTo>
                    <a:pt x="13" y="56"/>
                    <a:pt x="16" y="52"/>
                    <a:pt x="16" y="48"/>
                  </a:cubicBezTo>
                  <a:cubicBezTo>
                    <a:pt x="16" y="10"/>
                    <a:pt x="16" y="10"/>
                    <a:pt x="16" y="10"/>
                  </a:cubicBezTo>
                  <a:cubicBezTo>
                    <a:pt x="16" y="7"/>
                    <a:pt x="14" y="4"/>
                    <a:pt x="11"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000" dirty="0">
                <a:solidFill>
                  <a:schemeClr val="bg1"/>
                </a:solidFill>
                <a:latin typeface="Arial" panose="020B0604020202020204" pitchFamily="34" charset="0"/>
              </a:endParaRPr>
            </a:p>
          </p:txBody>
        </p:sp>
      </p:grpSp>
    </p:spTree>
    <p:extLst>
      <p:ext uri="{BB962C8B-B14F-4D97-AF65-F5344CB8AC3E}">
        <p14:creationId xmlns:p14="http://schemas.microsoft.com/office/powerpoint/2010/main" val="35516831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3600" b="1" dirty="0"/>
              <a:t>BSNL Prestigious Engagements – Bharat Net Phase 1</a:t>
            </a:r>
          </a:p>
        </p:txBody>
      </p:sp>
      <p:sp>
        <p:nvSpPr>
          <p:cNvPr id="66" name="Rectangle 65"/>
          <p:cNvSpPr/>
          <p:nvPr/>
        </p:nvSpPr>
        <p:spPr>
          <a:xfrm>
            <a:off x="800100" y="1347177"/>
            <a:ext cx="3235521" cy="53877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b="1" dirty="0">
                <a:solidFill>
                  <a:prstClr val="white"/>
                </a:solidFill>
                <a:latin typeface="Calibri" panose="020F0502020204030204" pitchFamily="34" charset="0"/>
                <a:cs typeface="Calibri" panose="020F0502020204030204" pitchFamily="34" charset="0"/>
              </a:rPr>
              <a:t>Bharat Net – National Optical Fiber Network Project</a:t>
            </a:r>
          </a:p>
        </p:txBody>
      </p:sp>
      <p:sp>
        <p:nvSpPr>
          <p:cNvPr id="67" name="Rectangle 66"/>
          <p:cNvSpPr/>
          <p:nvPr/>
        </p:nvSpPr>
        <p:spPr>
          <a:xfrm>
            <a:off x="800100" y="2081050"/>
            <a:ext cx="3221233" cy="80129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000" b="1" dirty="0">
                <a:solidFill>
                  <a:srgbClr val="000000"/>
                </a:solidFill>
                <a:latin typeface="Calibri" panose="020F0502020204030204" pitchFamily="34" charset="0"/>
                <a:cs typeface="Calibri" panose="020F0502020204030204" pitchFamily="34" charset="0"/>
              </a:rPr>
              <a:t>3,00,000 km of </a:t>
            </a:r>
            <a:r>
              <a:rPr lang="en-US" sz="1600" dirty="0">
                <a:solidFill>
                  <a:srgbClr val="000000"/>
                </a:solidFill>
                <a:latin typeface="Calibri" panose="020F0502020204030204" pitchFamily="34" charset="0"/>
                <a:cs typeface="Calibri" panose="020F0502020204030204" pitchFamily="34" charset="0"/>
              </a:rPr>
              <a:t>OFC laid and commissioned – unprecedented anywhere in the world</a:t>
            </a:r>
          </a:p>
        </p:txBody>
      </p:sp>
      <p:sp>
        <p:nvSpPr>
          <p:cNvPr id="68" name="Rectangle 67"/>
          <p:cNvSpPr/>
          <p:nvPr/>
        </p:nvSpPr>
        <p:spPr>
          <a:xfrm>
            <a:off x="800100" y="3128601"/>
            <a:ext cx="3235521" cy="77572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000" b="1" dirty="0">
                <a:solidFill>
                  <a:srgbClr val="000000"/>
                </a:solidFill>
                <a:latin typeface="Calibri" panose="020F0502020204030204" pitchFamily="34" charset="0"/>
                <a:cs typeface="Calibri" panose="020F0502020204030204" pitchFamily="34" charset="0"/>
              </a:rPr>
              <a:t>5,000 OLTEs integrated </a:t>
            </a:r>
            <a:r>
              <a:rPr lang="en-US" sz="1600" dirty="0">
                <a:solidFill>
                  <a:srgbClr val="000000"/>
                </a:solidFill>
                <a:latin typeface="Calibri" panose="020F0502020204030204" pitchFamily="34" charset="0"/>
                <a:cs typeface="Calibri" panose="020F0502020204030204" pitchFamily="34" charset="0"/>
              </a:rPr>
              <a:t>1,25,000 GPON Equipment commissioned</a:t>
            </a:r>
          </a:p>
        </p:txBody>
      </p:sp>
      <p:sp>
        <p:nvSpPr>
          <p:cNvPr id="69" name="Rectangle 68"/>
          <p:cNvSpPr/>
          <p:nvPr/>
        </p:nvSpPr>
        <p:spPr>
          <a:xfrm>
            <a:off x="800100" y="4197675"/>
            <a:ext cx="3235521" cy="77192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Estimated project </a:t>
            </a:r>
            <a:r>
              <a:rPr lang="en-US" sz="2000" b="1" dirty="0">
                <a:solidFill>
                  <a:srgbClr val="000000"/>
                </a:solidFill>
                <a:latin typeface="Calibri" panose="020F0502020204030204" pitchFamily="34" charset="0"/>
                <a:cs typeface="Calibri" panose="020F0502020204030204" pitchFamily="34" charset="0"/>
              </a:rPr>
              <a:t>cost INR 20,000 Crore</a:t>
            </a:r>
          </a:p>
        </p:txBody>
      </p:sp>
      <p:sp>
        <p:nvSpPr>
          <p:cNvPr id="70" name="Rectangle 69"/>
          <p:cNvSpPr/>
          <p:nvPr/>
        </p:nvSpPr>
        <p:spPr>
          <a:xfrm>
            <a:off x="800100" y="5290866"/>
            <a:ext cx="3235521" cy="100993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Awarded by </a:t>
            </a:r>
            <a:r>
              <a:rPr lang="en-US" sz="1600" dirty="0" err="1">
                <a:solidFill>
                  <a:srgbClr val="000000"/>
                </a:solidFill>
                <a:latin typeface="Calibri" panose="020F0502020204030204" pitchFamily="34" charset="0"/>
                <a:cs typeface="Calibri" panose="020F0502020204030204" pitchFamily="34" charset="0"/>
              </a:rPr>
              <a:t>GoI</a:t>
            </a:r>
            <a:r>
              <a:rPr lang="en-US" sz="1600" dirty="0">
                <a:solidFill>
                  <a:srgbClr val="000000"/>
                </a:solidFill>
                <a:latin typeface="Calibri" panose="020F0502020204030204" pitchFamily="34" charset="0"/>
                <a:cs typeface="Calibri" panose="020F0502020204030204" pitchFamily="34" charset="0"/>
              </a:rPr>
              <a:t> on </a:t>
            </a:r>
            <a:r>
              <a:rPr lang="en-US" sz="2000" b="1" dirty="0">
                <a:solidFill>
                  <a:srgbClr val="000000"/>
                </a:solidFill>
                <a:latin typeface="Calibri" panose="020F0502020204030204" pitchFamily="34" charset="0"/>
                <a:cs typeface="Calibri" panose="020F0502020204030204" pitchFamily="34" charset="0"/>
              </a:rPr>
              <a:t>nomination basis </a:t>
            </a:r>
            <a:r>
              <a:rPr lang="en-US" sz="1600" dirty="0">
                <a:solidFill>
                  <a:srgbClr val="000000"/>
                </a:solidFill>
                <a:latin typeface="Calibri" panose="020F0502020204030204" pitchFamily="34" charset="0"/>
                <a:cs typeface="Calibri" panose="020F0502020204030204" pitchFamily="34" charset="0"/>
              </a:rPr>
              <a:t>due to BSNL’s capability, competency, project management skills and discipline</a:t>
            </a:r>
          </a:p>
        </p:txBody>
      </p:sp>
      <p:pic>
        <p:nvPicPr>
          <p:cNvPr id="3074" name="Picture 2" descr="http://www.bbnl.nic.in/admnis/admin/showimg.aspx?ID=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7707" y="2130909"/>
            <a:ext cx="6424199" cy="4270224"/>
          </a:xfrm>
          <a:prstGeom prst="rect">
            <a:avLst/>
          </a:prstGeom>
          <a:noFill/>
          <a:ln>
            <a:solidFill>
              <a:schemeClr val="accent2"/>
            </a:solidFill>
          </a:ln>
          <a:extLst>
            <a:ext uri="{909E8E84-426E-40DD-AFC4-6F175D3DCCD1}">
              <a14:hiddenFill xmlns:a14="http://schemas.microsoft.com/office/drawing/2010/main">
                <a:solidFill>
                  <a:srgbClr val="FFFFFF"/>
                </a:solidFill>
              </a14:hiddenFill>
            </a:ext>
          </a:extLst>
        </p:spPr>
      </p:pic>
      <p:sp>
        <p:nvSpPr>
          <p:cNvPr id="71" name="Rectangle 70"/>
          <p:cNvSpPr/>
          <p:nvPr/>
        </p:nvSpPr>
        <p:spPr>
          <a:xfrm>
            <a:off x="4967707" y="1347177"/>
            <a:ext cx="6424199" cy="53877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b="1" dirty="0">
                <a:solidFill>
                  <a:prstClr val="white"/>
                </a:solidFill>
                <a:latin typeface="Calibri" panose="020F0502020204030204" pitchFamily="34" charset="0"/>
                <a:cs typeface="Calibri" panose="020F0502020204030204" pitchFamily="34" charset="0"/>
              </a:rPr>
              <a:t>Bharat Net Concept Diagram</a:t>
            </a:r>
          </a:p>
        </p:txBody>
      </p:sp>
    </p:spTree>
    <p:extLst>
      <p:ext uri="{BB962C8B-B14F-4D97-AF65-F5344CB8AC3E}">
        <p14:creationId xmlns:p14="http://schemas.microsoft.com/office/powerpoint/2010/main" val="31123915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lstStyle/>
          <a:p>
            <a:r>
              <a:rPr lang="en-US" sz="3600" b="1" dirty="0"/>
              <a:t>BSNL Prestigious Engagements – Network for Spectrum </a:t>
            </a:r>
          </a:p>
        </p:txBody>
      </p:sp>
      <p:sp>
        <p:nvSpPr>
          <p:cNvPr id="66" name="Rectangle 65"/>
          <p:cNvSpPr/>
          <p:nvPr/>
        </p:nvSpPr>
        <p:spPr>
          <a:xfrm>
            <a:off x="800100" y="1347177"/>
            <a:ext cx="3235521" cy="53877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b="1" dirty="0">
                <a:solidFill>
                  <a:prstClr val="white"/>
                </a:solidFill>
                <a:latin typeface="Univers for KPMG" panose="020B0603020202020204" pitchFamily="34" charset="0"/>
              </a:rPr>
              <a:t>NFS Project – Network for spectrum</a:t>
            </a:r>
          </a:p>
        </p:txBody>
      </p:sp>
      <p:sp>
        <p:nvSpPr>
          <p:cNvPr id="71" name="Rectangle 70"/>
          <p:cNvSpPr/>
          <p:nvPr/>
        </p:nvSpPr>
        <p:spPr>
          <a:xfrm>
            <a:off x="4967707" y="1333500"/>
            <a:ext cx="6386093" cy="538773"/>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b="1" dirty="0">
                <a:solidFill>
                  <a:prstClr val="white"/>
                </a:solidFill>
                <a:latin typeface="Calibri" panose="020F0502020204030204" pitchFamily="34" charset="0"/>
                <a:cs typeface="Calibri" panose="020F0502020204030204" pitchFamily="34" charset="0"/>
              </a:rPr>
              <a:t>Salient Features of the Programs</a:t>
            </a:r>
          </a:p>
        </p:txBody>
      </p:sp>
      <p:sp>
        <p:nvSpPr>
          <p:cNvPr id="10" name="Rectangle 9"/>
          <p:cNvSpPr/>
          <p:nvPr/>
        </p:nvSpPr>
        <p:spPr>
          <a:xfrm>
            <a:off x="800100" y="2038186"/>
            <a:ext cx="3221233" cy="1047551"/>
          </a:xfrm>
          <a:prstGeom prst="rect">
            <a:avLst/>
          </a:prstGeom>
          <a:noFill/>
          <a:ln>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Implementing agency for </a:t>
            </a:r>
            <a:r>
              <a:rPr lang="en-US" sz="2000" b="1" dirty="0">
                <a:solidFill>
                  <a:srgbClr val="000000"/>
                </a:solidFill>
                <a:latin typeface="Calibri" panose="020F0502020204030204" pitchFamily="34" charset="0"/>
                <a:cs typeface="Calibri" panose="020F0502020204030204" pitchFamily="34" charset="0"/>
              </a:rPr>
              <a:t>Indian Defense, 57,100 km across India OFC Network</a:t>
            </a:r>
          </a:p>
        </p:txBody>
      </p:sp>
      <p:sp>
        <p:nvSpPr>
          <p:cNvPr id="11" name="Rectangle 10"/>
          <p:cNvSpPr/>
          <p:nvPr/>
        </p:nvSpPr>
        <p:spPr>
          <a:xfrm>
            <a:off x="800100" y="3297202"/>
            <a:ext cx="3235521" cy="900473"/>
          </a:xfrm>
          <a:prstGeom prst="rect">
            <a:avLst/>
          </a:prstGeom>
          <a:noFill/>
          <a:ln>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Cost of equipment is approximately </a:t>
            </a:r>
            <a:r>
              <a:rPr lang="en-US" sz="2400" b="1" dirty="0">
                <a:solidFill>
                  <a:srgbClr val="000000"/>
                </a:solidFill>
                <a:latin typeface="Calibri" panose="020F0502020204030204" pitchFamily="34" charset="0"/>
                <a:cs typeface="Calibri" panose="020F0502020204030204" pitchFamily="34" charset="0"/>
              </a:rPr>
              <a:t>INR 13,000 Crore</a:t>
            </a:r>
          </a:p>
        </p:txBody>
      </p:sp>
      <p:sp>
        <p:nvSpPr>
          <p:cNvPr id="12" name="Rectangle 11"/>
          <p:cNvSpPr/>
          <p:nvPr/>
        </p:nvSpPr>
        <p:spPr>
          <a:xfrm>
            <a:off x="800099" y="4409140"/>
            <a:ext cx="3235521" cy="771929"/>
          </a:xfrm>
          <a:prstGeom prst="rect">
            <a:avLst/>
          </a:prstGeom>
          <a:noFill/>
          <a:ln>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Installed </a:t>
            </a:r>
            <a:r>
              <a:rPr lang="en-US" sz="1600" b="1" dirty="0">
                <a:solidFill>
                  <a:srgbClr val="000000"/>
                </a:solidFill>
                <a:latin typeface="Calibri" panose="020F0502020204030204" pitchFamily="34" charset="0"/>
                <a:cs typeface="Calibri" panose="020F0502020204030204" pitchFamily="34" charset="0"/>
              </a:rPr>
              <a:t>Central and Regional </a:t>
            </a:r>
            <a:r>
              <a:rPr lang="en-US" sz="2000" b="1" dirty="0">
                <a:solidFill>
                  <a:srgbClr val="000000"/>
                </a:solidFill>
                <a:latin typeface="Calibri" panose="020F0502020204030204" pitchFamily="34" charset="0"/>
                <a:cs typeface="Calibri" panose="020F0502020204030204" pitchFamily="34" charset="0"/>
              </a:rPr>
              <a:t>Network Operating Centers</a:t>
            </a:r>
          </a:p>
        </p:txBody>
      </p:sp>
      <p:sp>
        <p:nvSpPr>
          <p:cNvPr id="8" name="Rectangle 7"/>
          <p:cNvSpPr/>
          <p:nvPr/>
        </p:nvSpPr>
        <p:spPr>
          <a:xfrm>
            <a:off x="800099" y="5392534"/>
            <a:ext cx="3235521" cy="771929"/>
          </a:xfrm>
          <a:prstGeom prst="rect">
            <a:avLst/>
          </a:prstGeom>
          <a:noFill/>
          <a:ln>
            <a:solidFill>
              <a:schemeClr val="accent2"/>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0000"/>
                </a:solidFill>
                <a:latin typeface="Calibri" panose="020F0502020204030204" pitchFamily="34" charset="0"/>
                <a:cs typeface="Calibri" panose="020F0502020204030204" pitchFamily="34" charset="0"/>
              </a:rPr>
              <a:t>Awarded by Ministry of Defense, GOI on</a:t>
            </a:r>
            <a:r>
              <a:rPr lang="en-US" sz="2800" b="1" dirty="0">
                <a:solidFill>
                  <a:srgbClr val="000000"/>
                </a:solidFill>
                <a:latin typeface="Calibri" panose="020F0502020204030204" pitchFamily="34" charset="0"/>
                <a:cs typeface="Calibri" panose="020F0502020204030204" pitchFamily="34" charset="0"/>
              </a:rPr>
              <a:t> Nomination Basis</a:t>
            </a:r>
            <a:endParaRPr lang="en-US" sz="2000" b="1" dirty="0">
              <a:solidFill>
                <a:srgbClr val="000000"/>
              </a:solidFill>
              <a:latin typeface="Calibri" panose="020F0502020204030204" pitchFamily="34" charset="0"/>
              <a:cs typeface="Calibri" panose="020F0502020204030204" pitchFamily="34" charset="0"/>
            </a:endParaRPr>
          </a:p>
        </p:txBody>
      </p:sp>
      <p:sp>
        <p:nvSpPr>
          <p:cNvPr id="9" name="TextBox 8"/>
          <p:cNvSpPr txBox="1"/>
          <p:nvPr/>
        </p:nvSpPr>
        <p:spPr>
          <a:xfrm>
            <a:off x="4967707" y="2089067"/>
            <a:ext cx="6386093" cy="4075396"/>
          </a:xfrm>
          <a:prstGeom prst="rect">
            <a:avLst/>
          </a:prstGeom>
          <a:noFill/>
          <a:ln>
            <a:solidFill>
              <a:schemeClr val="tx2"/>
            </a:solidFill>
            <a:prstDash val="lgDashDotDot"/>
          </a:ln>
        </p:spPr>
        <p:txBody>
          <a:bodyPr wrap="square" lIns="54610" tIns="54610" rIns="54610" bIns="54610" rtlCol="0" anchor="ctr">
            <a:noAutofit/>
          </a:bodyPr>
          <a:lstStyle/>
          <a:p>
            <a:pPr marL="115887">
              <a:lnSpc>
                <a:spcPct val="150000"/>
              </a:lnSpc>
            </a:pPr>
            <a:r>
              <a:rPr lang="en-US" sz="1600" b="1" dirty="0">
                <a:solidFill>
                  <a:srgbClr val="000000"/>
                </a:solidFill>
                <a:latin typeface="Calibri" panose="020F0502020204030204" pitchFamily="34" charset="0"/>
                <a:cs typeface="Calibri" panose="020F0502020204030204" pitchFamily="34" charset="0"/>
              </a:rPr>
              <a:t>Key Components</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Exclusive and Dedicated Nationwide DWDM based Optical Transmission Backbone Network for Armed Forces</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Creation of dedicated IP Backbone Network</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Next Generation Internet Protocol based converged network application</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GIS based Optical </a:t>
            </a:r>
            <a:r>
              <a:rPr lang="en-US" sz="1600" dirty="0" err="1">
                <a:solidFill>
                  <a:srgbClr val="000000"/>
                </a:solidFill>
                <a:latin typeface="Calibri" panose="020F0502020204030204" pitchFamily="34" charset="0"/>
                <a:cs typeface="Calibri" panose="020F0502020204030204" pitchFamily="34" charset="0"/>
              </a:rPr>
              <a:t>Fibre</a:t>
            </a:r>
            <a:r>
              <a:rPr lang="en-US" sz="1600" dirty="0">
                <a:solidFill>
                  <a:srgbClr val="000000"/>
                </a:solidFill>
                <a:latin typeface="Calibri" panose="020F0502020204030204" pitchFamily="34" charset="0"/>
                <a:cs typeface="Calibri" panose="020F0502020204030204" pitchFamily="34" charset="0"/>
              </a:rPr>
              <a:t> Cable Network Management System</a:t>
            </a:r>
          </a:p>
          <a:p>
            <a:pPr marL="115887">
              <a:lnSpc>
                <a:spcPct val="150000"/>
              </a:lnSpc>
            </a:pPr>
            <a:r>
              <a:rPr lang="en-US" sz="1600" b="1" dirty="0">
                <a:solidFill>
                  <a:srgbClr val="000000"/>
                </a:solidFill>
                <a:latin typeface="Calibri" panose="020F0502020204030204" pitchFamily="34" charset="0"/>
                <a:cs typeface="Calibri" panose="020F0502020204030204" pitchFamily="34" charset="0"/>
              </a:rPr>
              <a:t>Activities Undertaken</a:t>
            </a:r>
          </a:p>
          <a:p>
            <a:pPr marL="401637" indent="-285750">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Pan India level System Integration</a:t>
            </a:r>
          </a:p>
          <a:p>
            <a:pPr marL="401637" indent="-285750">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Project Management </a:t>
            </a:r>
          </a:p>
          <a:p>
            <a:pPr marL="401637" indent="-285750">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Installation, Network Planning, Training and Maintenance Support</a:t>
            </a:r>
          </a:p>
          <a:p>
            <a:pPr marL="401637" indent="-285750">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Project Consultancy including Implementation and Support</a:t>
            </a:r>
          </a:p>
        </p:txBody>
      </p:sp>
    </p:spTree>
    <p:extLst>
      <p:ext uri="{BB962C8B-B14F-4D97-AF65-F5344CB8AC3E}">
        <p14:creationId xmlns:p14="http://schemas.microsoft.com/office/powerpoint/2010/main" val="12222891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200" y="365126"/>
            <a:ext cx="10524564" cy="734804"/>
          </a:xfrm>
        </p:spPr>
        <p:txBody>
          <a:bodyPr/>
          <a:lstStyle/>
          <a:p>
            <a:r>
              <a:rPr lang="en-US" sz="3600" b="1" dirty="0"/>
              <a:t>BSNL Smart City Engagements - </a:t>
            </a:r>
            <a:r>
              <a:rPr lang="en-US" sz="3600" b="1" dirty="0">
                <a:solidFill>
                  <a:schemeClr val="accent6">
                    <a:lumMod val="75000"/>
                  </a:schemeClr>
                </a:solidFill>
              </a:rPr>
              <a:t>Pune City Surveillance Project</a:t>
            </a:r>
            <a:r>
              <a:rPr lang="en-US" sz="3600" b="1" dirty="0"/>
              <a:t> </a:t>
            </a:r>
          </a:p>
        </p:txBody>
      </p:sp>
      <p:pic>
        <p:nvPicPr>
          <p:cNvPr id="63" name="Picture 62"/>
          <p:cNvPicPr/>
          <p:nvPr/>
        </p:nvPicPr>
        <p:blipFill>
          <a:blip r:embed="rId3" cstate="email">
            <a:extLst>
              <a:ext uri="{28A0092B-C50C-407E-A947-70E740481C1C}">
                <a14:useLocalDpi xmlns:a14="http://schemas.microsoft.com/office/drawing/2010/main"/>
              </a:ext>
            </a:extLst>
          </a:blip>
          <a:srcRect/>
          <a:stretch>
            <a:fillRect/>
          </a:stretch>
        </p:blipFill>
        <p:spPr bwMode="auto">
          <a:xfrm>
            <a:off x="5950857" y="1333499"/>
            <a:ext cx="5181600" cy="4619955"/>
          </a:xfrm>
          <a:prstGeom prst="rect">
            <a:avLst/>
          </a:prstGeom>
          <a:noFill/>
          <a:ln>
            <a:noFill/>
          </a:ln>
          <a:effectLst/>
        </p:spPr>
      </p:pic>
      <p:sp>
        <p:nvSpPr>
          <p:cNvPr id="64" name="Rectangle 63"/>
          <p:cNvSpPr/>
          <p:nvPr/>
        </p:nvSpPr>
        <p:spPr>
          <a:xfrm>
            <a:off x="818244" y="1345135"/>
            <a:ext cx="4987469"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BSNL in partnership with Allied Digital is implementing CCTC based surveillance system for Pune</a:t>
            </a:r>
          </a:p>
        </p:txBody>
      </p:sp>
      <p:sp>
        <p:nvSpPr>
          <p:cNvPr id="65" name="Rectangle 64"/>
          <p:cNvSpPr/>
          <p:nvPr/>
        </p:nvSpPr>
        <p:spPr>
          <a:xfrm>
            <a:off x="818245" y="1888472"/>
            <a:ext cx="4987469" cy="5051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INR 220+ Crore </a:t>
            </a:r>
            <a:r>
              <a:rPr lang="en-US" sz="1600" dirty="0">
                <a:solidFill>
                  <a:prstClr val="white"/>
                </a:solidFill>
                <a:latin typeface="Calibri" panose="020F0502020204030204" pitchFamily="34" charset="0"/>
                <a:cs typeface="Calibri" panose="020F0502020204030204" pitchFamily="34" charset="0"/>
              </a:rPr>
              <a:t>total Value of Project</a:t>
            </a:r>
            <a:endParaRPr lang="en-US" sz="2400" dirty="0">
              <a:solidFill>
                <a:prstClr val="white"/>
              </a:solidFill>
              <a:latin typeface="Calibri" panose="020F0502020204030204" pitchFamily="34" charset="0"/>
              <a:cs typeface="Calibri" panose="020F0502020204030204" pitchFamily="34" charset="0"/>
            </a:endParaRPr>
          </a:p>
        </p:txBody>
      </p:sp>
      <p:sp>
        <p:nvSpPr>
          <p:cNvPr id="66" name="Rectangle 65"/>
          <p:cNvSpPr/>
          <p:nvPr/>
        </p:nvSpPr>
        <p:spPr>
          <a:xfrm>
            <a:off x="818245" y="2393627"/>
            <a:ext cx="2732314" cy="524329"/>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1235 </a:t>
            </a:r>
            <a:r>
              <a:rPr lang="en-US" dirty="0">
                <a:solidFill>
                  <a:prstClr val="white"/>
                </a:solidFill>
                <a:latin typeface="Calibri" panose="020F0502020204030204" pitchFamily="34" charset="0"/>
                <a:cs typeface="Calibri" panose="020F0502020204030204" pitchFamily="34" charset="0"/>
              </a:rPr>
              <a:t>Camera installed </a:t>
            </a:r>
          </a:p>
        </p:txBody>
      </p:sp>
      <p:sp>
        <p:nvSpPr>
          <p:cNvPr id="69" name="TextBox 68"/>
          <p:cNvSpPr txBox="1"/>
          <p:nvPr/>
        </p:nvSpPr>
        <p:spPr>
          <a:xfrm>
            <a:off x="800100" y="3844847"/>
            <a:ext cx="5005613" cy="2108608"/>
          </a:xfrm>
          <a:prstGeom prst="rect">
            <a:avLst/>
          </a:prstGeom>
          <a:noFill/>
          <a:ln>
            <a:solidFill>
              <a:schemeClr val="tx2"/>
            </a:solidFill>
          </a:ln>
        </p:spPr>
        <p:txBody>
          <a:bodyPr wrap="square" lIns="54610" tIns="54610" rIns="54610" bIns="54610" rtlCol="0" anchor="ctr">
            <a:noAutofit/>
          </a:bodyPr>
          <a:lstStyle/>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Centralized Command </a:t>
            </a:r>
            <a:r>
              <a:rPr lang="en-US" sz="1600">
                <a:solidFill>
                  <a:srgbClr val="000000"/>
                </a:solidFill>
                <a:latin typeface="Calibri" panose="020F0502020204030204" pitchFamily="34" charset="0"/>
                <a:cs typeface="Calibri" panose="020F0502020204030204" pitchFamily="34" charset="0"/>
              </a:rPr>
              <a:t>Control and Data </a:t>
            </a:r>
            <a:r>
              <a:rPr lang="en-US" sz="1600" dirty="0">
                <a:solidFill>
                  <a:srgbClr val="000000"/>
                </a:solidFill>
                <a:latin typeface="Calibri" panose="020F0502020204030204" pitchFamily="34" charset="0"/>
                <a:cs typeface="Calibri" panose="020F0502020204030204" pitchFamily="34" charset="0"/>
              </a:rPr>
              <a:t>Center</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Advanced cameras for ‘Automatic Number Plate Recognition with video and data analytics’</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Response management</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Integration of multiple systems – GIS, GPS, vehicle and crime database </a:t>
            </a:r>
          </a:p>
        </p:txBody>
      </p:sp>
      <p:sp>
        <p:nvSpPr>
          <p:cNvPr id="70" name="Rectangle 69"/>
          <p:cNvSpPr/>
          <p:nvPr/>
        </p:nvSpPr>
        <p:spPr>
          <a:xfrm>
            <a:off x="800100" y="3320684"/>
            <a:ext cx="5005613" cy="3918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b="1" dirty="0">
                <a:solidFill>
                  <a:prstClr val="white"/>
                </a:solidFill>
                <a:latin typeface="Calibri" panose="020F0502020204030204" pitchFamily="34" charset="0"/>
                <a:cs typeface="Calibri" panose="020F0502020204030204" pitchFamily="34" charset="0"/>
              </a:rPr>
              <a:t>Salient Features of the System</a:t>
            </a:r>
          </a:p>
        </p:txBody>
      </p:sp>
      <p:sp>
        <p:nvSpPr>
          <p:cNvPr id="71" name="Rectangle 70"/>
          <p:cNvSpPr/>
          <p:nvPr/>
        </p:nvSpPr>
        <p:spPr>
          <a:xfrm>
            <a:off x="3550560" y="2389133"/>
            <a:ext cx="2255154" cy="528823"/>
          </a:xfrm>
          <a:prstGeom prst="rect">
            <a:avLst/>
          </a:prstGeom>
          <a:solidFill>
            <a:schemeClr val="accent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440 </a:t>
            </a:r>
            <a:r>
              <a:rPr lang="en-US" b="1" dirty="0">
                <a:solidFill>
                  <a:prstClr val="white"/>
                </a:solidFill>
                <a:latin typeface="Calibri" panose="020F0502020204030204" pitchFamily="34" charset="0"/>
                <a:cs typeface="Calibri" panose="020F0502020204030204" pitchFamily="34" charset="0"/>
              </a:rPr>
              <a:t>Locations</a:t>
            </a:r>
          </a:p>
        </p:txBody>
      </p:sp>
    </p:spTree>
    <p:extLst>
      <p:ext uri="{BB962C8B-B14F-4D97-AF65-F5344CB8AC3E}">
        <p14:creationId xmlns:p14="http://schemas.microsoft.com/office/powerpoint/2010/main" val="2018641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200" y="365126"/>
            <a:ext cx="10524564" cy="734804"/>
          </a:xfrm>
        </p:spPr>
        <p:txBody>
          <a:bodyPr/>
          <a:lstStyle/>
          <a:p>
            <a:r>
              <a:rPr lang="en-US" sz="3600" b="1" dirty="0"/>
              <a:t>BSNL Smart City Engagements - </a:t>
            </a:r>
            <a:r>
              <a:rPr lang="en-US" sz="3600" b="1" dirty="0">
                <a:solidFill>
                  <a:schemeClr val="accent6">
                    <a:lumMod val="75000"/>
                  </a:schemeClr>
                </a:solidFill>
              </a:rPr>
              <a:t>Integrated Traffic Management, Kanpur</a:t>
            </a:r>
          </a:p>
        </p:txBody>
      </p:sp>
      <p:sp>
        <p:nvSpPr>
          <p:cNvPr id="64" name="Rectangle 63"/>
          <p:cNvSpPr/>
          <p:nvPr/>
        </p:nvSpPr>
        <p:spPr>
          <a:xfrm>
            <a:off x="818244" y="1345135"/>
            <a:ext cx="4987469"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BSNL is implementing Intelligent Traffic Management System for Kanpur Smart City Limited</a:t>
            </a:r>
          </a:p>
        </p:txBody>
      </p:sp>
      <p:sp>
        <p:nvSpPr>
          <p:cNvPr id="69" name="TextBox 68"/>
          <p:cNvSpPr txBox="1"/>
          <p:nvPr/>
        </p:nvSpPr>
        <p:spPr>
          <a:xfrm>
            <a:off x="818243" y="2342028"/>
            <a:ext cx="5005613" cy="4058772"/>
          </a:xfrm>
          <a:prstGeom prst="rect">
            <a:avLst/>
          </a:prstGeom>
          <a:noFill/>
          <a:ln>
            <a:solidFill>
              <a:schemeClr val="tx2"/>
            </a:solidFill>
          </a:ln>
        </p:spPr>
        <p:txBody>
          <a:bodyPr wrap="square" lIns="54610" tIns="54610" rIns="54610" bIns="54610" rtlCol="0" anchor="ctr">
            <a:noAutofit/>
          </a:bodyPr>
          <a:lstStyle/>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Advanced cameras for ‘Automatic Number Plate Recognition/ Red Light Violation Detection  with video and data analytics’</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Response management</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Corridor Management and Area Traffic Control System </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Variable Message signage </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Traffic Surveillance Cameras Through PTZ cameras for Violation detection and Incident management</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16 Software License for ITMS (ANPR/RLVD/Over Speed) with IR Illuminator and Local Processor Unit and</a:t>
            </a:r>
          </a:p>
        </p:txBody>
      </p:sp>
      <p:sp>
        <p:nvSpPr>
          <p:cNvPr id="70" name="Rectangle 69"/>
          <p:cNvSpPr/>
          <p:nvPr/>
        </p:nvSpPr>
        <p:spPr>
          <a:xfrm>
            <a:off x="818244" y="1918727"/>
            <a:ext cx="5005613" cy="39188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Salient Features of the System</a:t>
            </a:r>
          </a:p>
        </p:txBody>
      </p:sp>
      <p:sp>
        <p:nvSpPr>
          <p:cNvPr id="10" name="Rectangle 9"/>
          <p:cNvSpPr/>
          <p:nvPr/>
        </p:nvSpPr>
        <p:spPr>
          <a:xfrm>
            <a:off x="5950857" y="4288772"/>
            <a:ext cx="5181600" cy="50515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INR 5 Crore </a:t>
            </a:r>
            <a:r>
              <a:rPr lang="en-US" sz="1600" dirty="0">
                <a:solidFill>
                  <a:prstClr val="white"/>
                </a:solidFill>
                <a:latin typeface="Calibri" panose="020F0502020204030204" pitchFamily="34" charset="0"/>
                <a:cs typeface="Calibri" panose="020F0502020204030204" pitchFamily="34" charset="0"/>
              </a:rPr>
              <a:t>total Value of Project</a:t>
            </a:r>
            <a:endParaRPr lang="en-US" sz="2400" dirty="0">
              <a:solidFill>
                <a:prstClr val="white"/>
              </a:solidFill>
              <a:latin typeface="Calibri" panose="020F0502020204030204" pitchFamily="34" charset="0"/>
              <a:cs typeface="Calibri" panose="020F0502020204030204" pitchFamily="34" charset="0"/>
            </a:endParaRPr>
          </a:p>
        </p:txBody>
      </p:sp>
      <p:sp>
        <p:nvSpPr>
          <p:cNvPr id="11" name="Rectangle 10"/>
          <p:cNvSpPr/>
          <p:nvPr/>
        </p:nvSpPr>
        <p:spPr>
          <a:xfrm>
            <a:off x="5950857" y="4793927"/>
            <a:ext cx="2732314" cy="5243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16 </a:t>
            </a:r>
            <a:r>
              <a:rPr lang="en-US" dirty="0">
                <a:solidFill>
                  <a:prstClr val="white"/>
                </a:solidFill>
                <a:latin typeface="Calibri" panose="020F0502020204030204" pitchFamily="34" charset="0"/>
                <a:cs typeface="Calibri" panose="020F0502020204030204" pitchFamily="34" charset="0"/>
              </a:rPr>
              <a:t>Box Type Cameras</a:t>
            </a:r>
          </a:p>
        </p:txBody>
      </p:sp>
      <p:sp>
        <p:nvSpPr>
          <p:cNvPr id="12" name="Rectangle 11"/>
          <p:cNvSpPr/>
          <p:nvPr/>
        </p:nvSpPr>
        <p:spPr>
          <a:xfrm>
            <a:off x="8683171" y="4784506"/>
            <a:ext cx="2449286" cy="533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10 </a:t>
            </a:r>
            <a:r>
              <a:rPr lang="en-US" b="1" dirty="0">
                <a:solidFill>
                  <a:prstClr val="white"/>
                </a:solidFill>
                <a:latin typeface="Calibri" panose="020F0502020204030204" pitchFamily="34" charset="0"/>
                <a:cs typeface="Calibri" panose="020F0502020204030204" pitchFamily="34" charset="0"/>
              </a:rPr>
              <a:t>pole Camera</a:t>
            </a:r>
          </a:p>
        </p:txBody>
      </p:sp>
      <p:sp>
        <p:nvSpPr>
          <p:cNvPr id="13" name="Rectangle 12"/>
          <p:cNvSpPr/>
          <p:nvPr/>
        </p:nvSpPr>
        <p:spPr>
          <a:xfrm>
            <a:off x="5950856" y="5327677"/>
            <a:ext cx="5181601" cy="5243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50  </a:t>
            </a:r>
            <a:r>
              <a:rPr lang="en-US" dirty="0">
                <a:solidFill>
                  <a:prstClr val="white"/>
                </a:solidFill>
                <a:latin typeface="Calibri" panose="020F0502020204030204" pitchFamily="34" charset="0"/>
                <a:cs typeface="Calibri" panose="020F0502020204030204" pitchFamily="34" charset="0"/>
              </a:rPr>
              <a:t>Surveillance Type Cameras</a:t>
            </a:r>
          </a:p>
        </p:txBody>
      </p:sp>
      <p:sp>
        <p:nvSpPr>
          <p:cNvPr id="15" name="Rectangle 14"/>
          <p:cNvSpPr/>
          <p:nvPr/>
        </p:nvSpPr>
        <p:spPr>
          <a:xfrm>
            <a:off x="5950856" y="5837718"/>
            <a:ext cx="5181601" cy="5243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2400" b="1" dirty="0">
                <a:solidFill>
                  <a:prstClr val="white"/>
                </a:solidFill>
                <a:latin typeface="Calibri" panose="020F0502020204030204" pitchFamily="34" charset="0"/>
                <a:cs typeface="Calibri" panose="020F0502020204030204" pitchFamily="34" charset="0"/>
              </a:rPr>
              <a:t>10 Crossing</a:t>
            </a:r>
            <a:r>
              <a:rPr lang="en-US" dirty="0">
                <a:solidFill>
                  <a:prstClr val="white"/>
                </a:solidFill>
                <a:latin typeface="Calibri" panose="020F0502020204030204" pitchFamily="34" charset="0"/>
                <a:cs typeface="Calibri" panose="020F0502020204030204" pitchFamily="34" charset="0"/>
              </a:rPr>
              <a:t> Public Address System</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10169" y="1320668"/>
            <a:ext cx="2322288" cy="2843370"/>
          </a:xfrm>
          <a:prstGeom prst="rect">
            <a:avLst/>
          </a:prstGeom>
        </p:spPr>
      </p:pic>
      <p:pic>
        <p:nvPicPr>
          <p:cNvPr id="17" name="Pictur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950855" y="1320667"/>
            <a:ext cx="2732316" cy="1493600"/>
          </a:xfrm>
          <a:prstGeom prst="rect">
            <a:avLst/>
          </a:prstGeom>
        </p:spPr>
      </p:pic>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50855" y="2905403"/>
            <a:ext cx="2732316" cy="1258634"/>
          </a:xfrm>
          <a:prstGeom prst="rect">
            <a:avLst/>
          </a:prstGeom>
        </p:spPr>
      </p:pic>
    </p:spTree>
    <p:extLst>
      <p:ext uri="{BB962C8B-B14F-4D97-AF65-F5344CB8AC3E}">
        <p14:creationId xmlns:p14="http://schemas.microsoft.com/office/powerpoint/2010/main" val="3041242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199" y="365126"/>
            <a:ext cx="10671629" cy="734804"/>
          </a:xfrm>
        </p:spPr>
        <p:txBody>
          <a:bodyPr/>
          <a:lstStyle/>
          <a:p>
            <a:r>
              <a:rPr lang="en-US" sz="3600" b="1" dirty="0"/>
              <a:t>BSNL Smart City Engagements - </a:t>
            </a:r>
            <a:r>
              <a:rPr lang="en-US" sz="3600" b="1" dirty="0">
                <a:solidFill>
                  <a:schemeClr val="accent6">
                    <a:lumMod val="75000"/>
                  </a:schemeClr>
                </a:solidFill>
              </a:rPr>
              <a:t>ICT based Solid Waste Management</a:t>
            </a:r>
            <a:r>
              <a:rPr lang="de-DE" sz="3600" b="1" dirty="0">
                <a:solidFill>
                  <a:schemeClr val="accent6">
                    <a:lumMod val="75000"/>
                  </a:schemeClr>
                </a:solidFill>
              </a:rPr>
              <a:t>, 4041 ULBs, MoUD</a:t>
            </a:r>
            <a:endParaRPr lang="en-US" sz="3600" b="1" dirty="0">
              <a:solidFill>
                <a:schemeClr val="accent6">
                  <a:lumMod val="75000"/>
                </a:schemeClr>
              </a:solidFill>
            </a:endParaRPr>
          </a:p>
        </p:txBody>
      </p:sp>
      <p:sp>
        <p:nvSpPr>
          <p:cNvPr id="84" name="TextBox 83"/>
          <p:cNvSpPr txBox="1"/>
          <p:nvPr/>
        </p:nvSpPr>
        <p:spPr>
          <a:xfrm>
            <a:off x="6199150" y="1754414"/>
            <a:ext cx="5192750" cy="4503243"/>
          </a:xfrm>
          <a:prstGeom prst="rect">
            <a:avLst/>
          </a:prstGeom>
          <a:noFill/>
          <a:ln>
            <a:solidFill>
              <a:schemeClr val="tx2"/>
            </a:solidFill>
          </a:ln>
        </p:spPr>
        <p:txBody>
          <a:bodyPr wrap="square" lIns="54610" tIns="54610" rIns="54610" bIns="54610" rtlCol="0" anchor="ctr">
            <a:noAutofit/>
          </a:bodyPr>
          <a:lstStyle/>
          <a:p>
            <a:pPr marL="285750" indent="-169863">
              <a:lnSpc>
                <a:spcPct val="150000"/>
              </a:lnSpc>
              <a:buFont typeface="Arial" panose="020B0604020202020204" pitchFamily="34" charset="0"/>
              <a:buChar char="•"/>
              <a:defRPr/>
            </a:pPr>
            <a:r>
              <a:rPr lang="en-IN" altLang="en-US" sz="1600" dirty="0">
                <a:solidFill>
                  <a:srgbClr val="000000"/>
                </a:solidFill>
                <a:latin typeface="Calibri" panose="020F0502020204030204" pitchFamily="34" charset="0"/>
                <a:cs typeface="Calibri" panose="020F0502020204030204" pitchFamily="34" charset="0"/>
              </a:rPr>
              <a:t>Monitoring of fleet status by GPS</a:t>
            </a:r>
          </a:p>
          <a:p>
            <a:pPr marL="285750" indent="-169863">
              <a:lnSpc>
                <a:spcPct val="150000"/>
              </a:lnSpc>
              <a:buFont typeface="Arial" panose="020B0604020202020204" pitchFamily="34" charset="0"/>
              <a:buChar char="•"/>
              <a:defRPr/>
            </a:pPr>
            <a:r>
              <a:rPr lang="en-IN" altLang="en-US" sz="1600" dirty="0">
                <a:solidFill>
                  <a:srgbClr val="000000"/>
                </a:solidFill>
                <a:latin typeface="Calibri" panose="020F0502020204030204" pitchFamily="34" charset="0"/>
                <a:cs typeface="Calibri" panose="020F0502020204030204" pitchFamily="34" charset="0"/>
              </a:rPr>
              <a:t>MIS for waste collection and transportation</a:t>
            </a:r>
          </a:p>
          <a:p>
            <a:pPr marL="285750" indent="-169863">
              <a:lnSpc>
                <a:spcPct val="150000"/>
              </a:lnSpc>
              <a:buFont typeface="Arial" panose="020B0604020202020204" pitchFamily="34" charset="0"/>
              <a:buChar char="•"/>
              <a:defRPr/>
            </a:pPr>
            <a:r>
              <a:rPr lang="en-IN" altLang="en-US" sz="1600" dirty="0">
                <a:solidFill>
                  <a:srgbClr val="000000"/>
                </a:solidFill>
                <a:latin typeface="Calibri" panose="020F0502020204030204" pitchFamily="34" charset="0"/>
                <a:cs typeface="Calibri" panose="020F0502020204030204" pitchFamily="34" charset="0"/>
              </a:rPr>
              <a:t>Real time SMS delivery for vehicle breakdown and maintenance</a:t>
            </a:r>
          </a:p>
          <a:p>
            <a:pPr marL="285750" indent="-169863">
              <a:lnSpc>
                <a:spcPct val="150000"/>
              </a:lnSpc>
              <a:buFont typeface="Arial" panose="020B0604020202020204" pitchFamily="34" charset="0"/>
              <a:buChar char="•"/>
              <a:defRPr/>
            </a:pPr>
            <a:r>
              <a:rPr lang="en-IN" altLang="en-US" sz="1600" dirty="0">
                <a:solidFill>
                  <a:srgbClr val="000000"/>
                </a:solidFill>
                <a:latin typeface="Calibri" panose="020F0502020204030204" pitchFamily="34" charset="0"/>
                <a:cs typeface="Calibri" panose="020F0502020204030204" pitchFamily="34" charset="0"/>
              </a:rPr>
              <a:t>Citizen complaint management system and its redressal through SMS</a:t>
            </a:r>
          </a:p>
          <a:p>
            <a:pPr marL="285750" indent="-169863">
              <a:lnSpc>
                <a:spcPct val="150000"/>
              </a:lnSpc>
              <a:buFont typeface="Arial" panose="020B0604020202020204" pitchFamily="34" charset="0"/>
              <a:buChar char="•"/>
              <a:defRPr/>
            </a:pPr>
            <a:r>
              <a:rPr lang="en-IN" altLang="en-US" sz="1600" dirty="0">
                <a:solidFill>
                  <a:srgbClr val="000000"/>
                </a:solidFill>
                <a:latin typeface="Calibri" panose="020F0502020204030204" pitchFamily="34" charset="0"/>
                <a:cs typeface="Calibri" panose="020F0502020204030204" pitchFamily="34" charset="0"/>
              </a:rPr>
              <a:t>Mobile application for capturing the status of cleaning site using date, time and location stamp and for attendance of staff</a:t>
            </a:r>
          </a:p>
          <a:p>
            <a:pPr marL="285750" indent="-169863">
              <a:lnSpc>
                <a:spcPct val="150000"/>
              </a:lnSpc>
              <a:buFont typeface="Arial" panose="020B0604020202020204" pitchFamily="34" charset="0"/>
              <a:buChar char="•"/>
              <a:defRPr/>
            </a:pPr>
            <a:r>
              <a:rPr lang="en-US" sz="1600" dirty="0">
                <a:solidFill>
                  <a:srgbClr val="000000"/>
                </a:solidFill>
                <a:latin typeface="Calibri" panose="020F0502020204030204" pitchFamily="34" charset="0"/>
                <a:cs typeface="Calibri" panose="020F0502020204030204" pitchFamily="34" charset="0"/>
              </a:rPr>
              <a:t>Mobile / Web-based applications to access relevant data around vehicle schedules, ETA/ETD, route deviations, vehicle performance etc.</a:t>
            </a:r>
          </a:p>
        </p:txBody>
      </p:sp>
      <p:sp>
        <p:nvSpPr>
          <p:cNvPr id="85" name="Rectangle 84"/>
          <p:cNvSpPr/>
          <p:nvPr/>
        </p:nvSpPr>
        <p:spPr>
          <a:xfrm>
            <a:off x="6199150" y="1333501"/>
            <a:ext cx="5192750" cy="39188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Salient Features of the System</a:t>
            </a:r>
          </a:p>
        </p:txBody>
      </p:sp>
      <p:pic>
        <p:nvPicPr>
          <p:cNvPr id="2" name="Picture 1"/>
          <p:cNvPicPr>
            <a:picLocks noChangeAspect="1"/>
          </p:cNvPicPr>
          <p:nvPr/>
        </p:nvPicPr>
        <p:blipFill>
          <a:blip r:embed="rId3" cstate="print"/>
          <a:stretch>
            <a:fillRect/>
          </a:stretch>
        </p:blipFill>
        <p:spPr>
          <a:xfrm>
            <a:off x="838200" y="1754414"/>
            <a:ext cx="5360950" cy="4503243"/>
          </a:xfrm>
          <a:prstGeom prst="rect">
            <a:avLst/>
          </a:prstGeom>
          <a:ln>
            <a:solidFill>
              <a:schemeClr val="tx1"/>
            </a:solidFill>
          </a:ln>
        </p:spPr>
      </p:pic>
      <p:sp>
        <p:nvSpPr>
          <p:cNvPr id="8" name="Rectangle 7"/>
          <p:cNvSpPr/>
          <p:nvPr/>
        </p:nvSpPr>
        <p:spPr>
          <a:xfrm>
            <a:off x="838200" y="1333501"/>
            <a:ext cx="5360950" cy="39188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Solution Layout</a:t>
            </a:r>
          </a:p>
        </p:txBody>
      </p:sp>
    </p:spTree>
    <p:extLst>
      <p:ext uri="{BB962C8B-B14F-4D97-AF65-F5344CB8AC3E}">
        <p14:creationId xmlns:p14="http://schemas.microsoft.com/office/powerpoint/2010/main" val="11944165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xmlns="" id="{5B411F5A-D448-49A4-8976-C7591651B70E}"/>
              </a:ext>
            </a:extLst>
          </p:cNvPr>
          <p:cNvGrpSpPr/>
          <p:nvPr/>
        </p:nvGrpSpPr>
        <p:grpSpPr>
          <a:xfrm>
            <a:off x="2" y="-12701"/>
            <a:ext cx="15080872" cy="7252292"/>
            <a:chOff x="2" y="-12701"/>
            <a:chExt cx="15080872" cy="7252292"/>
          </a:xfrm>
        </p:grpSpPr>
        <p:sp>
          <p:nvSpPr>
            <p:cNvPr id="4" name="object 3">
              <a:extLst>
                <a:ext uri="{FF2B5EF4-FFF2-40B4-BE49-F238E27FC236}">
                  <a16:creationId xmlns:a16="http://schemas.microsoft.com/office/drawing/2014/main" xmlns="" id="{9162F6CB-0D6B-4488-B4E7-5A2B6304CBC1}"/>
                </a:ext>
              </a:extLst>
            </p:cNvPr>
            <p:cNvSpPr/>
            <p:nvPr/>
          </p:nvSpPr>
          <p:spPr>
            <a:xfrm>
              <a:off x="3510116" y="-12701"/>
              <a:ext cx="11570758" cy="6870700"/>
            </a:xfrm>
            <a:custGeom>
              <a:avLst/>
              <a:gdLst/>
              <a:ahLst/>
              <a:cxnLst/>
              <a:rect l="l" t="t" r="r" b="b"/>
              <a:pathLst>
                <a:path w="1742046" h="7772400">
                  <a:moveTo>
                    <a:pt x="0" y="7772400"/>
                  </a:moveTo>
                  <a:lnTo>
                    <a:pt x="1742046" y="7772400"/>
                  </a:lnTo>
                  <a:lnTo>
                    <a:pt x="1742046" y="0"/>
                  </a:lnTo>
                  <a:lnTo>
                    <a:pt x="0" y="0"/>
                  </a:lnTo>
                  <a:lnTo>
                    <a:pt x="0" y="7772400"/>
                  </a:lnTo>
                  <a:close/>
                </a:path>
              </a:pathLst>
            </a:custGeom>
            <a:blipFill>
              <a:blip r:embed="rId2" cstate="print"/>
              <a:srcRect/>
              <a:stretch>
                <a:fillRect t="-3069" b="-3069"/>
              </a:stretch>
            </a:blipFill>
          </p:spPr>
          <p:txBody>
            <a:bodyPr wrap="square" lIns="0" tIns="0" rIns="0" bIns="0" rtlCol="0">
              <a:noAutofit/>
            </a:bodyPr>
            <a:lstStyle/>
            <a:p>
              <a:pPr>
                <a:defRPr/>
              </a:pPr>
              <a:endParaRPr lang="en-US" dirty="0">
                <a:solidFill>
                  <a:srgbClr val="000000"/>
                </a:solidFill>
              </a:endParaRPr>
            </a:p>
          </p:txBody>
        </p:sp>
        <p:sp>
          <p:nvSpPr>
            <p:cNvPr id="5" name="object 3">
              <a:extLst>
                <a:ext uri="{FF2B5EF4-FFF2-40B4-BE49-F238E27FC236}">
                  <a16:creationId xmlns:a16="http://schemas.microsoft.com/office/drawing/2014/main" xmlns="" id="{95E89182-396E-4FF1-A6D8-0D013DD6F8B9}"/>
                </a:ext>
              </a:extLst>
            </p:cNvPr>
            <p:cNvSpPr/>
            <p:nvPr/>
          </p:nvSpPr>
          <p:spPr>
            <a:xfrm>
              <a:off x="2" y="0"/>
              <a:ext cx="12191998" cy="7239591"/>
            </a:xfrm>
            <a:custGeom>
              <a:avLst/>
              <a:gdLst/>
              <a:ahLst/>
              <a:cxnLst/>
              <a:rect l="l" t="t" r="r" b="b"/>
              <a:pathLst>
                <a:path w="1742046" h="7772400">
                  <a:moveTo>
                    <a:pt x="0" y="7772400"/>
                  </a:moveTo>
                  <a:lnTo>
                    <a:pt x="1742046" y="7772400"/>
                  </a:lnTo>
                  <a:lnTo>
                    <a:pt x="1742046" y="0"/>
                  </a:lnTo>
                  <a:lnTo>
                    <a:pt x="0" y="0"/>
                  </a:lnTo>
                  <a:lnTo>
                    <a:pt x="0" y="7772400"/>
                  </a:lnTo>
                  <a:close/>
                </a:path>
              </a:pathLst>
            </a:custGeom>
            <a:gradFill>
              <a:gsLst>
                <a:gs pos="19000">
                  <a:schemeClr val="bg1">
                    <a:alpha val="0"/>
                  </a:schemeClr>
                </a:gs>
                <a:gs pos="68000">
                  <a:schemeClr val="bg1"/>
                </a:gs>
              </a:gsLst>
              <a:lin ang="10800000" scaled="0"/>
            </a:gradFill>
          </p:spPr>
          <p:txBody>
            <a:bodyPr wrap="square" lIns="0" tIns="0" rIns="0" bIns="0" rtlCol="0">
              <a:noAutofit/>
            </a:bodyPr>
            <a:lstStyle/>
            <a:p>
              <a:pPr>
                <a:defRPr/>
              </a:pPr>
              <a:endParaRPr lang="en-US" dirty="0">
                <a:solidFill>
                  <a:srgbClr val="000000"/>
                </a:solidFill>
              </a:endParaRPr>
            </a:p>
          </p:txBody>
        </p:sp>
      </p:grpSp>
      <p:sp>
        <p:nvSpPr>
          <p:cNvPr id="9" name="btm">
            <a:extLst>
              <a:ext uri="{FF2B5EF4-FFF2-40B4-BE49-F238E27FC236}">
                <a16:creationId xmlns:a16="http://schemas.microsoft.com/office/drawing/2014/main" xmlns="" id="{258F4353-69D0-4FCC-A3B6-F02E2535E471}"/>
              </a:ext>
            </a:extLst>
          </p:cNvPr>
          <p:cNvSpPr/>
          <p:nvPr/>
        </p:nvSpPr>
        <p:spPr>
          <a:xfrm>
            <a:off x="126" y="-1"/>
            <a:ext cx="9291358" cy="6870699"/>
          </a:xfrm>
          <a:prstGeom prst="rect">
            <a:avLst/>
          </a:prstGeom>
          <a:solidFill>
            <a:srgbClr val="0091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 name="mid">
            <a:extLst>
              <a:ext uri="{FF2B5EF4-FFF2-40B4-BE49-F238E27FC236}">
                <a16:creationId xmlns:a16="http://schemas.microsoft.com/office/drawing/2014/main" xmlns="" id="{7E740517-B7D9-4085-B33A-472C8825D633}"/>
              </a:ext>
            </a:extLst>
          </p:cNvPr>
          <p:cNvSpPr/>
          <p:nvPr/>
        </p:nvSpPr>
        <p:spPr>
          <a:xfrm>
            <a:off x="126" y="-1"/>
            <a:ext cx="9291358" cy="6870699"/>
          </a:xfrm>
          <a:prstGeom prst="rect">
            <a:avLst/>
          </a:prstGeom>
          <a:solidFill>
            <a:srgbClr val="005EB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 name="top">
            <a:extLst>
              <a:ext uri="{FF2B5EF4-FFF2-40B4-BE49-F238E27FC236}">
                <a16:creationId xmlns:a16="http://schemas.microsoft.com/office/drawing/2014/main" xmlns="" id="{515F1078-0928-48E1-9236-CC5C686E0CA1}"/>
              </a:ext>
            </a:extLst>
          </p:cNvPr>
          <p:cNvSpPr/>
          <p:nvPr/>
        </p:nvSpPr>
        <p:spPr>
          <a:xfrm>
            <a:off x="0" y="-25400"/>
            <a:ext cx="9291358" cy="68706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2" name="Title 1">
            <a:extLst>
              <a:ext uri="{FF2B5EF4-FFF2-40B4-BE49-F238E27FC236}">
                <a16:creationId xmlns:a16="http://schemas.microsoft.com/office/drawing/2014/main" xmlns="" id="{698CFA9A-C2C0-4F2F-8D7B-F871FDCDA71C}"/>
              </a:ext>
            </a:extLst>
          </p:cNvPr>
          <p:cNvSpPr>
            <a:spLocks noGrp="1"/>
          </p:cNvSpPr>
          <p:nvPr>
            <p:ph type="title"/>
          </p:nvPr>
        </p:nvSpPr>
        <p:spPr/>
        <p:txBody>
          <a:bodyPr/>
          <a:lstStyle/>
          <a:p>
            <a:r>
              <a:rPr lang="en-US" dirty="0">
                <a:solidFill>
                  <a:schemeClr val="bg1"/>
                </a:solidFill>
                <a:latin typeface="+mn-lt"/>
              </a:rPr>
              <a:t>Contents</a:t>
            </a:r>
          </a:p>
        </p:txBody>
      </p:sp>
      <p:sp>
        <p:nvSpPr>
          <p:cNvPr id="91" name="behind">
            <a:extLst>
              <a:ext uri="{FF2B5EF4-FFF2-40B4-BE49-F238E27FC236}">
                <a16:creationId xmlns:a16="http://schemas.microsoft.com/office/drawing/2014/main" xmlns="" id="{DF36A78D-E2F6-4B29-A69E-AB0509953754}"/>
              </a:ext>
            </a:extLst>
          </p:cNvPr>
          <p:cNvSpPr/>
          <p:nvPr/>
        </p:nvSpPr>
        <p:spPr>
          <a:xfrm>
            <a:off x="995364" y="3242470"/>
            <a:ext cx="797117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3" name="behind">
            <a:extLst>
              <a:ext uri="{FF2B5EF4-FFF2-40B4-BE49-F238E27FC236}">
                <a16:creationId xmlns:a16="http://schemas.microsoft.com/office/drawing/2014/main" xmlns="" id="{630D6E81-2BE2-47C0-85E8-5D039238C243}"/>
              </a:ext>
            </a:extLst>
          </p:cNvPr>
          <p:cNvSpPr/>
          <p:nvPr/>
        </p:nvSpPr>
        <p:spPr>
          <a:xfrm>
            <a:off x="995364" y="2284810"/>
            <a:ext cx="797117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4" name="behind">
            <a:extLst>
              <a:ext uri="{FF2B5EF4-FFF2-40B4-BE49-F238E27FC236}">
                <a16:creationId xmlns:a16="http://schemas.microsoft.com/office/drawing/2014/main" xmlns="" id="{38A877C1-DFD2-4C65-95CF-7836E459D0F3}"/>
              </a:ext>
            </a:extLst>
          </p:cNvPr>
          <p:cNvSpPr/>
          <p:nvPr/>
        </p:nvSpPr>
        <p:spPr>
          <a:xfrm>
            <a:off x="995364" y="1327151"/>
            <a:ext cx="797117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5" name="btm">
            <a:extLst>
              <a:ext uri="{FF2B5EF4-FFF2-40B4-BE49-F238E27FC236}">
                <a16:creationId xmlns:a16="http://schemas.microsoft.com/office/drawing/2014/main" xmlns="" id="{EFB67B45-E8F5-48C2-A9D1-B9196ADAC9D5}"/>
              </a:ext>
            </a:extLst>
          </p:cNvPr>
          <p:cNvSpPr/>
          <p:nvPr/>
        </p:nvSpPr>
        <p:spPr>
          <a:xfrm>
            <a:off x="1000217" y="132715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8" name="mid">
            <a:extLst>
              <a:ext uri="{FF2B5EF4-FFF2-40B4-BE49-F238E27FC236}">
                <a16:creationId xmlns:a16="http://schemas.microsoft.com/office/drawing/2014/main" xmlns="" id="{875C7394-5D94-494E-9600-D61E780D8E05}"/>
              </a:ext>
            </a:extLst>
          </p:cNvPr>
          <p:cNvSpPr/>
          <p:nvPr/>
        </p:nvSpPr>
        <p:spPr>
          <a:xfrm>
            <a:off x="1000217" y="132715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8" name="top">
            <a:extLst>
              <a:ext uri="{FF2B5EF4-FFF2-40B4-BE49-F238E27FC236}">
                <a16:creationId xmlns:a16="http://schemas.microsoft.com/office/drawing/2014/main" xmlns="" id="{7FAB2439-8C50-40AE-A948-32CCF8113F35}"/>
              </a:ext>
            </a:extLst>
          </p:cNvPr>
          <p:cNvSpPr/>
          <p:nvPr/>
        </p:nvSpPr>
        <p:spPr>
          <a:xfrm>
            <a:off x="1000217" y="132715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36" name="Group 135">
            <a:extLst>
              <a:ext uri="{FF2B5EF4-FFF2-40B4-BE49-F238E27FC236}">
                <a16:creationId xmlns:a16="http://schemas.microsoft.com/office/drawing/2014/main" xmlns="" id="{3E9DE34F-48C0-4B54-97BC-AE313EE9ECA2}"/>
              </a:ext>
            </a:extLst>
          </p:cNvPr>
          <p:cNvGrpSpPr/>
          <p:nvPr/>
        </p:nvGrpSpPr>
        <p:grpSpPr>
          <a:xfrm rot="16200000">
            <a:off x="1822844" y="1509886"/>
            <a:ext cx="139699" cy="354528"/>
            <a:chOff x="2254038" y="2460248"/>
            <a:chExt cx="139699" cy="354528"/>
          </a:xfrm>
        </p:grpSpPr>
        <p:sp>
          <p:nvSpPr>
            <p:cNvPr id="137" name="Oval 136">
              <a:extLst>
                <a:ext uri="{FF2B5EF4-FFF2-40B4-BE49-F238E27FC236}">
                  <a16:creationId xmlns:a16="http://schemas.microsoft.com/office/drawing/2014/main" xmlns="" id="{39A78A29-7B90-4A10-8B9F-54F4F13192E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38" name="Straight Connector 137">
              <a:extLst>
                <a:ext uri="{FF2B5EF4-FFF2-40B4-BE49-F238E27FC236}">
                  <a16:creationId xmlns:a16="http://schemas.microsoft.com/office/drawing/2014/main" xmlns="" id="{DF080A14-F49A-47F6-93FF-6FAF479C74C0}"/>
                </a:ext>
              </a:extLst>
            </p:cNvPr>
            <p:cNvCxnSpPr>
              <a:cxnSpLocks/>
              <a:endCxn id="137"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9" name="btm">
            <a:extLst>
              <a:ext uri="{FF2B5EF4-FFF2-40B4-BE49-F238E27FC236}">
                <a16:creationId xmlns:a16="http://schemas.microsoft.com/office/drawing/2014/main" xmlns="" id="{3D9426FC-7F3A-4AF3-934E-577759843097}"/>
              </a:ext>
            </a:extLst>
          </p:cNvPr>
          <p:cNvSpPr/>
          <p:nvPr/>
        </p:nvSpPr>
        <p:spPr>
          <a:xfrm>
            <a:off x="1000217" y="228481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0" name="mid">
            <a:extLst>
              <a:ext uri="{FF2B5EF4-FFF2-40B4-BE49-F238E27FC236}">
                <a16:creationId xmlns:a16="http://schemas.microsoft.com/office/drawing/2014/main" xmlns="" id="{5D5E5DFE-A053-48A1-930F-F4EA5E1DEA35}"/>
              </a:ext>
            </a:extLst>
          </p:cNvPr>
          <p:cNvSpPr/>
          <p:nvPr/>
        </p:nvSpPr>
        <p:spPr>
          <a:xfrm>
            <a:off x="1000217" y="228481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1" name="top">
            <a:extLst>
              <a:ext uri="{FF2B5EF4-FFF2-40B4-BE49-F238E27FC236}">
                <a16:creationId xmlns:a16="http://schemas.microsoft.com/office/drawing/2014/main" xmlns="" id="{7D64B38E-96B0-4FA6-8FE6-3EE242FF6902}"/>
              </a:ext>
            </a:extLst>
          </p:cNvPr>
          <p:cNvSpPr/>
          <p:nvPr/>
        </p:nvSpPr>
        <p:spPr>
          <a:xfrm>
            <a:off x="1000217" y="228481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2" name="Group 141">
            <a:extLst>
              <a:ext uri="{FF2B5EF4-FFF2-40B4-BE49-F238E27FC236}">
                <a16:creationId xmlns:a16="http://schemas.microsoft.com/office/drawing/2014/main" xmlns="" id="{80283B8D-7AA9-4FC4-B428-85F935C50FD3}"/>
              </a:ext>
            </a:extLst>
          </p:cNvPr>
          <p:cNvGrpSpPr/>
          <p:nvPr/>
        </p:nvGrpSpPr>
        <p:grpSpPr>
          <a:xfrm rot="16200000">
            <a:off x="1822844" y="2467546"/>
            <a:ext cx="139699" cy="354528"/>
            <a:chOff x="2254038" y="2460248"/>
            <a:chExt cx="139699" cy="354528"/>
          </a:xfrm>
        </p:grpSpPr>
        <p:sp>
          <p:nvSpPr>
            <p:cNvPr id="143" name="Oval 142">
              <a:extLst>
                <a:ext uri="{FF2B5EF4-FFF2-40B4-BE49-F238E27FC236}">
                  <a16:creationId xmlns:a16="http://schemas.microsoft.com/office/drawing/2014/main" xmlns="" id="{DED32DDA-649F-4800-8A4F-20D8D3983C8F}"/>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44" name="Straight Connector 143">
              <a:extLst>
                <a:ext uri="{FF2B5EF4-FFF2-40B4-BE49-F238E27FC236}">
                  <a16:creationId xmlns:a16="http://schemas.microsoft.com/office/drawing/2014/main" xmlns="" id="{930369A5-96F7-4B0C-97B6-EB3DA96799F1}"/>
                </a:ext>
              </a:extLst>
            </p:cNvPr>
            <p:cNvCxnSpPr>
              <a:cxnSpLocks/>
              <a:endCxn id="143"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5" name="btm">
            <a:extLst>
              <a:ext uri="{FF2B5EF4-FFF2-40B4-BE49-F238E27FC236}">
                <a16:creationId xmlns:a16="http://schemas.microsoft.com/office/drawing/2014/main" xmlns="" id="{F5EAED76-FE9C-419F-A80B-B8D8C023C299}"/>
              </a:ext>
            </a:extLst>
          </p:cNvPr>
          <p:cNvSpPr/>
          <p:nvPr/>
        </p:nvSpPr>
        <p:spPr>
          <a:xfrm>
            <a:off x="1000217" y="324247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6" name="mid">
            <a:extLst>
              <a:ext uri="{FF2B5EF4-FFF2-40B4-BE49-F238E27FC236}">
                <a16:creationId xmlns:a16="http://schemas.microsoft.com/office/drawing/2014/main" xmlns="" id="{8F04F46A-88BA-4D80-AD3E-2F82C572D0F5}"/>
              </a:ext>
            </a:extLst>
          </p:cNvPr>
          <p:cNvSpPr/>
          <p:nvPr/>
        </p:nvSpPr>
        <p:spPr>
          <a:xfrm>
            <a:off x="1000217" y="324247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7" name="top">
            <a:extLst>
              <a:ext uri="{FF2B5EF4-FFF2-40B4-BE49-F238E27FC236}">
                <a16:creationId xmlns:a16="http://schemas.microsoft.com/office/drawing/2014/main" xmlns="" id="{30F2623D-EC59-4984-BF79-E3E7A43DC87A}"/>
              </a:ext>
            </a:extLst>
          </p:cNvPr>
          <p:cNvSpPr/>
          <p:nvPr/>
        </p:nvSpPr>
        <p:spPr>
          <a:xfrm>
            <a:off x="1000217" y="324247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8" name="Group 147">
            <a:extLst>
              <a:ext uri="{FF2B5EF4-FFF2-40B4-BE49-F238E27FC236}">
                <a16:creationId xmlns:a16="http://schemas.microsoft.com/office/drawing/2014/main" xmlns="" id="{D7CD37BE-7D3A-4673-BAB2-01FAECBC50EB}"/>
              </a:ext>
            </a:extLst>
          </p:cNvPr>
          <p:cNvGrpSpPr/>
          <p:nvPr/>
        </p:nvGrpSpPr>
        <p:grpSpPr>
          <a:xfrm rot="16200000">
            <a:off x="1822844" y="3425206"/>
            <a:ext cx="139699" cy="354528"/>
            <a:chOff x="2254038" y="2460248"/>
            <a:chExt cx="139699" cy="354528"/>
          </a:xfrm>
        </p:grpSpPr>
        <p:sp>
          <p:nvSpPr>
            <p:cNvPr id="149" name="Oval 148">
              <a:extLst>
                <a:ext uri="{FF2B5EF4-FFF2-40B4-BE49-F238E27FC236}">
                  <a16:creationId xmlns:a16="http://schemas.microsoft.com/office/drawing/2014/main" xmlns="" id="{7ADA7C6A-3FCD-4C87-9FBC-AE5243DE0DC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50" name="Straight Connector 149">
              <a:extLst>
                <a:ext uri="{FF2B5EF4-FFF2-40B4-BE49-F238E27FC236}">
                  <a16:creationId xmlns:a16="http://schemas.microsoft.com/office/drawing/2014/main" xmlns="" id="{6D5C0A6B-69BD-4762-A78A-8329266D123A}"/>
                </a:ext>
              </a:extLst>
            </p:cNvPr>
            <p:cNvCxnSpPr>
              <a:cxnSpLocks/>
              <a:endCxn id="149"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7" name="Rectangle 156">
            <a:extLst>
              <a:ext uri="{FF2B5EF4-FFF2-40B4-BE49-F238E27FC236}">
                <a16:creationId xmlns:a16="http://schemas.microsoft.com/office/drawing/2014/main" xmlns="" id="{D8F5E8CD-801A-4946-B69C-AEA549227958}"/>
              </a:ext>
            </a:extLst>
          </p:cNvPr>
          <p:cNvSpPr/>
          <p:nvPr/>
        </p:nvSpPr>
        <p:spPr>
          <a:xfrm>
            <a:off x="2346018" y="1337628"/>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Smart Cities: Indian Perspective</a:t>
            </a:r>
          </a:p>
        </p:txBody>
      </p:sp>
      <p:sp>
        <p:nvSpPr>
          <p:cNvPr id="158" name="Rectangle 157">
            <a:extLst>
              <a:ext uri="{FF2B5EF4-FFF2-40B4-BE49-F238E27FC236}">
                <a16:creationId xmlns:a16="http://schemas.microsoft.com/office/drawing/2014/main" xmlns="" id="{315A2CB8-45FD-45C6-B28C-550592367137}"/>
              </a:ext>
            </a:extLst>
          </p:cNvPr>
          <p:cNvSpPr/>
          <p:nvPr/>
        </p:nvSpPr>
        <p:spPr>
          <a:xfrm>
            <a:off x="2346018" y="2295800"/>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BSNL Service Offerings</a:t>
            </a:r>
          </a:p>
        </p:txBody>
      </p:sp>
      <p:sp>
        <p:nvSpPr>
          <p:cNvPr id="159" name="Rectangle 158">
            <a:extLst>
              <a:ext uri="{FF2B5EF4-FFF2-40B4-BE49-F238E27FC236}">
                <a16:creationId xmlns:a16="http://schemas.microsoft.com/office/drawing/2014/main" xmlns="" id="{FCF6569A-3289-4322-BC07-868145723ECC}"/>
              </a:ext>
            </a:extLst>
          </p:cNvPr>
          <p:cNvSpPr/>
          <p:nvPr/>
        </p:nvSpPr>
        <p:spPr>
          <a:xfrm>
            <a:off x="2346018" y="3253972"/>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Our Credentials &amp; Case Studies </a:t>
            </a:r>
          </a:p>
        </p:txBody>
      </p:sp>
      <p:grpSp>
        <p:nvGrpSpPr>
          <p:cNvPr id="161" name="Group 160">
            <a:extLst>
              <a:ext uri="{FF2B5EF4-FFF2-40B4-BE49-F238E27FC236}">
                <a16:creationId xmlns:a16="http://schemas.microsoft.com/office/drawing/2014/main" xmlns="" id="{829CC928-9FEA-4443-BB27-CAB50BE692A7}"/>
              </a:ext>
            </a:extLst>
          </p:cNvPr>
          <p:cNvGrpSpPr/>
          <p:nvPr/>
        </p:nvGrpSpPr>
        <p:grpSpPr>
          <a:xfrm rot="5400000">
            <a:off x="8606279" y="1655153"/>
            <a:ext cx="720000" cy="67170"/>
            <a:chOff x="2073000" y="5843597"/>
            <a:chExt cx="720000" cy="67170"/>
          </a:xfrm>
          <a:solidFill>
            <a:schemeClr val="bg1"/>
          </a:solidFill>
        </p:grpSpPr>
        <p:cxnSp>
          <p:nvCxnSpPr>
            <p:cNvPr id="162" name="Straight Connector 161">
              <a:extLst>
                <a:ext uri="{FF2B5EF4-FFF2-40B4-BE49-F238E27FC236}">
                  <a16:creationId xmlns:a16="http://schemas.microsoft.com/office/drawing/2014/main" xmlns="" id="{03875840-D076-4D9F-B4F2-6ABE5FD23878}"/>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xmlns="" id="{FA1334BB-F7CA-4719-B94B-AB9FA2BB802B}"/>
                </a:ext>
              </a:extLst>
            </p:cNvPr>
            <p:cNvSpPr/>
            <p:nvPr/>
          </p:nvSpPr>
          <p:spPr>
            <a:xfrm>
              <a:off x="2399415" y="5843597"/>
              <a:ext cx="67170" cy="67170"/>
            </a:xfrm>
            <a:prstGeom prst="ellipse">
              <a:avLst/>
            </a:prstGeom>
            <a:solidFill>
              <a:schemeClr val="accent3"/>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cxnSp>
        <p:nvCxnSpPr>
          <p:cNvPr id="164" name="Straight Connector 163">
            <a:extLst>
              <a:ext uri="{FF2B5EF4-FFF2-40B4-BE49-F238E27FC236}">
                <a16:creationId xmlns:a16="http://schemas.microsoft.com/office/drawing/2014/main" xmlns="" id="{E0D20DF4-9FA3-4757-AC69-FDB4960BDB41}"/>
              </a:ext>
            </a:extLst>
          </p:cNvPr>
          <p:cNvCxnSpPr>
            <a:cxnSpLocks/>
          </p:cNvCxnSpPr>
          <p:nvPr/>
        </p:nvCxnSpPr>
        <p:spPr>
          <a:xfrm>
            <a:off x="5685934" y="1687611"/>
            <a:ext cx="329184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xmlns="" id="{9BC4B4E3-F3EC-42CE-99FA-5C542314531D}"/>
              </a:ext>
            </a:extLst>
          </p:cNvPr>
          <p:cNvCxnSpPr>
            <a:cxnSpLocks/>
          </p:cNvCxnSpPr>
          <p:nvPr/>
        </p:nvCxnSpPr>
        <p:spPr>
          <a:xfrm>
            <a:off x="4863544" y="2642097"/>
            <a:ext cx="411480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xmlns="" id="{EE1D3E24-9608-4242-8194-21C52925F6DF}"/>
              </a:ext>
            </a:extLst>
          </p:cNvPr>
          <p:cNvCxnSpPr>
            <a:cxnSpLocks/>
          </p:cNvCxnSpPr>
          <p:nvPr/>
        </p:nvCxnSpPr>
        <p:spPr>
          <a:xfrm flipV="1">
            <a:off x="5685934" y="3599757"/>
            <a:ext cx="3313930" cy="34189"/>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xmlns="" id="{7DFFBAD5-C376-4AD0-AD15-A924EB750DE5}"/>
              </a:ext>
            </a:extLst>
          </p:cNvPr>
          <p:cNvGrpSpPr/>
          <p:nvPr/>
        </p:nvGrpSpPr>
        <p:grpSpPr>
          <a:xfrm rot="5400000">
            <a:off x="8606279" y="2604304"/>
            <a:ext cx="720000" cy="67170"/>
            <a:chOff x="2073000" y="5843597"/>
            <a:chExt cx="720000" cy="67170"/>
          </a:xfrm>
          <a:solidFill>
            <a:schemeClr val="bg1"/>
          </a:solidFill>
        </p:grpSpPr>
        <p:cxnSp>
          <p:nvCxnSpPr>
            <p:cNvPr id="169" name="Straight Connector 168">
              <a:extLst>
                <a:ext uri="{FF2B5EF4-FFF2-40B4-BE49-F238E27FC236}">
                  <a16:creationId xmlns:a16="http://schemas.microsoft.com/office/drawing/2014/main" xmlns="" id="{2A70E60C-6334-4B49-8901-7B945FAEA8C5}"/>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a:extLst>
                <a:ext uri="{FF2B5EF4-FFF2-40B4-BE49-F238E27FC236}">
                  <a16:creationId xmlns:a16="http://schemas.microsoft.com/office/drawing/2014/main" xmlns="" id="{BFADD441-F90C-4852-8A81-219CF65592CF}"/>
                </a:ext>
              </a:extLst>
            </p:cNvPr>
            <p:cNvSpPr/>
            <p:nvPr/>
          </p:nvSpPr>
          <p:spPr>
            <a:xfrm>
              <a:off x="2399415" y="5843597"/>
              <a:ext cx="67170" cy="67170"/>
            </a:xfrm>
            <a:prstGeom prst="ellips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1" name="Group 170">
            <a:extLst>
              <a:ext uri="{FF2B5EF4-FFF2-40B4-BE49-F238E27FC236}">
                <a16:creationId xmlns:a16="http://schemas.microsoft.com/office/drawing/2014/main" xmlns="" id="{981316E3-7907-4B81-8669-56743AC9B333}"/>
              </a:ext>
            </a:extLst>
          </p:cNvPr>
          <p:cNvGrpSpPr/>
          <p:nvPr/>
        </p:nvGrpSpPr>
        <p:grpSpPr>
          <a:xfrm rot="5400000">
            <a:off x="8606279" y="3566776"/>
            <a:ext cx="720000" cy="67170"/>
            <a:chOff x="2073000" y="5843597"/>
            <a:chExt cx="720000" cy="67170"/>
          </a:xfrm>
          <a:solidFill>
            <a:schemeClr val="bg1"/>
          </a:solidFill>
        </p:grpSpPr>
        <p:cxnSp>
          <p:nvCxnSpPr>
            <p:cNvPr id="172" name="Straight Connector 171">
              <a:extLst>
                <a:ext uri="{FF2B5EF4-FFF2-40B4-BE49-F238E27FC236}">
                  <a16:creationId xmlns:a16="http://schemas.microsoft.com/office/drawing/2014/main" xmlns="" id="{06A89DDF-C964-4ABA-9991-7BEA66730AC0}"/>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xmlns="" id="{15EDEDCD-A744-4DB9-8BC0-DCC431D91B58}"/>
                </a:ext>
              </a:extLst>
            </p:cNvPr>
            <p:cNvSpPr/>
            <p:nvPr/>
          </p:nvSpPr>
          <p:spPr>
            <a:xfrm>
              <a:off x="2399415" y="5843597"/>
              <a:ext cx="67170" cy="67170"/>
            </a:xfrm>
            <a:prstGeom prst="ellipse">
              <a:avLst/>
            </a:prstGeom>
            <a:solidFill>
              <a:srgbClr val="483698"/>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7" name="Group 176">
            <a:extLst>
              <a:ext uri="{FF2B5EF4-FFF2-40B4-BE49-F238E27FC236}">
                <a16:creationId xmlns:a16="http://schemas.microsoft.com/office/drawing/2014/main" xmlns="" id="{249F4F14-1C55-44B1-9008-28E62CAE3973}"/>
              </a:ext>
            </a:extLst>
          </p:cNvPr>
          <p:cNvGrpSpPr>
            <a:grpSpLocks noChangeAspect="1"/>
          </p:cNvGrpSpPr>
          <p:nvPr/>
        </p:nvGrpSpPr>
        <p:grpSpPr bwMode="auto">
          <a:xfrm>
            <a:off x="1124490" y="2500345"/>
            <a:ext cx="473809" cy="320433"/>
            <a:chOff x="1418" y="927"/>
            <a:chExt cx="658" cy="445"/>
          </a:xfrm>
          <a:solidFill>
            <a:schemeClr val="accent1"/>
          </a:solidFill>
        </p:grpSpPr>
        <p:sp>
          <p:nvSpPr>
            <p:cNvPr id="178" name="Freeform 6">
              <a:extLst>
                <a:ext uri="{FF2B5EF4-FFF2-40B4-BE49-F238E27FC236}">
                  <a16:creationId xmlns:a16="http://schemas.microsoft.com/office/drawing/2014/main" xmlns="" id="{645D5584-00B1-4D1A-BD43-0EC517DCF760}"/>
                </a:ext>
              </a:extLst>
            </p:cNvPr>
            <p:cNvSpPr>
              <a:spLocks/>
            </p:cNvSpPr>
            <p:nvPr/>
          </p:nvSpPr>
          <p:spPr bwMode="auto">
            <a:xfrm>
              <a:off x="1757" y="976"/>
              <a:ext cx="35" cy="50"/>
            </a:xfrm>
            <a:custGeom>
              <a:avLst/>
              <a:gdLst>
                <a:gd name="T0" fmla="*/ 42 w 42"/>
                <a:gd name="T1" fmla="*/ 0 h 60"/>
                <a:gd name="T2" fmla="*/ 0 w 42"/>
                <a:gd name="T3" fmla="*/ 60 h 60"/>
                <a:gd name="T4" fmla="*/ 7 w 42"/>
                <a:gd name="T5" fmla="*/ 60 h 60"/>
                <a:gd name="T6" fmla="*/ 42 w 42"/>
                <a:gd name="T7" fmla="*/ 0 h 60"/>
              </a:gdLst>
              <a:ahLst/>
              <a:cxnLst>
                <a:cxn ang="0">
                  <a:pos x="T0" y="T1"/>
                </a:cxn>
                <a:cxn ang="0">
                  <a:pos x="T2" y="T3"/>
                </a:cxn>
                <a:cxn ang="0">
                  <a:pos x="T4" y="T5"/>
                </a:cxn>
                <a:cxn ang="0">
                  <a:pos x="T6" y="T7"/>
                </a:cxn>
              </a:cxnLst>
              <a:rect l="0" t="0" r="r" b="b"/>
              <a:pathLst>
                <a:path w="42" h="60">
                  <a:moveTo>
                    <a:pt x="42" y="0"/>
                  </a:moveTo>
                  <a:cubicBezTo>
                    <a:pt x="17" y="8"/>
                    <a:pt x="1" y="32"/>
                    <a:pt x="0" y="60"/>
                  </a:cubicBezTo>
                  <a:cubicBezTo>
                    <a:pt x="3" y="60"/>
                    <a:pt x="5" y="60"/>
                    <a:pt x="7" y="60"/>
                  </a:cubicBezTo>
                  <a:cubicBezTo>
                    <a:pt x="12" y="33"/>
                    <a:pt x="28" y="17"/>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79" name="Freeform 7">
              <a:extLst>
                <a:ext uri="{FF2B5EF4-FFF2-40B4-BE49-F238E27FC236}">
                  <a16:creationId xmlns:a16="http://schemas.microsoft.com/office/drawing/2014/main" xmlns="" id="{36CAB7C8-489E-4F59-801C-BF3223CCC386}"/>
                </a:ext>
              </a:extLst>
            </p:cNvPr>
            <p:cNvSpPr>
              <a:spLocks/>
            </p:cNvSpPr>
            <p:nvPr/>
          </p:nvSpPr>
          <p:spPr bwMode="auto">
            <a:xfrm>
              <a:off x="1418" y="927"/>
              <a:ext cx="658" cy="445"/>
            </a:xfrm>
            <a:custGeom>
              <a:avLst/>
              <a:gdLst>
                <a:gd name="T0" fmla="*/ 707 w 789"/>
                <a:gd name="T1" fmla="*/ 4 h 534"/>
                <a:gd name="T2" fmla="*/ 541 w 789"/>
                <a:gd name="T3" fmla="*/ 69 h 534"/>
                <a:gd name="T4" fmla="*/ 434 w 789"/>
                <a:gd name="T5" fmla="*/ 194 h 534"/>
                <a:gd name="T6" fmla="*/ 418 w 789"/>
                <a:gd name="T7" fmla="*/ 165 h 534"/>
                <a:gd name="T8" fmla="*/ 370 w 789"/>
                <a:gd name="T9" fmla="*/ 166 h 534"/>
                <a:gd name="T10" fmla="*/ 352 w 789"/>
                <a:gd name="T11" fmla="*/ 195 h 534"/>
                <a:gd name="T12" fmla="*/ 245 w 789"/>
                <a:gd name="T13" fmla="*/ 69 h 534"/>
                <a:gd name="T14" fmla="*/ 60 w 789"/>
                <a:gd name="T15" fmla="*/ 4 h 534"/>
                <a:gd name="T16" fmla="*/ 55 w 789"/>
                <a:gd name="T17" fmla="*/ 4 h 534"/>
                <a:gd name="T18" fmla="*/ 3 w 789"/>
                <a:gd name="T19" fmla="*/ 59 h 534"/>
                <a:gd name="T20" fmla="*/ 43 w 789"/>
                <a:gd name="T21" fmla="*/ 159 h 534"/>
                <a:gd name="T22" fmla="*/ 57 w 789"/>
                <a:gd name="T23" fmla="*/ 227 h 534"/>
                <a:gd name="T24" fmla="*/ 209 w 789"/>
                <a:gd name="T25" fmla="*/ 278 h 534"/>
                <a:gd name="T26" fmla="*/ 119 w 789"/>
                <a:gd name="T27" fmla="*/ 419 h 534"/>
                <a:gd name="T28" fmla="*/ 250 w 789"/>
                <a:gd name="T29" fmla="*/ 509 h 534"/>
                <a:gd name="T30" fmla="*/ 361 w 789"/>
                <a:gd name="T31" fmla="*/ 370 h 534"/>
                <a:gd name="T32" fmla="*/ 394 w 789"/>
                <a:gd name="T33" fmla="*/ 434 h 534"/>
                <a:gd name="T34" fmla="*/ 427 w 789"/>
                <a:gd name="T35" fmla="*/ 370 h 534"/>
                <a:gd name="T36" fmla="*/ 555 w 789"/>
                <a:gd name="T37" fmla="*/ 513 h 534"/>
                <a:gd name="T38" fmla="*/ 667 w 789"/>
                <a:gd name="T39" fmla="*/ 424 h 534"/>
                <a:gd name="T40" fmla="*/ 580 w 789"/>
                <a:gd name="T41" fmla="*/ 278 h 534"/>
                <a:gd name="T42" fmla="*/ 726 w 789"/>
                <a:gd name="T43" fmla="*/ 234 h 534"/>
                <a:gd name="T44" fmla="*/ 752 w 789"/>
                <a:gd name="T45" fmla="*/ 140 h 534"/>
                <a:gd name="T46" fmla="*/ 784 w 789"/>
                <a:gd name="T47" fmla="*/ 77 h 534"/>
                <a:gd name="T48" fmla="*/ 707 w 789"/>
                <a:gd name="T49" fmla="*/ 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9" h="534">
                  <a:moveTo>
                    <a:pt x="707" y="4"/>
                  </a:moveTo>
                  <a:cubicBezTo>
                    <a:pt x="645" y="9"/>
                    <a:pt x="588" y="37"/>
                    <a:pt x="541" y="69"/>
                  </a:cubicBezTo>
                  <a:cubicBezTo>
                    <a:pt x="492" y="102"/>
                    <a:pt x="454" y="146"/>
                    <a:pt x="434" y="194"/>
                  </a:cubicBezTo>
                  <a:cubicBezTo>
                    <a:pt x="431" y="182"/>
                    <a:pt x="419" y="173"/>
                    <a:pt x="418" y="165"/>
                  </a:cubicBezTo>
                  <a:cubicBezTo>
                    <a:pt x="437" y="105"/>
                    <a:pt x="346" y="110"/>
                    <a:pt x="370" y="166"/>
                  </a:cubicBezTo>
                  <a:cubicBezTo>
                    <a:pt x="363" y="175"/>
                    <a:pt x="357" y="184"/>
                    <a:pt x="352" y="195"/>
                  </a:cubicBezTo>
                  <a:cubicBezTo>
                    <a:pt x="333" y="142"/>
                    <a:pt x="292" y="101"/>
                    <a:pt x="245" y="69"/>
                  </a:cubicBezTo>
                  <a:cubicBezTo>
                    <a:pt x="198" y="36"/>
                    <a:pt x="134" y="6"/>
                    <a:pt x="60" y="4"/>
                  </a:cubicBezTo>
                  <a:cubicBezTo>
                    <a:pt x="55" y="4"/>
                    <a:pt x="55" y="4"/>
                    <a:pt x="55" y="4"/>
                  </a:cubicBezTo>
                  <a:cubicBezTo>
                    <a:pt x="24" y="5"/>
                    <a:pt x="5" y="28"/>
                    <a:pt x="3" y="59"/>
                  </a:cubicBezTo>
                  <a:cubicBezTo>
                    <a:pt x="0" y="105"/>
                    <a:pt x="32" y="123"/>
                    <a:pt x="43" y="159"/>
                  </a:cubicBezTo>
                  <a:cubicBezTo>
                    <a:pt x="50" y="181"/>
                    <a:pt x="47" y="211"/>
                    <a:pt x="57" y="227"/>
                  </a:cubicBezTo>
                  <a:cubicBezTo>
                    <a:pt x="84" y="272"/>
                    <a:pt x="148" y="277"/>
                    <a:pt x="209" y="278"/>
                  </a:cubicBezTo>
                  <a:cubicBezTo>
                    <a:pt x="160" y="305"/>
                    <a:pt x="114" y="352"/>
                    <a:pt x="119" y="419"/>
                  </a:cubicBezTo>
                  <a:cubicBezTo>
                    <a:pt x="123" y="473"/>
                    <a:pt x="187" y="534"/>
                    <a:pt x="250" y="509"/>
                  </a:cubicBezTo>
                  <a:cubicBezTo>
                    <a:pt x="306" y="486"/>
                    <a:pt x="338" y="427"/>
                    <a:pt x="361" y="370"/>
                  </a:cubicBezTo>
                  <a:cubicBezTo>
                    <a:pt x="371" y="388"/>
                    <a:pt x="372" y="434"/>
                    <a:pt x="394" y="434"/>
                  </a:cubicBezTo>
                  <a:cubicBezTo>
                    <a:pt x="416" y="433"/>
                    <a:pt x="416" y="387"/>
                    <a:pt x="427" y="370"/>
                  </a:cubicBezTo>
                  <a:cubicBezTo>
                    <a:pt x="449" y="430"/>
                    <a:pt x="487" y="500"/>
                    <a:pt x="555" y="513"/>
                  </a:cubicBezTo>
                  <a:cubicBezTo>
                    <a:pt x="611" y="523"/>
                    <a:pt x="663" y="469"/>
                    <a:pt x="667" y="424"/>
                  </a:cubicBezTo>
                  <a:cubicBezTo>
                    <a:pt x="676" y="343"/>
                    <a:pt x="622" y="307"/>
                    <a:pt x="580" y="278"/>
                  </a:cubicBezTo>
                  <a:cubicBezTo>
                    <a:pt x="642" y="277"/>
                    <a:pt x="695" y="271"/>
                    <a:pt x="726" y="234"/>
                  </a:cubicBezTo>
                  <a:cubicBezTo>
                    <a:pt x="742" y="214"/>
                    <a:pt x="736" y="169"/>
                    <a:pt x="752" y="140"/>
                  </a:cubicBezTo>
                  <a:cubicBezTo>
                    <a:pt x="764" y="117"/>
                    <a:pt x="781" y="106"/>
                    <a:pt x="784" y="77"/>
                  </a:cubicBezTo>
                  <a:cubicBezTo>
                    <a:pt x="789" y="22"/>
                    <a:pt x="760" y="0"/>
                    <a:pt x="70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80" name="Freeform 8">
              <a:extLst>
                <a:ext uri="{FF2B5EF4-FFF2-40B4-BE49-F238E27FC236}">
                  <a16:creationId xmlns:a16="http://schemas.microsoft.com/office/drawing/2014/main" xmlns="" id="{50FFDC68-F737-4AB3-8BD6-B90CA9000A8C}"/>
                </a:ext>
              </a:extLst>
            </p:cNvPr>
            <p:cNvSpPr>
              <a:spLocks/>
            </p:cNvSpPr>
            <p:nvPr/>
          </p:nvSpPr>
          <p:spPr bwMode="auto">
            <a:xfrm>
              <a:off x="1703" y="976"/>
              <a:ext cx="34" cy="50"/>
            </a:xfrm>
            <a:custGeom>
              <a:avLst/>
              <a:gdLst>
                <a:gd name="T0" fmla="*/ 41 w 41"/>
                <a:gd name="T1" fmla="*/ 60 h 60"/>
                <a:gd name="T2" fmla="*/ 0 w 41"/>
                <a:gd name="T3" fmla="*/ 0 h 60"/>
                <a:gd name="T4" fmla="*/ 34 w 41"/>
                <a:gd name="T5" fmla="*/ 60 h 60"/>
                <a:gd name="T6" fmla="*/ 41 w 41"/>
                <a:gd name="T7" fmla="*/ 60 h 60"/>
              </a:gdLst>
              <a:ahLst/>
              <a:cxnLst>
                <a:cxn ang="0">
                  <a:pos x="T0" y="T1"/>
                </a:cxn>
                <a:cxn ang="0">
                  <a:pos x="T2" y="T3"/>
                </a:cxn>
                <a:cxn ang="0">
                  <a:pos x="T4" y="T5"/>
                </a:cxn>
                <a:cxn ang="0">
                  <a:pos x="T6" y="T7"/>
                </a:cxn>
              </a:cxnLst>
              <a:rect l="0" t="0" r="r" b="b"/>
              <a:pathLst>
                <a:path w="41" h="60">
                  <a:moveTo>
                    <a:pt x="41" y="60"/>
                  </a:moveTo>
                  <a:cubicBezTo>
                    <a:pt x="41" y="32"/>
                    <a:pt x="25" y="8"/>
                    <a:pt x="0" y="0"/>
                  </a:cubicBezTo>
                  <a:cubicBezTo>
                    <a:pt x="14" y="17"/>
                    <a:pt x="29" y="33"/>
                    <a:pt x="34" y="60"/>
                  </a:cubicBezTo>
                  <a:cubicBezTo>
                    <a:pt x="37" y="60"/>
                    <a:pt x="39" y="60"/>
                    <a:pt x="4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181" name="Group 180">
            <a:extLst>
              <a:ext uri="{FF2B5EF4-FFF2-40B4-BE49-F238E27FC236}">
                <a16:creationId xmlns:a16="http://schemas.microsoft.com/office/drawing/2014/main" xmlns="" id="{741BD422-2647-4291-A6F9-DD8B015F3B38}"/>
              </a:ext>
            </a:extLst>
          </p:cNvPr>
          <p:cNvGrpSpPr/>
          <p:nvPr/>
        </p:nvGrpSpPr>
        <p:grpSpPr>
          <a:xfrm>
            <a:off x="1139994" y="3386140"/>
            <a:ext cx="438150" cy="438150"/>
            <a:chOff x="1149520" y="3362325"/>
            <a:chExt cx="438150" cy="438150"/>
          </a:xfrm>
        </p:grpSpPr>
        <p:cxnSp>
          <p:nvCxnSpPr>
            <p:cNvPr id="182" name="Straight Connector 181">
              <a:extLst>
                <a:ext uri="{FF2B5EF4-FFF2-40B4-BE49-F238E27FC236}">
                  <a16:creationId xmlns:a16="http://schemas.microsoft.com/office/drawing/2014/main" xmlns="" id="{4821E2B8-3B0B-4D2C-8C2F-87AE8688AEAD}"/>
                </a:ext>
              </a:extLst>
            </p:cNvPr>
            <p:cNvCxnSpPr/>
            <p:nvPr/>
          </p:nvCxnSpPr>
          <p:spPr>
            <a:xfrm>
              <a:off x="13685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6D979932-1E63-402B-861A-F714A59306CB}"/>
                </a:ext>
              </a:extLst>
            </p:cNvPr>
            <p:cNvCxnSpPr>
              <a:cxnSpLocks/>
            </p:cNvCxnSpPr>
            <p:nvPr/>
          </p:nvCxnSpPr>
          <p:spPr>
            <a:xfrm rot="5400000">
              <a:off x="1368595" y="3289730"/>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80AB9693-C1ED-4510-A5E5-FFA83CFA1584}"/>
                </a:ext>
              </a:extLst>
            </p:cNvPr>
            <p:cNvCxnSpPr/>
            <p:nvPr/>
          </p:nvCxnSpPr>
          <p:spPr>
            <a:xfrm>
              <a:off x="14828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5F2CD458-5302-41DE-ABC8-8B18018BEDE3}"/>
                </a:ext>
              </a:extLst>
            </p:cNvPr>
            <p:cNvCxnSpPr/>
            <p:nvPr/>
          </p:nvCxnSpPr>
          <p:spPr>
            <a:xfrm>
              <a:off x="12542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A642F7CB-5EF0-4E0A-B6CB-6CF4E8AB18F8}"/>
                </a:ext>
              </a:extLst>
            </p:cNvPr>
            <p:cNvCxnSpPr>
              <a:cxnSpLocks/>
            </p:cNvCxnSpPr>
            <p:nvPr/>
          </p:nvCxnSpPr>
          <p:spPr>
            <a:xfrm rot="5400000">
              <a:off x="1368595" y="3434986"/>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xmlns="" id="{B7B4A6EB-D886-4262-8B2D-4CDDE70665D6}"/>
              </a:ext>
            </a:extLst>
          </p:cNvPr>
          <p:cNvGrpSpPr/>
          <p:nvPr/>
        </p:nvGrpSpPr>
        <p:grpSpPr>
          <a:xfrm>
            <a:off x="1132188" y="1439265"/>
            <a:ext cx="438634" cy="485741"/>
            <a:chOff x="1132188" y="1439265"/>
            <a:chExt cx="438634" cy="485741"/>
          </a:xfrm>
        </p:grpSpPr>
        <p:grpSp>
          <p:nvGrpSpPr>
            <p:cNvPr id="188" name="Group 5">
              <a:extLst>
                <a:ext uri="{FF2B5EF4-FFF2-40B4-BE49-F238E27FC236}">
                  <a16:creationId xmlns:a16="http://schemas.microsoft.com/office/drawing/2014/main" xmlns="" id="{98E5C3AB-9B68-47AB-A425-B4881C614CAC}"/>
                </a:ext>
              </a:extLst>
            </p:cNvPr>
            <p:cNvGrpSpPr>
              <a:grpSpLocks noChangeAspect="1"/>
            </p:cNvGrpSpPr>
            <p:nvPr/>
          </p:nvGrpSpPr>
          <p:grpSpPr bwMode="auto">
            <a:xfrm>
              <a:off x="1132188" y="1542536"/>
              <a:ext cx="438634" cy="382470"/>
              <a:chOff x="4696" y="1057"/>
              <a:chExt cx="945" cy="824"/>
            </a:xfrm>
            <a:solidFill>
              <a:schemeClr val="accent3"/>
            </a:solidFill>
          </p:grpSpPr>
          <p:sp>
            <p:nvSpPr>
              <p:cNvPr id="192" name="Freeform 6">
                <a:extLst>
                  <a:ext uri="{FF2B5EF4-FFF2-40B4-BE49-F238E27FC236}">
                    <a16:creationId xmlns:a16="http://schemas.microsoft.com/office/drawing/2014/main" xmlns="" id="{798346F7-6DF3-4372-AA21-0A77BBFC76B9}"/>
                  </a:ext>
                </a:extLst>
              </p:cNvPr>
              <p:cNvSpPr>
                <a:spLocks/>
              </p:cNvSpPr>
              <p:nvPr/>
            </p:nvSpPr>
            <p:spPr bwMode="auto">
              <a:xfrm>
                <a:off x="4696" y="1057"/>
                <a:ext cx="373" cy="824"/>
              </a:xfrm>
              <a:custGeom>
                <a:avLst/>
                <a:gdLst>
                  <a:gd name="T0" fmla="*/ 66 w 158"/>
                  <a:gd name="T1" fmla="*/ 126 h 349"/>
                  <a:gd name="T2" fmla="*/ 158 w 158"/>
                  <a:gd name="T3" fmla="*/ 220 h 349"/>
                  <a:gd name="T4" fmla="*/ 158 w 158"/>
                  <a:gd name="T5" fmla="*/ 349 h 349"/>
                  <a:gd name="T6" fmla="*/ 157 w 158"/>
                  <a:gd name="T7" fmla="*/ 349 h 349"/>
                  <a:gd name="T8" fmla="*/ 157 w 158"/>
                  <a:gd name="T9" fmla="*/ 349 h 349"/>
                  <a:gd name="T10" fmla="*/ 82 w 158"/>
                  <a:gd name="T11" fmla="*/ 349 h 349"/>
                  <a:gd name="T12" fmla="*/ 82 w 158"/>
                  <a:gd name="T13" fmla="*/ 294 h 349"/>
                  <a:gd name="T14" fmla="*/ 5 w 158"/>
                  <a:gd name="T15" fmla="*/ 192 h 349"/>
                  <a:gd name="T16" fmla="*/ 0 w 158"/>
                  <a:gd name="T17" fmla="*/ 178 h 349"/>
                  <a:gd name="T18" fmla="*/ 0 w 158"/>
                  <a:gd name="T19" fmla="*/ 22 h 349"/>
                  <a:gd name="T20" fmla="*/ 22 w 158"/>
                  <a:gd name="T21" fmla="*/ 0 h 349"/>
                  <a:gd name="T22" fmla="*/ 44 w 158"/>
                  <a:gd name="T23" fmla="*/ 22 h 349"/>
                  <a:gd name="T24" fmla="*/ 44 w 158"/>
                  <a:gd name="T25" fmla="*/ 112 h 349"/>
                  <a:gd name="T26" fmla="*/ 30 w 158"/>
                  <a:gd name="T27" fmla="*/ 120 h 349"/>
                  <a:gd name="T28" fmla="*/ 29 w 158"/>
                  <a:gd name="T29" fmla="*/ 162 h 349"/>
                  <a:gd name="T30" fmla="*/ 71 w 158"/>
                  <a:gd name="T31" fmla="*/ 205 h 349"/>
                  <a:gd name="T32" fmla="*/ 77 w 158"/>
                  <a:gd name="T33" fmla="*/ 200 h 349"/>
                  <a:gd name="T34" fmla="*/ 35 w 158"/>
                  <a:gd name="T35" fmla="*/ 157 h 349"/>
                  <a:gd name="T36" fmla="*/ 35 w 158"/>
                  <a:gd name="T37" fmla="*/ 126 h 349"/>
                  <a:gd name="T38" fmla="*/ 45 w 158"/>
                  <a:gd name="T39" fmla="*/ 120 h 349"/>
                  <a:gd name="T40" fmla="*/ 56 w 158"/>
                  <a:gd name="T41" fmla="*/ 120 h 349"/>
                  <a:gd name="T42" fmla="*/ 66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66" y="126"/>
                    </a:moveTo>
                    <a:cubicBezTo>
                      <a:pt x="158" y="220"/>
                      <a:pt x="158" y="220"/>
                      <a:pt x="158" y="220"/>
                    </a:cubicBezTo>
                    <a:cubicBezTo>
                      <a:pt x="158" y="349"/>
                      <a:pt x="158" y="349"/>
                      <a:pt x="158" y="349"/>
                    </a:cubicBezTo>
                    <a:cubicBezTo>
                      <a:pt x="157" y="349"/>
                      <a:pt x="157" y="349"/>
                      <a:pt x="157" y="349"/>
                    </a:cubicBezTo>
                    <a:cubicBezTo>
                      <a:pt x="157" y="349"/>
                      <a:pt x="157" y="349"/>
                      <a:pt x="157" y="349"/>
                    </a:cubicBezTo>
                    <a:cubicBezTo>
                      <a:pt x="82" y="349"/>
                      <a:pt x="82" y="349"/>
                      <a:pt x="82" y="349"/>
                    </a:cubicBezTo>
                    <a:cubicBezTo>
                      <a:pt x="82" y="294"/>
                      <a:pt x="82" y="294"/>
                      <a:pt x="82" y="294"/>
                    </a:cubicBezTo>
                    <a:cubicBezTo>
                      <a:pt x="5" y="192"/>
                      <a:pt x="5" y="192"/>
                      <a:pt x="5" y="192"/>
                    </a:cubicBezTo>
                    <a:cubicBezTo>
                      <a:pt x="2" y="188"/>
                      <a:pt x="0" y="184"/>
                      <a:pt x="0" y="178"/>
                    </a:cubicBezTo>
                    <a:cubicBezTo>
                      <a:pt x="0" y="22"/>
                      <a:pt x="0" y="22"/>
                      <a:pt x="0" y="22"/>
                    </a:cubicBezTo>
                    <a:cubicBezTo>
                      <a:pt x="0" y="10"/>
                      <a:pt x="10" y="0"/>
                      <a:pt x="22" y="0"/>
                    </a:cubicBezTo>
                    <a:cubicBezTo>
                      <a:pt x="34" y="0"/>
                      <a:pt x="44" y="10"/>
                      <a:pt x="44" y="22"/>
                    </a:cubicBezTo>
                    <a:cubicBezTo>
                      <a:pt x="44" y="112"/>
                      <a:pt x="44" y="112"/>
                      <a:pt x="44" y="112"/>
                    </a:cubicBezTo>
                    <a:cubicBezTo>
                      <a:pt x="39" y="114"/>
                      <a:pt x="34" y="116"/>
                      <a:pt x="30" y="120"/>
                    </a:cubicBezTo>
                    <a:cubicBezTo>
                      <a:pt x="18" y="131"/>
                      <a:pt x="18" y="150"/>
                      <a:pt x="29" y="162"/>
                    </a:cubicBezTo>
                    <a:cubicBezTo>
                      <a:pt x="71" y="205"/>
                      <a:pt x="71" y="205"/>
                      <a:pt x="71" y="205"/>
                    </a:cubicBezTo>
                    <a:cubicBezTo>
                      <a:pt x="77" y="200"/>
                      <a:pt x="77" y="200"/>
                      <a:pt x="77" y="200"/>
                    </a:cubicBezTo>
                    <a:cubicBezTo>
                      <a:pt x="35" y="157"/>
                      <a:pt x="35" y="157"/>
                      <a:pt x="35" y="157"/>
                    </a:cubicBezTo>
                    <a:cubicBezTo>
                      <a:pt x="26" y="148"/>
                      <a:pt x="27" y="134"/>
                      <a:pt x="35" y="126"/>
                    </a:cubicBezTo>
                    <a:cubicBezTo>
                      <a:pt x="38" y="123"/>
                      <a:pt x="41" y="121"/>
                      <a:pt x="45" y="120"/>
                    </a:cubicBezTo>
                    <a:cubicBezTo>
                      <a:pt x="48" y="119"/>
                      <a:pt x="52" y="119"/>
                      <a:pt x="56" y="120"/>
                    </a:cubicBezTo>
                    <a:cubicBezTo>
                      <a:pt x="60" y="121"/>
                      <a:pt x="63" y="123"/>
                      <a:pt x="66"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93" name="Freeform 7">
                <a:extLst>
                  <a:ext uri="{FF2B5EF4-FFF2-40B4-BE49-F238E27FC236}">
                    <a16:creationId xmlns:a16="http://schemas.microsoft.com/office/drawing/2014/main" xmlns="" id="{5A01BCFA-ED6D-4CD3-917B-CC77009009EC}"/>
                  </a:ext>
                </a:extLst>
              </p:cNvPr>
              <p:cNvSpPr>
                <a:spLocks/>
              </p:cNvSpPr>
              <p:nvPr/>
            </p:nvSpPr>
            <p:spPr bwMode="auto">
              <a:xfrm>
                <a:off x="5268" y="1057"/>
                <a:ext cx="373" cy="824"/>
              </a:xfrm>
              <a:custGeom>
                <a:avLst/>
                <a:gdLst>
                  <a:gd name="T0" fmla="*/ 92 w 158"/>
                  <a:gd name="T1" fmla="*/ 126 h 349"/>
                  <a:gd name="T2" fmla="*/ 0 w 158"/>
                  <a:gd name="T3" fmla="*/ 220 h 349"/>
                  <a:gd name="T4" fmla="*/ 0 w 158"/>
                  <a:gd name="T5" fmla="*/ 349 h 349"/>
                  <a:gd name="T6" fmla="*/ 1 w 158"/>
                  <a:gd name="T7" fmla="*/ 349 h 349"/>
                  <a:gd name="T8" fmla="*/ 1 w 158"/>
                  <a:gd name="T9" fmla="*/ 349 h 349"/>
                  <a:gd name="T10" fmla="*/ 76 w 158"/>
                  <a:gd name="T11" fmla="*/ 349 h 349"/>
                  <a:gd name="T12" fmla="*/ 76 w 158"/>
                  <a:gd name="T13" fmla="*/ 294 h 349"/>
                  <a:gd name="T14" fmla="*/ 153 w 158"/>
                  <a:gd name="T15" fmla="*/ 192 h 349"/>
                  <a:gd name="T16" fmla="*/ 158 w 158"/>
                  <a:gd name="T17" fmla="*/ 178 h 349"/>
                  <a:gd name="T18" fmla="*/ 158 w 158"/>
                  <a:gd name="T19" fmla="*/ 22 h 349"/>
                  <a:gd name="T20" fmla="*/ 136 w 158"/>
                  <a:gd name="T21" fmla="*/ 0 h 349"/>
                  <a:gd name="T22" fmla="*/ 114 w 158"/>
                  <a:gd name="T23" fmla="*/ 22 h 349"/>
                  <a:gd name="T24" fmla="*/ 114 w 158"/>
                  <a:gd name="T25" fmla="*/ 112 h 349"/>
                  <a:gd name="T26" fmla="*/ 128 w 158"/>
                  <a:gd name="T27" fmla="*/ 120 h 349"/>
                  <a:gd name="T28" fmla="*/ 129 w 158"/>
                  <a:gd name="T29" fmla="*/ 162 h 349"/>
                  <a:gd name="T30" fmla="*/ 87 w 158"/>
                  <a:gd name="T31" fmla="*/ 205 h 349"/>
                  <a:gd name="T32" fmla="*/ 81 w 158"/>
                  <a:gd name="T33" fmla="*/ 200 h 349"/>
                  <a:gd name="T34" fmla="*/ 123 w 158"/>
                  <a:gd name="T35" fmla="*/ 157 h 349"/>
                  <a:gd name="T36" fmla="*/ 123 w 158"/>
                  <a:gd name="T37" fmla="*/ 126 h 349"/>
                  <a:gd name="T38" fmla="*/ 113 w 158"/>
                  <a:gd name="T39" fmla="*/ 120 h 349"/>
                  <a:gd name="T40" fmla="*/ 102 w 158"/>
                  <a:gd name="T41" fmla="*/ 120 h 349"/>
                  <a:gd name="T42" fmla="*/ 92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92" y="126"/>
                    </a:moveTo>
                    <a:cubicBezTo>
                      <a:pt x="0" y="220"/>
                      <a:pt x="0" y="220"/>
                      <a:pt x="0" y="220"/>
                    </a:cubicBezTo>
                    <a:cubicBezTo>
                      <a:pt x="0" y="349"/>
                      <a:pt x="0" y="349"/>
                      <a:pt x="0" y="349"/>
                    </a:cubicBezTo>
                    <a:cubicBezTo>
                      <a:pt x="1" y="349"/>
                      <a:pt x="1" y="349"/>
                      <a:pt x="1" y="349"/>
                    </a:cubicBezTo>
                    <a:cubicBezTo>
                      <a:pt x="1" y="349"/>
                      <a:pt x="1" y="349"/>
                      <a:pt x="1" y="349"/>
                    </a:cubicBezTo>
                    <a:cubicBezTo>
                      <a:pt x="76" y="349"/>
                      <a:pt x="76" y="349"/>
                      <a:pt x="76" y="349"/>
                    </a:cubicBezTo>
                    <a:cubicBezTo>
                      <a:pt x="76" y="294"/>
                      <a:pt x="76" y="294"/>
                      <a:pt x="76" y="294"/>
                    </a:cubicBezTo>
                    <a:cubicBezTo>
                      <a:pt x="153" y="192"/>
                      <a:pt x="153" y="192"/>
                      <a:pt x="153" y="192"/>
                    </a:cubicBezTo>
                    <a:cubicBezTo>
                      <a:pt x="156" y="188"/>
                      <a:pt x="158" y="184"/>
                      <a:pt x="158" y="178"/>
                    </a:cubicBezTo>
                    <a:cubicBezTo>
                      <a:pt x="158" y="22"/>
                      <a:pt x="158" y="22"/>
                      <a:pt x="158" y="22"/>
                    </a:cubicBezTo>
                    <a:cubicBezTo>
                      <a:pt x="158" y="10"/>
                      <a:pt x="148" y="0"/>
                      <a:pt x="136" y="0"/>
                    </a:cubicBezTo>
                    <a:cubicBezTo>
                      <a:pt x="124" y="0"/>
                      <a:pt x="114" y="10"/>
                      <a:pt x="114" y="22"/>
                    </a:cubicBezTo>
                    <a:cubicBezTo>
                      <a:pt x="114" y="112"/>
                      <a:pt x="114" y="112"/>
                      <a:pt x="114" y="112"/>
                    </a:cubicBezTo>
                    <a:cubicBezTo>
                      <a:pt x="119" y="114"/>
                      <a:pt x="124" y="116"/>
                      <a:pt x="128" y="120"/>
                    </a:cubicBezTo>
                    <a:cubicBezTo>
                      <a:pt x="140" y="131"/>
                      <a:pt x="140" y="150"/>
                      <a:pt x="129" y="162"/>
                    </a:cubicBezTo>
                    <a:cubicBezTo>
                      <a:pt x="87" y="205"/>
                      <a:pt x="87" y="205"/>
                      <a:pt x="87" y="205"/>
                    </a:cubicBezTo>
                    <a:cubicBezTo>
                      <a:pt x="81" y="200"/>
                      <a:pt x="81" y="200"/>
                      <a:pt x="81" y="200"/>
                    </a:cubicBezTo>
                    <a:cubicBezTo>
                      <a:pt x="123" y="157"/>
                      <a:pt x="123" y="157"/>
                      <a:pt x="123" y="157"/>
                    </a:cubicBezTo>
                    <a:cubicBezTo>
                      <a:pt x="132" y="148"/>
                      <a:pt x="131" y="134"/>
                      <a:pt x="123" y="126"/>
                    </a:cubicBezTo>
                    <a:cubicBezTo>
                      <a:pt x="120" y="123"/>
                      <a:pt x="117" y="121"/>
                      <a:pt x="113" y="120"/>
                    </a:cubicBezTo>
                    <a:cubicBezTo>
                      <a:pt x="110" y="119"/>
                      <a:pt x="106" y="119"/>
                      <a:pt x="102" y="120"/>
                    </a:cubicBezTo>
                    <a:cubicBezTo>
                      <a:pt x="98" y="121"/>
                      <a:pt x="95" y="123"/>
                      <a:pt x="9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sp>
          <p:nvSpPr>
            <p:cNvPr id="189" name="Cross 188">
              <a:extLst>
                <a:ext uri="{FF2B5EF4-FFF2-40B4-BE49-F238E27FC236}">
                  <a16:creationId xmlns:a16="http://schemas.microsoft.com/office/drawing/2014/main" xmlns="" id="{D1299AF4-2631-4DBC-900D-B3E1E4EF93AD}"/>
                </a:ext>
              </a:extLst>
            </p:cNvPr>
            <p:cNvSpPr/>
            <p:nvPr/>
          </p:nvSpPr>
          <p:spPr>
            <a:xfrm>
              <a:off x="1230812" y="1439265"/>
              <a:ext cx="90745" cy="90745"/>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0" name="Cross 189">
              <a:extLst>
                <a:ext uri="{FF2B5EF4-FFF2-40B4-BE49-F238E27FC236}">
                  <a16:creationId xmlns:a16="http://schemas.microsoft.com/office/drawing/2014/main" xmlns="" id="{E8DA3D61-0FBF-4AEF-8F44-0C77341AC539}"/>
                </a:ext>
              </a:extLst>
            </p:cNvPr>
            <p:cNvSpPr/>
            <p:nvPr/>
          </p:nvSpPr>
          <p:spPr>
            <a:xfrm>
              <a:off x="1310850" y="1557658"/>
              <a:ext cx="123596" cy="123596"/>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1" name="Cross 190">
              <a:extLst>
                <a:ext uri="{FF2B5EF4-FFF2-40B4-BE49-F238E27FC236}">
                  <a16:creationId xmlns:a16="http://schemas.microsoft.com/office/drawing/2014/main" xmlns="" id="{D3846638-A997-4AAA-8CCD-A50F0C28B647}"/>
                </a:ext>
              </a:extLst>
            </p:cNvPr>
            <p:cNvSpPr/>
            <p:nvPr/>
          </p:nvSpPr>
          <p:spPr>
            <a:xfrm>
              <a:off x="1419666" y="1466445"/>
              <a:ext cx="64589" cy="64589"/>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sp>
        <p:nvSpPr>
          <p:cNvPr id="6" name="Rectangle 5"/>
          <p:cNvSpPr/>
          <p:nvPr/>
        </p:nvSpPr>
        <p:spPr>
          <a:xfrm>
            <a:off x="843210" y="1217531"/>
            <a:ext cx="8275478" cy="97776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Tree>
    <p:extLst>
      <p:ext uri="{BB962C8B-B14F-4D97-AF65-F5344CB8AC3E}">
        <p14:creationId xmlns:p14="http://schemas.microsoft.com/office/powerpoint/2010/main" val="1601439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4.16667E-7 -1.85185E-6 L -0.11849 -1.85185E-6 " pathEditMode="relative" rAng="0" ptsTypes="AA">
                                      <p:cBhvr>
                                        <p:cTn id="6" dur="1000" fill="hold"/>
                                        <p:tgtEl>
                                          <p:spTgt spid="3"/>
                                        </p:tgtEl>
                                        <p:attrNameLst>
                                          <p:attrName>ppt_x</p:attrName>
                                          <p:attrName>ppt_y</p:attrName>
                                        </p:attrNameLst>
                                      </p:cBhvr>
                                      <p:rCtr x="-5924" y="0"/>
                                    </p:animMotion>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500"/>
                                        <p:tgtEl>
                                          <p:spTgt spid="9"/>
                                        </p:tgtEl>
                                      </p:cBhvr>
                                    </p:animEffect>
                                  </p:childTnLst>
                                </p:cTn>
                              </p:par>
                              <p:par>
                                <p:cTn id="10" presetID="42" presetClass="path" presetSubtype="0" decel="50000" fill="hold" grpId="1" nodeType="withEffect">
                                  <p:stCondLst>
                                    <p:cond delay="0"/>
                                  </p:stCondLst>
                                  <p:childTnLst>
                                    <p:animMotion origin="layout" path="M 4.16667E-7 4.07407E-6 L 4.16667E-7 -0.08959 " pathEditMode="relative" rAng="0" ptsTypes="AA">
                                      <p:cBhvr>
                                        <p:cTn id="11" dur="750" spd="-100000" fill="hold"/>
                                        <p:tgtEl>
                                          <p:spTgt spid="9"/>
                                        </p:tgtEl>
                                        <p:attrNameLst>
                                          <p:attrName>ppt_x</p:attrName>
                                          <p:attrName>ppt_y</p:attrName>
                                        </p:attrNameLst>
                                      </p:cBhvr>
                                      <p:rCtr x="0" y="-4491"/>
                                    </p:animMotion>
                                  </p:childTnLst>
                                </p:cTn>
                              </p:par>
                              <p:par>
                                <p:cTn id="12" presetID="10" presetClass="entr" presetSubtype="0" fill="hold" grpId="0" nodeType="withEffect">
                                  <p:stCondLst>
                                    <p:cond delay="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decel="50000" fill="hold" grpId="1" nodeType="withEffect">
                                  <p:stCondLst>
                                    <p:cond delay="250"/>
                                  </p:stCondLst>
                                  <p:childTnLst>
                                    <p:animMotion origin="layout" path="M 4.16667E-7 4.07407E-6 L 4.16667E-7 -0.08959 " pathEditMode="relative" rAng="0" ptsTypes="AA">
                                      <p:cBhvr>
                                        <p:cTn id="16" dur="750" spd="-100000" fill="hold"/>
                                        <p:tgtEl>
                                          <p:spTgt spid="10"/>
                                        </p:tgtEl>
                                        <p:attrNameLst>
                                          <p:attrName>ppt_x</p:attrName>
                                          <p:attrName>ppt_y</p:attrName>
                                        </p:attrNameLst>
                                      </p:cBhvr>
                                      <p:rCtr x="0" y="-4491"/>
                                    </p:animMotion>
                                  </p:childTnLst>
                                </p:cTn>
                              </p:par>
                              <p:par>
                                <p:cTn id="17" presetID="10" presetClass="entr" presetSubtype="0" fill="hold" grpId="0" nodeType="withEffect">
                                  <p:stCondLst>
                                    <p:cond delay="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50000" fill="hold" grpId="1" nodeType="withEffect">
                                  <p:stCondLst>
                                    <p:cond delay="500"/>
                                  </p:stCondLst>
                                  <p:childTnLst>
                                    <p:animMotion origin="layout" path="M 4.16667E-7 4.07407E-6 L 4.16667E-7 -0.08959 " pathEditMode="relative" rAng="0" ptsTypes="AA">
                                      <p:cBhvr>
                                        <p:cTn id="21" dur="750" spd="-100000" fill="hold"/>
                                        <p:tgtEl>
                                          <p:spTgt spid="11"/>
                                        </p:tgtEl>
                                        <p:attrNameLst>
                                          <p:attrName>ppt_x</p:attrName>
                                          <p:attrName>ppt_y</p:attrName>
                                        </p:attrNameLst>
                                      </p:cBhvr>
                                      <p:rCtr x="0" y="-4491"/>
                                    </p:animMotion>
                                  </p:childTnLst>
                                </p:cTn>
                              </p:par>
                              <p:par>
                                <p:cTn id="22" presetID="10" presetClass="entr" presetSubtype="0" fill="hold" grpId="0" nodeType="withEffect">
                                  <p:stCondLst>
                                    <p:cond delay="25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35" presetClass="path" presetSubtype="0" decel="100000" fill="hold" grpId="1" nodeType="withEffect">
                                  <p:stCondLst>
                                    <p:cond delay="250"/>
                                  </p:stCondLst>
                                  <p:childTnLst>
                                    <p:animMotion origin="layout" path="M 0 -1.85185E-6 L 0 -0.0743 " pathEditMode="relative" rAng="0" ptsTypes="AA">
                                      <p:cBhvr>
                                        <p:cTn id="26" dur="750" spd="-100000" fill="hold"/>
                                        <p:tgtEl>
                                          <p:spTgt spid="2"/>
                                        </p:tgtEl>
                                        <p:attrNameLst>
                                          <p:attrName>ppt_x</p:attrName>
                                          <p:attrName>ppt_y</p:attrName>
                                        </p:attrNameLst>
                                      </p:cBhvr>
                                      <p:rCtr x="0" y="-3727"/>
                                    </p:animMotion>
                                  </p:childTnLst>
                                </p:cTn>
                              </p:par>
                              <p:par>
                                <p:cTn id="27" presetID="10" presetClass="entr" presetSubtype="0" fill="hold" grpId="0" nodeType="withEffect">
                                  <p:stCondLst>
                                    <p:cond delay="100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42" presetClass="path" presetSubtype="0" decel="50000" fill="hold" grpId="1" nodeType="withEffect">
                                  <p:stCondLst>
                                    <p:cond delay="1000"/>
                                  </p:stCondLst>
                                  <p:childTnLst>
                                    <p:animMotion origin="layout" path="M 1.45833E-6 -4.81481E-6 L -0.03112 -4.81481E-6 " pathEditMode="relative" rAng="0" ptsTypes="AA">
                                      <p:cBhvr>
                                        <p:cTn id="31" dur="750" spd="-100000" fill="hold"/>
                                        <p:tgtEl>
                                          <p:spTgt spid="95"/>
                                        </p:tgtEl>
                                        <p:attrNameLst>
                                          <p:attrName>ppt_x</p:attrName>
                                          <p:attrName>ppt_y</p:attrName>
                                        </p:attrNameLst>
                                      </p:cBhvr>
                                      <p:rCtr x="-1563" y="0"/>
                                    </p:animMotion>
                                  </p:childTnLst>
                                </p:cTn>
                              </p:par>
                              <p:par>
                                <p:cTn id="32" presetID="10" presetClass="entr" presetSubtype="0" fill="hold" grpId="0" nodeType="withEffect">
                                  <p:stCondLst>
                                    <p:cond delay="1100"/>
                                  </p:stCondLst>
                                  <p:childTnLst>
                                    <p:set>
                                      <p:cBhvr>
                                        <p:cTn id="33" dur="1" fill="hold">
                                          <p:stCondLst>
                                            <p:cond delay="0"/>
                                          </p:stCondLst>
                                        </p:cTn>
                                        <p:tgtEl>
                                          <p:spTgt spid="108"/>
                                        </p:tgtEl>
                                        <p:attrNameLst>
                                          <p:attrName>style.visibility</p:attrName>
                                        </p:attrNameLst>
                                      </p:cBhvr>
                                      <p:to>
                                        <p:strVal val="visible"/>
                                      </p:to>
                                    </p:set>
                                    <p:animEffect transition="in" filter="fade">
                                      <p:cBhvr>
                                        <p:cTn id="34" dur="500"/>
                                        <p:tgtEl>
                                          <p:spTgt spid="108"/>
                                        </p:tgtEl>
                                      </p:cBhvr>
                                    </p:animEffect>
                                  </p:childTnLst>
                                </p:cTn>
                              </p:par>
                              <p:par>
                                <p:cTn id="35" presetID="42" presetClass="path" presetSubtype="0" decel="50000" fill="hold" grpId="1" nodeType="withEffect">
                                  <p:stCondLst>
                                    <p:cond delay="1100"/>
                                  </p:stCondLst>
                                  <p:childTnLst>
                                    <p:animMotion origin="layout" path="M 1.45833E-6 -4.81481E-6 L -0.03216 -4.81481E-6 " pathEditMode="relative" rAng="0" ptsTypes="AA">
                                      <p:cBhvr>
                                        <p:cTn id="36" dur="750" spd="-100000" fill="hold"/>
                                        <p:tgtEl>
                                          <p:spTgt spid="108"/>
                                        </p:tgtEl>
                                        <p:attrNameLst>
                                          <p:attrName>ppt_x</p:attrName>
                                          <p:attrName>ppt_y</p:attrName>
                                        </p:attrNameLst>
                                      </p:cBhvr>
                                      <p:rCtr x="-1615" y="0"/>
                                    </p:animMotion>
                                  </p:childTnLst>
                                </p:cTn>
                              </p:par>
                              <p:par>
                                <p:cTn id="37" presetID="10" presetClass="entr" presetSubtype="0" fill="hold" grpId="0" nodeType="withEffect">
                                  <p:stCondLst>
                                    <p:cond delay="1200"/>
                                  </p:stCondLst>
                                  <p:childTnLst>
                                    <p:set>
                                      <p:cBhvr>
                                        <p:cTn id="38" dur="1" fill="hold">
                                          <p:stCondLst>
                                            <p:cond delay="0"/>
                                          </p:stCondLst>
                                        </p:cTn>
                                        <p:tgtEl>
                                          <p:spTgt spid="118"/>
                                        </p:tgtEl>
                                        <p:attrNameLst>
                                          <p:attrName>style.visibility</p:attrName>
                                        </p:attrNameLst>
                                      </p:cBhvr>
                                      <p:to>
                                        <p:strVal val="visible"/>
                                      </p:to>
                                    </p:set>
                                    <p:animEffect transition="in" filter="fade">
                                      <p:cBhvr>
                                        <p:cTn id="39" dur="500"/>
                                        <p:tgtEl>
                                          <p:spTgt spid="118"/>
                                        </p:tgtEl>
                                      </p:cBhvr>
                                    </p:animEffect>
                                  </p:childTnLst>
                                </p:cTn>
                              </p:par>
                              <p:par>
                                <p:cTn id="40" presetID="42" presetClass="path" presetSubtype="0" decel="50000" fill="hold" grpId="1" nodeType="withEffect">
                                  <p:stCondLst>
                                    <p:cond delay="1200"/>
                                  </p:stCondLst>
                                  <p:childTnLst>
                                    <p:animMotion origin="layout" path="M 1.45833E-6 -4.81481E-6 L -0.0306 -4.81481E-6 " pathEditMode="relative" rAng="0" ptsTypes="AA">
                                      <p:cBhvr>
                                        <p:cTn id="41" dur="750" spd="-100000" fill="hold"/>
                                        <p:tgtEl>
                                          <p:spTgt spid="118"/>
                                        </p:tgtEl>
                                        <p:attrNameLst>
                                          <p:attrName>ppt_x</p:attrName>
                                          <p:attrName>ppt_y</p:attrName>
                                        </p:attrNameLst>
                                      </p:cBhvr>
                                      <p:rCtr x="-1536" y="0"/>
                                    </p:animMotion>
                                  </p:childTnLst>
                                </p:cTn>
                              </p:par>
                              <p:par>
                                <p:cTn id="42" presetID="10" presetClass="entr" presetSubtype="0" fill="hold" nodeType="withEffect">
                                  <p:stCondLst>
                                    <p:cond delay="1500"/>
                                  </p:stCondLst>
                                  <p:childTnLst>
                                    <p:set>
                                      <p:cBhvr>
                                        <p:cTn id="43" dur="1" fill="hold">
                                          <p:stCondLst>
                                            <p:cond delay="0"/>
                                          </p:stCondLst>
                                        </p:cTn>
                                        <p:tgtEl>
                                          <p:spTgt spid="136"/>
                                        </p:tgtEl>
                                        <p:attrNameLst>
                                          <p:attrName>style.visibility</p:attrName>
                                        </p:attrNameLst>
                                      </p:cBhvr>
                                      <p:to>
                                        <p:strVal val="visible"/>
                                      </p:to>
                                    </p:set>
                                    <p:animEffect transition="in" filter="fade">
                                      <p:cBhvr>
                                        <p:cTn id="44" dur="500"/>
                                        <p:tgtEl>
                                          <p:spTgt spid="136"/>
                                        </p:tgtEl>
                                      </p:cBhvr>
                                    </p:animEffect>
                                  </p:childTnLst>
                                </p:cTn>
                              </p:par>
                              <p:par>
                                <p:cTn id="45" presetID="42" presetClass="path" presetSubtype="0" decel="50000" fill="hold" nodeType="withEffect">
                                  <p:stCondLst>
                                    <p:cond delay="1500"/>
                                  </p:stCondLst>
                                  <p:childTnLst>
                                    <p:animMotion origin="layout" path="M 1.66667E-6 -3.33333E-6 L -0.03008 -3.33333E-6 " pathEditMode="relative" rAng="0" ptsTypes="AA">
                                      <p:cBhvr>
                                        <p:cTn id="46" dur="750" spd="-100000" fill="hold"/>
                                        <p:tgtEl>
                                          <p:spTgt spid="136"/>
                                        </p:tgtEl>
                                        <p:attrNameLst>
                                          <p:attrName>ppt_x</p:attrName>
                                          <p:attrName>ppt_y</p:attrName>
                                        </p:attrNameLst>
                                      </p:cBhvr>
                                      <p:rCtr x="-1510" y="0"/>
                                    </p:animMotion>
                                  </p:childTnLst>
                                </p:cTn>
                              </p:par>
                              <p:par>
                                <p:cTn id="47" presetID="10" presetClass="entr" presetSubtype="0" fill="hold" grpId="0" nodeType="withEffect">
                                  <p:stCondLst>
                                    <p:cond delay="1000"/>
                                  </p:stCondLst>
                                  <p:childTnLst>
                                    <p:set>
                                      <p:cBhvr>
                                        <p:cTn id="48" dur="1" fill="hold">
                                          <p:stCondLst>
                                            <p:cond delay="0"/>
                                          </p:stCondLst>
                                        </p:cTn>
                                        <p:tgtEl>
                                          <p:spTgt spid="139"/>
                                        </p:tgtEl>
                                        <p:attrNameLst>
                                          <p:attrName>style.visibility</p:attrName>
                                        </p:attrNameLst>
                                      </p:cBhvr>
                                      <p:to>
                                        <p:strVal val="visible"/>
                                      </p:to>
                                    </p:set>
                                    <p:animEffect transition="in" filter="fade">
                                      <p:cBhvr>
                                        <p:cTn id="49" dur="500"/>
                                        <p:tgtEl>
                                          <p:spTgt spid="139"/>
                                        </p:tgtEl>
                                      </p:cBhvr>
                                    </p:animEffect>
                                  </p:childTnLst>
                                </p:cTn>
                              </p:par>
                              <p:par>
                                <p:cTn id="50" presetID="42" presetClass="path" presetSubtype="0" decel="50000" fill="hold" grpId="1" nodeType="withEffect">
                                  <p:stCondLst>
                                    <p:cond delay="1000"/>
                                  </p:stCondLst>
                                  <p:childTnLst>
                                    <p:animMotion origin="layout" path="M 1.45833E-6 1.85185E-6 L -0.03112 1.85185E-6 " pathEditMode="relative" rAng="0" ptsTypes="AA">
                                      <p:cBhvr>
                                        <p:cTn id="51" dur="750" spd="-100000" fill="hold"/>
                                        <p:tgtEl>
                                          <p:spTgt spid="139"/>
                                        </p:tgtEl>
                                        <p:attrNameLst>
                                          <p:attrName>ppt_x</p:attrName>
                                          <p:attrName>ppt_y</p:attrName>
                                        </p:attrNameLst>
                                      </p:cBhvr>
                                      <p:rCtr x="-1563" y="0"/>
                                    </p:animMotion>
                                  </p:childTnLst>
                                </p:cTn>
                              </p:par>
                              <p:par>
                                <p:cTn id="52" presetID="10" presetClass="entr" presetSubtype="0" fill="hold" grpId="0" nodeType="withEffect">
                                  <p:stCondLst>
                                    <p:cond delay="1100"/>
                                  </p:stCondLst>
                                  <p:childTnLst>
                                    <p:set>
                                      <p:cBhvr>
                                        <p:cTn id="53" dur="1" fill="hold">
                                          <p:stCondLst>
                                            <p:cond delay="0"/>
                                          </p:stCondLst>
                                        </p:cTn>
                                        <p:tgtEl>
                                          <p:spTgt spid="140"/>
                                        </p:tgtEl>
                                        <p:attrNameLst>
                                          <p:attrName>style.visibility</p:attrName>
                                        </p:attrNameLst>
                                      </p:cBhvr>
                                      <p:to>
                                        <p:strVal val="visible"/>
                                      </p:to>
                                    </p:set>
                                    <p:animEffect transition="in" filter="fade">
                                      <p:cBhvr>
                                        <p:cTn id="54" dur="500"/>
                                        <p:tgtEl>
                                          <p:spTgt spid="140"/>
                                        </p:tgtEl>
                                      </p:cBhvr>
                                    </p:animEffect>
                                  </p:childTnLst>
                                </p:cTn>
                              </p:par>
                              <p:par>
                                <p:cTn id="55" presetID="42" presetClass="path" presetSubtype="0" decel="50000" fill="hold" grpId="1" nodeType="withEffect">
                                  <p:stCondLst>
                                    <p:cond delay="1100"/>
                                  </p:stCondLst>
                                  <p:childTnLst>
                                    <p:animMotion origin="layout" path="M 1.45833E-6 1.85185E-6 L -0.03216 1.85185E-6 " pathEditMode="relative" rAng="0" ptsTypes="AA">
                                      <p:cBhvr>
                                        <p:cTn id="56" dur="750" spd="-100000" fill="hold"/>
                                        <p:tgtEl>
                                          <p:spTgt spid="140"/>
                                        </p:tgtEl>
                                        <p:attrNameLst>
                                          <p:attrName>ppt_x</p:attrName>
                                          <p:attrName>ppt_y</p:attrName>
                                        </p:attrNameLst>
                                      </p:cBhvr>
                                      <p:rCtr x="-1615" y="0"/>
                                    </p:animMotion>
                                  </p:childTnLst>
                                </p:cTn>
                              </p:par>
                              <p:par>
                                <p:cTn id="57" presetID="10" presetClass="entr" presetSubtype="0" fill="hold" grpId="0" nodeType="withEffect">
                                  <p:stCondLst>
                                    <p:cond delay="1200"/>
                                  </p:stCondLst>
                                  <p:childTnLst>
                                    <p:set>
                                      <p:cBhvr>
                                        <p:cTn id="58" dur="1" fill="hold">
                                          <p:stCondLst>
                                            <p:cond delay="0"/>
                                          </p:stCondLst>
                                        </p:cTn>
                                        <p:tgtEl>
                                          <p:spTgt spid="141"/>
                                        </p:tgtEl>
                                        <p:attrNameLst>
                                          <p:attrName>style.visibility</p:attrName>
                                        </p:attrNameLst>
                                      </p:cBhvr>
                                      <p:to>
                                        <p:strVal val="visible"/>
                                      </p:to>
                                    </p:set>
                                    <p:animEffect transition="in" filter="fade">
                                      <p:cBhvr>
                                        <p:cTn id="59" dur="500"/>
                                        <p:tgtEl>
                                          <p:spTgt spid="141"/>
                                        </p:tgtEl>
                                      </p:cBhvr>
                                    </p:animEffect>
                                  </p:childTnLst>
                                </p:cTn>
                              </p:par>
                              <p:par>
                                <p:cTn id="60" presetID="42" presetClass="path" presetSubtype="0" decel="50000" fill="hold" grpId="1" nodeType="withEffect">
                                  <p:stCondLst>
                                    <p:cond delay="1200"/>
                                  </p:stCondLst>
                                  <p:childTnLst>
                                    <p:animMotion origin="layout" path="M 1.45833E-6 1.85185E-6 L -0.0306 1.85185E-6 " pathEditMode="relative" rAng="0" ptsTypes="AA">
                                      <p:cBhvr>
                                        <p:cTn id="61" dur="750" spd="-100000" fill="hold"/>
                                        <p:tgtEl>
                                          <p:spTgt spid="141"/>
                                        </p:tgtEl>
                                        <p:attrNameLst>
                                          <p:attrName>ppt_x</p:attrName>
                                          <p:attrName>ppt_y</p:attrName>
                                        </p:attrNameLst>
                                      </p:cBhvr>
                                      <p:rCtr x="-1536" y="0"/>
                                    </p:animMotion>
                                  </p:childTnLst>
                                </p:cTn>
                              </p:par>
                              <p:par>
                                <p:cTn id="62" presetID="10" presetClass="entr" presetSubtype="0" fill="hold" nodeType="withEffect">
                                  <p:stCondLst>
                                    <p:cond delay="1500"/>
                                  </p:stCondLst>
                                  <p:childTnLst>
                                    <p:set>
                                      <p:cBhvr>
                                        <p:cTn id="63" dur="1" fill="hold">
                                          <p:stCondLst>
                                            <p:cond delay="0"/>
                                          </p:stCondLst>
                                        </p:cTn>
                                        <p:tgtEl>
                                          <p:spTgt spid="142"/>
                                        </p:tgtEl>
                                        <p:attrNameLst>
                                          <p:attrName>style.visibility</p:attrName>
                                        </p:attrNameLst>
                                      </p:cBhvr>
                                      <p:to>
                                        <p:strVal val="visible"/>
                                      </p:to>
                                    </p:set>
                                    <p:animEffect transition="in" filter="fade">
                                      <p:cBhvr>
                                        <p:cTn id="64" dur="500"/>
                                        <p:tgtEl>
                                          <p:spTgt spid="142"/>
                                        </p:tgtEl>
                                      </p:cBhvr>
                                    </p:animEffect>
                                  </p:childTnLst>
                                </p:cTn>
                              </p:par>
                              <p:par>
                                <p:cTn id="65" presetID="42" presetClass="path" presetSubtype="0" decel="50000" fill="hold" nodeType="withEffect">
                                  <p:stCondLst>
                                    <p:cond delay="1500"/>
                                  </p:stCondLst>
                                  <p:childTnLst>
                                    <p:animMotion origin="layout" path="M 1.66667E-6 1.85185E-6 L -0.03008 1.85185E-6 " pathEditMode="relative" rAng="0" ptsTypes="AA">
                                      <p:cBhvr>
                                        <p:cTn id="66" dur="750" spd="-100000" fill="hold"/>
                                        <p:tgtEl>
                                          <p:spTgt spid="142"/>
                                        </p:tgtEl>
                                        <p:attrNameLst>
                                          <p:attrName>ppt_x</p:attrName>
                                          <p:attrName>ppt_y</p:attrName>
                                        </p:attrNameLst>
                                      </p:cBhvr>
                                      <p:rCtr x="-1510" y="0"/>
                                    </p:animMotion>
                                  </p:childTnLst>
                                </p:cTn>
                              </p:par>
                              <p:par>
                                <p:cTn id="67" presetID="10" presetClass="entr" presetSubtype="0" fill="hold" grpId="0" nodeType="withEffect">
                                  <p:stCondLst>
                                    <p:cond delay="1000"/>
                                  </p:stCondLst>
                                  <p:childTnLst>
                                    <p:set>
                                      <p:cBhvr>
                                        <p:cTn id="68" dur="1" fill="hold">
                                          <p:stCondLst>
                                            <p:cond delay="0"/>
                                          </p:stCondLst>
                                        </p:cTn>
                                        <p:tgtEl>
                                          <p:spTgt spid="145"/>
                                        </p:tgtEl>
                                        <p:attrNameLst>
                                          <p:attrName>style.visibility</p:attrName>
                                        </p:attrNameLst>
                                      </p:cBhvr>
                                      <p:to>
                                        <p:strVal val="visible"/>
                                      </p:to>
                                    </p:set>
                                    <p:animEffect transition="in" filter="fade">
                                      <p:cBhvr>
                                        <p:cTn id="69" dur="500"/>
                                        <p:tgtEl>
                                          <p:spTgt spid="145"/>
                                        </p:tgtEl>
                                      </p:cBhvr>
                                    </p:animEffect>
                                  </p:childTnLst>
                                </p:cTn>
                              </p:par>
                              <p:par>
                                <p:cTn id="70" presetID="42" presetClass="path" presetSubtype="0" decel="50000" fill="hold" grpId="1" nodeType="withEffect">
                                  <p:stCondLst>
                                    <p:cond delay="1000"/>
                                  </p:stCondLst>
                                  <p:childTnLst>
                                    <p:animMotion origin="layout" path="M 1.45833E-6 -1.48148E-6 L -0.03112 -1.48148E-6 " pathEditMode="relative" rAng="0" ptsTypes="AA">
                                      <p:cBhvr>
                                        <p:cTn id="71" dur="750" spd="-100000" fill="hold"/>
                                        <p:tgtEl>
                                          <p:spTgt spid="145"/>
                                        </p:tgtEl>
                                        <p:attrNameLst>
                                          <p:attrName>ppt_x</p:attrName>
                                          <p:attrName>ppt_y</p:attrName>
                                        </p:attrNameLst>
                                      </p:cBhvr>
                                      <p:rCtr x="-1563" y="0"/>
                                    </p:animMotion>
                                  </p:childTnLst>
                                </p:cTn>
                              </p:par>
                              <p:par>
                                <p:cTn id="72" presetID="10" presetClass="entr" presetSubtype="0" fill="hold" grpId="0" nodeType="withEffect">
                                  <p:stCondLst>
                                    <p:cond delay="1100"/>
                                  </p:stCondLst>
                                  <p:childTnLst>
                                    <p:set>
                                      <p:cBhvr>
                                        <p:cTn id="73" dur="1" fill="hold">
                                          <p:stCondLst>
                                            <p:cond delay="0"/>
                                          </p:stCondLst>
                                        </p:cTn>
                                        <p:tgtEl>
                                          <p:spTgt spid="146"/>
                                        </p:tgtEl>
                                        <p:attrNameLst>
                                          <p:attrName>style.visibility</p:attrName>
                                        </p:attrNameLst>
                                      </p:cBhvr>
                                      <p:to>
                                        <p:strVal val="visible"/>
                                      </p:to>
                                    </p:set>
                                    <p:animEffect transition="in" filter="fade">
                                      <p:cBhvr>
                                        <p:cTn id="74" dur="500"/>
                                        <p:tgtEl>
                                          <p:spTgt spid="146"/>
                                        </p:tgtEl>
                                      </p:cBhvr>
                                    </p:animEffect>
                                  </p:childTnLst>
                                </p:cTn>
                              </p:par>
                              <p:par>
                                <p:cTn id="75" presetID="42" presetClass="path" presetSubtype="0" decel="50000" fill="hold" grpId="1" nodeType="withEffect">
                                  <p:stCondLst>
                                    <p:cond delay="1100"/>
                                  </p:stCondLst>
                                  <p:childTnLst>
                                    <p:animMotion origin="layout" path="M 1.45833E-6 -1.48148E-6 L -0.03216 -1.48148E-6 " pathEditMode="relative" rAng="0" ptsTypes="AA">
                                      <p:cBhvr>
                                        <p:cTn id="76" dur="750" spd="-100000" fill="hold"/>
                                        <p:tgtEl>
                                          <p:spTgt spid="146"/>
                                        </p:tgtEl>
                                        <p:attrNameLst>
                                          <p:attrName>ppt_x</p:attrName>
                                          <p:attrName>ppt_y</p:attrName>
                                        </p:attrNameLst>
                                      </p:cBhvr>
                                      <p:rCtr x="-1615" y="0"/>
                                    </p:animMotion>
                                  </p:childTnLst>
                                </p:cTn>
                              </p:par>
                              <p:par>
                                <p:cTn id="77" presetID="10" presetClass="entr" presetSubtype="0" fill="hold" grpId="0" nodeType="withEffect">
                                  <p:stCondLst>
                                    <p:cond delay="1200"/>
                                  </p:stCondLst>
                                  <p:childTnLst>
                                    <p:set>
                                      <p:cBhvr>
                                        <p:cTn id="78" dur="1" fill="hold">
                                          <p:stCondLst>
                                            <p:cond delay="0"/>
                                          </p:stCondLst>
                                        </p:cTn>
                                        <p:tgtEl>
                                          <p:spTgt spid="147"/>
                                        </p:tgtEl>
                                        <p:attrNameLst>
                                          <p:attrName>style.visibility</p:attrName>
                                        </p:attrNameLst>
                                      </p:cBhvr>
                                      <p:to>
                                        <p:strVal val="visible"/>
                                      </p:to>
                                    </p:set>
                                    <p:animEffect transition="in" filter="fade">
                                      <p:cBhvr>
                                        <p:cTn id="79" dur="500"/>
                                        <p:tgtEl>
                                          <p:spTgt spid="147"/>
                                        </p:tgtEl>
                                      </p:cBhvr>
                                    </p:animEffect>
                                  </p:childTnLst>
                                </p:cTn>
                              </p:par>
                              <p:par>
                                <p:cTn id="80" presetID="42" presetClass="path" presetSubtype="0" decel="50000" fill="hold" grpId="1" nodeType="withEffect">
                                  <p:stCondLst>
                                    <p:cond delay="1200"/>
                                  </p:stCondLst>
                                  <p:childTnLst>
                                    <p:animMotion origin="layout" path="M 1.45833E-6 -1.48148E-6 L -0.0306 -1.48148E-6 " pathEditMode="relative" rAng="0" ptsTypes="AA">
                                      <p:cBhvr>
                                        <p:cTn id="81" dur="750" spd="-100000" fill="hold"/>
                                        <p:tgtEl>
                                          <p:spTgt spid="147"/>
                                        </p:tgtEl>
                                        <p:attrNameLst>
                                          <p:attrName>ppt_x</p:attrName>
                                          <p:attrName>ppt_y</p:attrName>
                                        </p:attrNameLst>
                                      </p:cBhvr>
                                      <p:rCtr x="-1536" y="0"/>
                                    </p:animMotion>
                                  </p:childTnLst>
                                </p:cTn>
                              </p:par>
                              <p:par>
                                <p:cTn id="82" presetID="10" presetClass="entr" presetSubtype="0" fill="hold" nodeType="withEffect">
                                  <p:stCondLst>
                                    <p:cond delay="1500"/>
                                  </p:stCondLst>
                                  <p:childTnLst>
                                    <p:set>
                                      <p:cBhvr>
                                        <p:cTn id="83" dur="1" fill="hold">
                                          <p:stCondLst>
                                            <p:cond delay="0"/>
                                          </p:stCondLst>
                                        </p:cTn>
                                        <p:tgtEl>
                                          <p:spTgt spid="148"/>
                                        </p:tgtEl>
                                        <p:attrNameLst>
                                          <p:attrName>style.visibility</p:attrName>
                                        </p:attrNameLst>
                                      </p:cBhvr>
                                      <p:to>
                                        <p:strVal val="visible"/>
                                      </p:to>
                                    </p:set>
                                    <p:animEffect transition="in" filter="fade">
                                      <p:cBhvr>
                                        <p:cTn id="84" dur="500"/>
                                        <p:tgtEl>
                                          <p:spTgt spid="148"/>
                                        </p:tgtEl>
                                      </p:cBhvr>
                                    </p:animEffect>
                                  </p:childTnLst>
                                </p:cTn>
                              </p:par>
                              <p:par>
                                <p:cTn id="85" presetID="42" presetClass="path" presetSubtype="0" decel="50000" fill="hold" nodeType="withEffect">
                                  <p:stCondLst>
                                    <p:cond delay="1500"/>
                                  </p:stCondLst>
                                  <p:childTnLst>
                                    <p:animMotion origin="layout" path="M 1.66667E-6 -1.48148E-6 L -0.03008 -1.48148E-6 " pathEditMode="relative" rAng="0" ptsTypes="AA">
                                      <p:cBhvr>
                                        <p:cTn id="86" dur="750" spd="-100000" fill="hold"/>
                                        <p:tgtEl>
                                          <p:spTgt spid="148"/>
                                        </p:tgtEl>
                                        <p:attrNameLst>
                                          <p:attrName>ppt_x</p:attrName>
                                          <p:attrName>ppt_y</p:attrName>
                                        </p:attrNameLst>
                                      </p:cBhvr>
                                      <p:rCtr x="-1510" y="0"/>
                                    </p:animMotion>
                                  </p:childTnLst>
                                </p:cTn>
                              </p:par>
                              <p:par>
                                <p:cTn id="87" presetID="10" presetClass="entr" presetSubtype="0" fill="hold" grpId="0" nodeType="withEffect">
                                  <p:stCondLst>
                                    <p:cond delay="1750"/>
                                  </p:stCondLst>
                                  <p:childTnLst>
                                    <p:set>
                                      <p:cBhvr>
                                        <p:cTn id="88" dur="1" fill="hold">
                                          <p:stCondLst>
                                            <p:cond delay="0"/>
                                          </p:stCondLst>
                                        </p:cTn>
                                        <p:tgtEl>
                                          <p:spTgt spid="157"/>
                                        </p:tgtEl>
                                        <p:attrNameLst>
                                          <p:attrName>style.visibility</p:attrName>
                                        </p:attrNameLst>
                                      </p:cBhvr>
                                      <p:to>
                                        <p:strVal val="visible"/>
                                      </p:to>
                                    </p:set>
                                    <p:animEffect transition="in" filter="fade">
                                      <p:cBhvr>
                                        <p:cTn id="89" dur="500"/>
                                        <p:tgtEl>
                                          <p:spTgt spid="157"/>
                                        </p:tgtEl>
                                      </p:cBhvr>
                                    </p:animEffect>
                                  </p:childTnLst>
                                </p:cTn>
                              </p:par>
                              <p:par>
                                <p:cTn id="90" presetID="42" presetClass="path" presetSubtype="0" decel="50000" fill="hold" grpId="1" nodeType="withEffect">
                                  <p:stCondLst>
                                    <p:cond delay="1750"/>
                                  </p:stCondLst>
                                  <p:childTnLst>
                                    <p:animMotion origin="layout" path="M -4.375E-6 -3.7037E-6 L 0.01276 -3.7037E-6 " pathEditMode="relative" rAng="0" ptsTypes="AA">
                                      <p:cBhvr>
                                        <p:cTn id="91" dur="750" spd="-100000" fill="hold"/>
                                        <p:tgtEl>
                                          <p:spTgt spid="157"/>
                                        </p:tgtEl>
                                        <p:attrNameLst>
                                          <p:attrName>ppt_x</p:attrName>
                                          <p:attrName>ppt_y</p:attrName>
                                        </p:attrNameLst>
                                      </p:cBhvr>
                                      <p:rCtr x="638" y="0"/>
                                    </p:animMotion>
                                  </p:childTnLst>
                                </p:cTn>
                              </p:par>
                              <p:par>
                                <p:cTn id="92" presetID="10" presetClass="entr" presetSubtype="0" fill="hold" grpId="0" nodeType="withEffect">
                                  <p:stCondLst>
                                    <p:cond delay="1750"/>
                                  </p:stCondLst>
                                  <p:childTnLst>
                                    <p:set>
                                      <p:cBhvr>
                                        <p:cTn id="93" dur="1" fill="hold">
                                          <p:stCondLst>
                                            <p:cond delay="0"/>
                                          </p:stCondLst>
                                        </p:cTn>
                                        <p:tgtEl>
                                          <p:spTgt spid="158"/>
                                        </p:tgtEl>
                                        <p:attrNameLst>
                                          <p:attrName>style.visibility</p:attrName>
                                        </p:attrNameLst>
                                      </p:cBhvr>
                                      <p:to>
                                        <p:strVal val="visible"/>
                                      </p:to>
                                    </p:set>
                                    <p:animEffect transition="in" filter="fade">
                                      <p:cBhvr>
                                        <p:cTn id="94" dur="500"/>
                                        <p:tgtEl>
                                          <p:spTgt spid="158"/>
                                        </p:tgtEl>
                                      </p:cBhvr>
                                    </p:animEffect>
                                  </p:childTnLst>
                                </p:cTn>
                              </p:par>
                              <p:par>
                                <p:cTn id="95" presetID="42" presetClass="path" presetSubtype="0" decel="50000" fill="hold" grpId="1" nodeType="withEffect">
                                  <p:stCondLst>
                                    <p:cond delay="1750"/>
                                  </p:stCondLst>
                                  <p:childTnLst>
                                    <p:animMotion origin="layout" path="M -4.375E-6 1.48148E-6 L 0.01276 1.48148E-6 " pathEditMode="relative" rAng="0" ptsTypes="AA">
                                      <p:cBhvr>
                                        <p:cTn id="96" dur="750" spd="-100000" fill="hold"/>
                                        <p:tgtEl>
                                          <p:spTgt spid="158"/>
                                        </p:tgtEl>
                                        <p:attrNameLst>
                                          <p:attrName>ppt_x</p:attrName>
                                          <p:attrName>ppt_y</p:attrName>
                                        </p:attrNameLst>
                                      </p:cBhvr>
                                      <p:rCtr x="638" y="0"/>
                                    </p:animMotion>
                                  </p:childTnLst>
                                </p:cTn>
                              </p:par>
                              <p:par>
                                <p:cTn id="97" presetID="10" presetClass="entr" presetSubtype="0" fill="hold" grpId="0" nodeType="withEffect">
                                  <p:stCondLst>
                                    <p:cond delay="1750"/>
                                  </p:stCondLst>
                                  <p:childTnLst>
                                    <p:set>
                                      <p:cBhvr>
                                        <p:cTn id="98" dur="1" fill="hold">
                                          <p:stCondLst>
                                            <p:cond delay="0"/>
                                          </p:stCondLst>
                                        </p:cTn>
                                        <p:tgtEl>
                                          <p:spTgt spid="159"/>
                                        </p:tgtEl>
                                        <p:attrNameLst>
                                          <p:attrName>style.visibility</p:attrName>
                                        </p:attrNameLst>
                                      </p:cBhvr>
                                      <p:to>
                                        <p:strVal val="visible"/>
                                      </p:to>
                                    </p:set>
                                    <p:animEffect transition="in" filter="fade">
                                      <p:cBhvr>
                                        <p:cTn id="99" dur="500"/>
                                        <p:tgtEl>
                                          <p:spTgt spid="159"/>
                                        </p:tgtEl>
                                      </p:cBhvr>
                                    </p:animEffect>
                                  </p:childTnLst>
                                </p:cTn>
                              </p:par>
                              <p:par>
                                <p:cTn id="100" presetID="42" presetClass="path" presetSubtype="0" decel="50000" fill="hold" grpId="1" nodeType="withEffect">
                                  <p:stCondLst>
                                    <p:cond delay="1750"/>
                                  </p:stCondLst>
                                  <p:childTnLst>
                                    <p:animMotion origin="layout" path="M -4.375E-6 -1.85185E-6 L 0.01276 -1.85185E-6 " pathEditMode="relative" rAng="0" ptsTypes="AA">
                                      <p:cBhvr>
                                        <p:cTn id="101" dur="750" spd="-100000" fill="hold"/>
                                        <p:tgtEl>
                                          <p:spTgt spid="159"/>
                                        </p:tgtEl>
                                        <p:attrNameLst>
                                          <p:attrName>ppt_x</p:attrName>
                                          <p:attrName>ppt_y</p:attrName>
                                        </p:attrNameLst>
                                      </p:cBhvr>
                                      <p:rCtr x="638" y="0"/>
                                    </p:animMotion>
                                  </p:childTnLst>
                                </p:cTn>
                              </p:par>
                              <p:par>
                                <p:cTn id="102" presetID="10" presetClass="entr" presetSubtype="0" fill="hold" nodeType="withEffect">
                                  <p:stCondLst>
                                    <p:cond delay="1750"/>
                                  </p:stCondLst>
                                  <p:childTnLst>
                                    <p:set>
                                      <p:cBhvr>
                                        <p:cTn id="103" dur="1" fill="hold">
                                          <p:stCondLst>
                                            <p:cond delay="0"/>
                                          </p:stCondLst>
                                        </p:cTn>
                                        <p:tgtEl>
                                          <p:spTgt spid="161"/>
                                        </p:tgtEl>
                                        <p:attrNameLst>
                                          <p:attrName>style.visibility</p:attrName>
                                        </p:attrNameLst>
                                      </p:cBhvr>
                                      <p:to>
                                        <p:strVal val="visible"/>
                                      </p:to>
                                    </p:set>
                                    <p:animEffect transition="in" filter="fade">
                                      <p:cBhvr>
                                        <p:cTn id="104" dur="500"/>
                                        <p:tgtEl>
                                          <p:spTgt spid="161"/>
                                        </p:tgtEl>
                                      </p:cBhvr>
                                    </p:animEffect>
                                  </p:childTnLst>
                                </p:cTn>
                              </p:par>
                              <p:par>
                                <p:cTn id="105" presetID="42" presetClass="path" presetSubtype="0" decel="50000" fill="hold" nodeType="withEffect">
                                  <p:stCondLst>
                                    <p:cond delay="1750"/>
                                  </p:stCondLst>
                                  <p:childTnLst>
                                    <p:animMotion origin="layout" path="M 3.33333E-6 3.7037E-6 L -0.03711 3.7037E-6 " pathEditMode="relative" rAng="0" ptsTypes="AA">
                                      <p:cBhvr>
                                        <p:cTn id="106" dur="750" spd="-100000" fill="hold"/>
                                        <p:tgtEl>
                                          <p:spTgt spid="161"/>
                                        </p:tgtEl>
                                        <p:attrNameLst>
                                          <p:attrName>ppt_x</p:attrName>
                                          <p:attrName>ppt_y</p:attrName>
                                        </p:attrNameLst>
                                      </p:cBhvr>
                                      <p:rCtr x="-1862" y="0"/>
                                    </p:animMotion>
                                  </p:childTnLst>
                                </p:cTn>
                              </p:par>
                              <p:par>
                                <p:cTn id="107" presetID="22" presetClass="entr" presetSubtype="8" fill="hold" nodeType="withEffect">
                                  <p:stCondLst>
                                    <p:cond delay="1750"/>
                                  </p:stCondLst>
                                  <p:childTnLst>
                                    <p:set>
                                      <p:cBhvr>
                                        <p:cTn id="108" dur="1" fill="hold">
                                          <p:stCondLst>
                                            <p:cond delay="0"/>
                                          </p:stCondLst>
                                        </p:cTn>
                                        <p:tgtEl>
                                          <p:spTgt spid="164"/>
                                        </p:tgtEl>
                                        <p:attrNameLst>
                                          <p:attrName>style.visibility</p:attrName>
                                        </p:attrNameLst>
                                      </p:cBhvr>
                                      <p:to>
                                        <p:strVal val="visible"/>
                                      </p:to>
                                    </p:set>
                                    <p:animEffect transition="in" filter="wipe(left)">
                                      <p:cBhvr>
                                        <p:cTn id="109" dur="750"/>
                                        <p:tgtEl>
                                          <p:spTgt spid="164"/>
                                        </p:tgtEl>
                                      </p:cBhvr>
                                    </p:animEffect>
                                  </p:childTnLst>
                                </p:cTn>
                              </p:par>
                              <p:par>
                                <p:cTn id="110" presetID="42" presetClass="path" presetSubtype="0" decel="50000" fill="hold" nodeType="withEffect">
                                  <p:stCondLst>
                                    <p:cond delay="1750"/>
                                  </p:stCondLst>
                                  <p:childTnLst>
                                    <p:animMotion origin="layout" path="M -4.16667E-7 -4.81481E-6 L 0.04727 -0.00115 " pathEditMode="relative" rAng="0" ptsTypes="AA">
                                      <p:cBhvr>
                                        <p:cTn id="111" dur="750" spd="-100000" fill="hold"/>
                                        <p:tgtEl>
                                          <p:spTgt spid="164"/>
                                        </p:tgtEl>
                                        <p:attrNameLst>
                                          <p:attrName>ppt_x</p:attrName>
                                          <p:attrName>ppt_y</p:attrName>
                                        </p:attrNameLst>
                                      </p:cBhvr>
                                      <p:rCtr x="2357" y="-69"/>
                                    </p:animMotion>
                                  </p:childTnLst>
                                </p:cTn>
                              </p:par>
                              <p:par>
                                <p:cTn id="112" presetID="22" presetClass="entr" presetSubtype="8" fill="hold" nodeType="withEffect">
                                  <p:stCondLst>
                                    <p:cond delay="1750"/>
                                  </p:stCondLst>
                                  <p:childTnLst>
                                    <p:set>
                                      <p:cBhvr>
                                        <p:cTn id="113" dur="1" fill="hold">
                                          <p:stCondLst>
                                            <p:cond delay="0"/>
                                          </p:stCondLst>
                                        </p:cTn>
                                        <p:tgtEl>
                                          <p:spTgt spid="165"/>
                                        </p:tgtEl>
                                        <p:attrNameLst>
                                          <p:attrName>style.visibility</p:attrName>
                                        </p:attrNameLst>
                                      </p:cBhvr>
                                      <p:to>
                                        <p:strVal val="visible"/>
                                      </p:to>
                                    </p:set>
                                    <p:animEffect transition="in" filter="wipe(left)">
                                      <p:cBhvr>
                                        <p:cTn id="114" dur="750"/>
                                        <p:tgtEl>
                                          <p:spTgt spid="165"/>
                                        </p:tgtEl>
                                      </p:cBhvr>
                                    </p:animEffect>
                                  </p:childTnLst>
                                </p:cTn>
                              </p:par>
                              <p:par>
                                <p:cTn id="115" presetID="42" presetClass="path" presetSubtype="0" decel="50000" fill="hold" nodeType="withEffect">
                                  <p:stCondLst>
                                    <p:cond delay="1750"/>
                                  </p:stCondLst>
                                  <p:childTnLst>
                                    <p:animMotion origin="layout" path="M -4.16667E-7 4.81481E-6 L 0.04727 -0.00116 " pathEditMode="relative" rAng="0" ptsTypes="AA">
                                      <p:cBhvr>
                                        <p:cTn id="116" dur="750" spd="-100000" fill="hold"/>
                                        <p:tgtEl>
                                          <p:spTgt spid="165"/>
                                        </p:tgtEl>
                                        <p:attrNameLst>
                                          <p:attrName>ppt_x</p:attrName>
                                          <p:attrName>ppt_y</p:attrName>
                                        </p:attrNameLst>
                                      </p:cBhvr>
                                      <p:rCtr x="2357" y="-69"/>
                                    </p:animMotion>
                                  </p:childTnLst>
                                </p:cTn>
                              </p:par>
                              <p:par>
                                <p:cTn id="117" presetID="22" presetClass="entr" presetSubtype="8" fill="hold" nodeType="withEffect">
                                  <p:stCondLst>
                                    <p:cond delay="1750"/>
                                  </p:stCondLst>
                                  <p:childTnLst>
                                    <p:set>
                                      <p:cBhvr>
                                        <p:cTn id="118" dur="1" fill="hold">
                                          <p:stCondLst>
                                            <p:cond delay="0"/>
                                          </p:stCondLst>
                                        </p:cTn>
                                        <p:tgtEl>
                                          <p:spTgt spid="166"/>
                                        </p:tgtEl>
                                        <p:attrNameLst>
                                          <p:attrName>style.visibility</p:attrName>
                                        </p:attrNameLst>
                                      </p:cBhvr>
                                      <p:to>
                                        <p:strVal val="visible"/>
                                      </p:to>
                                    </p:set>
                                    <p:animEffect transition="in" filter="wipe(left)">
                                      <p:cBhvr>
                                        <p:cTn id="119" dur="750"/>
                                        <p:tgtEl>
                                          <p:spTgt spid="166"/>
                                        </p:tgtEl>
                                      </p:cBhvr>
                                    </p:animEffect>
                                  </p:childTnLst>
                                </p:cTn>
                              </p:par>
                              <p:par>
                                <p:cTn id="120" presetID="42" presetClass="path" presetSubtype="0" decel="50000" fill="hold" nodeType="withEffect">
                                  <p:stCondLst>
                                    <p:cond delay="1750"/>
                                  </p:stCondLst>
                                  <p:childTnLst>
                                    <p:animMotion origin="layout" path="M 6.25E-7 0 L 0.04727 -0.00116 " pathEditMode="relative" rAng="0" ptsTypes="AA">
                                      <p:cBhvr>
                                        <p:cTn id="121" dur="750" spd="-100000" fill="hold"/>
                                        <p:tgtEl>
                                          <p:spTgt spid="166"/>
                                        </p:tgtEl>
                                        <p:attrNameLst>
                                          <p:attrName>ppt_x</p:attrName>
                                          <p:attrName>ppt_y</p:attrName>
                                        </p:attrNameLst>
                                      </p:cBhvr>
                                      <p:rCtr x="2357" y="-69"/>
                                    </p:animMotion>
                                  </p:childTnLst>
                                </p:cTn>
                              </p:par>
                              <p:par>
                                <p:cTn id="122" presetID="10" presetClass="entr" presetSubtype="0" fill="hold" nodeType="withEffect">
                                  <p:stCondLst>
                                    <p:cond delay="1750"/>
                                  </p:stCondLst>
                                  <p:childTnLst>
                                    <p:set>
                                      <p:cBhvr>
                                        <p:cTn id="123" dur="1" fill="hold">
                                          <p:stCondLst>
                                            <p:cond delay="0"/>
                                          </p:stCondLst>
                                        </p:cTn>
                                        <p:tgtEl>
                                          <p:spTgt spid="168"/>
                                        </p:tgtEl>
                                        <p:attrNameLst>
                                          <p:attrName>style.visibility</p:attrName>
                                        </p:attrNameLst>
                                      </p:cBhvr>
                                      <p:to>
                                        <p:strVal val="visible"/>
                                      </p:to>
                                    </p:set>
                                    <p:animEffect transition="in" filter="fade">
                                      <p:cBhvr>
                                        <p:cTn id="124" dur="500"/>
                                        <p:tgtEl>
                                          <p:spTgt spid="168"/>
                                        </p:tgtEl>
                                      </p:cBhvr>
                                    </p:animEffect>
                                  </p:childTnLst>
                                </p:cTn>
                              </p:par>
                              <p:par>
                                <p:cTn id="125" presetID="42" presetClass="path" presetSubtype="0" decel="50000" fill="hold" nodeType="withEffect">
                                  <p:stCondLst>
                                    <p:cond delay="1750"/>
                                  </p:stCondLst>
                                  <p:childTnLst>
                                    <p:animMotion origin="layout" path="M 3.33333E-6 -2.22222E-6 L -0.03711 -2.22222E-6 " pathEditMode="relative" rAng="0" ptsTypes="AA">
                                      <p:cBhvr>
                                        <p:cTn id="126" dur="750" spd="-100000" fill="hold"/>
                                        <p:tgtEl>
                                          <p:spTgt spid="168"/>
                                        </p:tgtEl>
                                        <p:attrNameLst>
                                          <p:attrName>ppt_x</p:attrName>
                                          <p:attrName>ppt_y</p:attrName>
                                        </p:attrNameLst>
                                      </p:cBhvr>
                                      <p:rCtr x="-1862" y="0"/>
                                    </p:animMotion>
                                  </p:childTnLst>
                                </p:cTn>
                              </p:par>
                              <p:par>
                                <p:cTn id="127" presetID="10" presetClass="entr" presetSubtype="0" fill="hold" nodeType="withEffect">
                                  <p:stCondLst>
                                    <p:cond delay="1750"/>
                                  </p:stCondLst>
                                  <p:childTnLst>
                                    <p:set>
                                      <p:cBhvr>
                                        <p:cTn id="128" dur="1" fill="hold">
                                          <p:stCondLst>
                                            <p:cond delay="0"/>
                                          </p:stCondLst>
                                        </p:cTn>
                                        <p:tgtEl>
                                          <p:spTgt spid="171"/>
                                        </p:tgtEl>
                                        <p:attrNameLst>
                                          <p:attrName>style.visibility</p:attrName>
                                        </p:attrNameLst>
                                      </p:cBhvr>
                                      <p:to>
                                        <p:strVal val="visible"/>
                                      </p:to>
                                    </p:set>
                                    <p:animEffect transition="in" filter="fade">
                                      <p:cBhvr>
                                        <p:cTn id="129" dur="500"/>
                                        <p:tgtEl>
                                          <p:spTgt spid="171"/>
                                        </p:tgtEl>
                                      </p:cBhvr>
                                    </p:animEffect>
                                  </p:childTnLst>
                                </p:cTn>
                              </p:par>
                              <p:par>
                                <p:cTn id="130" presetID="42" presetClass="path" presetSubtype="0" decel="50000" fill="hold" nodeType="withEffect">
                                  <p:stCondLst>
                                    <p:cond delay="1750"/>
                                  </p:stCondLst>
                                  <p:childTnLst>
                                    <p:animMotion origin="layout" path="M 3.33333E-6 0 L -0.03711 0 " pathEditMode="relative" rAng="0" ptsTypes="AA">
                                      <p:cBhvr>
                                        <p:cTn id="131" dur="750" spd="-100000" fill="hold"/>
                                        <p:tgtEl>
                                          <p:spTgt spid="171"/>
                                        </p:tgtEl>
                                        <p:attrNameLst>
                                          <p:attrName>ppt_x</p:attrName>
                                          <p:attrName>ppt_y</p:attrName>
                                        </p:attrNameLst>
                                      </p:cBhvr>
                                      <p:rCtr x="-1862" y="0"/>
                                    </p:animMotion>
                                  </p:childTnLst>
                                </p:cTn>
                              </p:par>
                              <p:par>
                                <p:cTn id="132" presetID="10" presetClass="entr" presetSubtype="0" fill="hold" nodeType="withEffect">
                                  <p:stCondLst>
                                    <p:cond delay="1500"/>
                                  </p:stCondLst>
                                  <p:childTnLst>
                                    <p:set>
                                      <p:cBhvr>
                                        <p:cTn id="133" dur="1" fill="hold">
                                          <p:stCondLst>
                                            <p:cond delay="0"/>
                                          </p:stCondLst>
                                        </p:cTn>
                                        <p:tgtEl>
                                          <p:spTgt spid="177"/>
                                        </p:tgtEl>
                                        <p:attrNameLst>
                                          <p:attrName>style.visibility</p:attrName>
                                        </p:attrNameLst>
                                      </p:cBhvr>
                                      <p:to>
                                        <p:strVal val="visible"/>
                                      </p:to>
                                    </p:set>
                                    <p:animEffect transition="in" filter="fade">
                                      <p:cBhvr>
                                        <p:cTn id="134" dur="500"/>
                                        <p:tgtEl>
                                          <p:spTgt spid="177"/>
                                        </p:tgtEl>
                                      </p:cBhvr>
                                    </p:animEffect>
                                  </p:childTnLst>
                                </p:cTn>
                              </p:par>
                              <p:par>
                                <p:cTn id="135" presetID="42" presetClass="path" presetSubtype="0" decel="50000" fill="hold" nodeType="withEffect">
                                  <p:stCondLst>
                                    <p:cond delay="1500"/>
                                  </p:stCondLst>
                                  <p:childTnLst>
                                    <p:animMotion origin="layout" path="M 1.45833E-6 -2.96296E-6 L -0.00873 -2.96296E-6 " pathEditMode="relative" rAng="0" ptsTypes="AA">
                                      <p:cBhvr>
                                        <p:cTn id="136" dur="750" spd="-100000" fill="hold"/>
                                        <p:tgtEl>
                                          <p:spTgt spid="177"/>
                                        </p:tgtEl>
                                        <p:attrNameLst>
                                          <p:attrName>ppt_x</p:attrName>
                                          <p:attrName>ppt_y</p:attrName>
                                        </p:attrNameLst>
                                      </p:cBhvr>
                                      <p:rCtr x="-443" y="0"/>
                                    </p:animMotion>
                                  </p:childTnLst>
                                </p:cTn>
                              </p:par>
                              <p:par>
                                <p:cTn id="137" presetID="17" presetClass="entr" presetSubtype="8" fill="hold" grpId="0" nodeType="withEffect">
                                  <p:stCondLst>
                                    <p:cond delay="1250"/>
                                  </p:stCondLst>
                                  <p:childTnLst>
                                    <p:set>
                                      <p:cBhvr>
                                        <p:cTn id="138" dur="1" fill="hold">
                                          <p:stCondLst>
                                            <p:cond delay="0"/>
                                          </p:stCondLst>
                                        </p:cTn>
                                        <p:tgtEl>
                                          <p:spTgt spid="94"/>
                                        </p:tgtEl>
                                        <p:attrNameLst>
                                          <p:attrName>style.visibility</p:attrName>
                                        </p:attrNameLst>
                                      </p:cBhvr>
                                      <p:to>
                                        <p:strVal val="visible"/>
                                      </p:to>
                                    </p:set>
                                    <p:anim calcmode="lin" valueType="num">
                                      <p:cBhvr>
                                        <p:cTn id="139" dur="1250" fill="hold"/>
                                        <p:tgtEl>
                                          <p:spTgt spid="94"/>
                                        </p:tgtEl>
                                        <p:attrNameLst>
                                          <p:attrName>ppt_x</p:attrName>
                                        </p:attrNameLst>
                                      </p:cBhvr>
                                      <p:tavLst>
                                        <p:tav tm="0">
                                          <p:val>
                                            <p:strVal val="#ppt_x-#ppt_w/2"/>
                                          </p:val>
                                        </p:tav>
                                        <p:tav tm="100000">
                                          <p:val>
                                            <p:strVal val="#ppt_x"/>
                                          </p:val>
                                        </p:tav>
                                      </p:tavLst>
                                    </p:anim>
                                    <p:anim calcmode="lin" valueType="num">
                                      <p:cBhvr>
                                        <p:cTn id="140" dur="1250" fill="hold"/>
                                        <p:tgtEl>
                                          <p:spTgt spid="94"/>
                                        </p:tgtEl>
                                        <p:attrNameLst>
                                          <p:attrName>ppt_y</p:attrName>
                                        </p:attrNameLst>
                                      </p:cBhvr>
                                      <p:tavLst>
                                        <p:tav tm="0">
                                          <p:val>
                                            <p:strVal val="#ppt_y"/>
                                          </p:val>
                                        </p:tav>
                                        <p:tav tm="100000">
                                          <p:val>
                                            <p:strVal val="#ppt_y"/>
                                          </p:val>
                                        </p:tav>
                                      </p:tavLst>
                                    </p:anim>
                                    <p:anim calcmode="lin" valueType="num">
                                      <p:cBhvr>
                                        <p:cTn id="141" dur="1250" fill="hold"/>
                                        <p:tgtEl>
                                          <p:spTgt spid="94"/>
                                        </p:tgtEl>
                                        <p:attrNameLst>
                                          <p:attrName>ppt_w</p:attrName>
                                        </p:attrNameLst>
                                      </p:cBhvr>
                                      <p:tavLst>
                                        <p:tav tm="0">
                                          <p:val>
                                            <p:fltVal val="0"/>
                                          </p:val>
                                        </p:tav>
                                        <p:tav tm="100000">
                                          <p:val>
                                            <p:strVal val="#ppt_w"/>
                                          </p:val>
                                        </p:tav>
                                      </p:tavLst>
                                    </p:anim>
                                    <p:anim calcmode="lin" valueType="num">
                                      <p:cBhvr>
                                        <p:cTn id="142" dur="1250" fill="hold"/>
                                        <p:tgtEl>
                                          <p:spTgt spid="94"/>
                                        </p:tgtEl>
                                        <p:attrNameLst>
                                          <p:attrName>ppt_h</p:attrName>
                                        </p:attrNameLst>
                                      </p:cBhvr>
                                      <p:tavLst>
                                        <p:tav tm="0">
                                          <p:val>
                                            <p:strVal val="#ppt_h"/>
                                          </p:val>
                                        </p:tav>
                                        <p:tav tm="100000">
                                          <p:val>
                                            <p:strVal val="#ppt_h"/>
                                          </p:val>
                                        </p:tav>
                                      </p:tavLst>
                                    </p:anim>
                                  </p:childTnLst>
                                </p:cTn>
                              </p:par>
                              <p:par>
                                <p:cTn id="143" presetID="17" presetClass="entr" presetSubtype="8" fill="hold" grpId="0" nodeType="withEffect">
                                  <p:stCondLst>
                                    <p:cond delay="1250"/>
                                  </p:stCondLst>
                                  <p:childTnLst>
                                    <p:set>
                                      <p:cBhvr>
                                        <p:cTn id="144" dur="1" fill="hold">
                                          <p:stCondLst>
                                            <p:cond delay="0"/>
                                          </p:stCondLst>
                                        </p:cTn>
                                        <p:tgtEl>
                                          <p:spTgt spid="93"/>
                                        </p:tgtEl>
                                        <p:attrNameLst>
                                          <p:attrName>style.visibility</p:attrName>
                                        </p:attrNameLst>
                                      </p:cBhvr>
                                      <p:to>
                                        <p:strVal val="visible"/>
                                      </p:to>
                                    </p:set>
                                    <p:anim calcmode="lin" valueType="num">
                                      <p:cBhvr>
                                        <p:cTn id="145" dur="1250" fill="hold"/>
                                        <p:tgtEl>
                                          <p:spTgt spid="93"/>
                                        </p:tgtEl>
                                        <p:attrNameLst>
                                          <p:attrName>ppt_x</p:attrName>
                                        </p:attrNameLst>
                                      </p:cBhvr>
                                      <p:tavLst>
                                        <p:tav tm="0">
                                          <p:val>
                                            <p:strVal val="#ppt_x-#ppt_w/2"/>
                                          </p:val>
                                        </p:tav>
                                        <p:tav tm="100000">
                                          <p:val>
                                            <p:strVal val="#ppt_x"/>
                                          </p:val>
                                        </p:tav>
                                      </p:tavLst>
                                    </p:anim>
                                    <p:anim calcmode="lin" valueType="num">
                                      <p:cBhvr>
                                        <p:cTn id="146" dur="1250" fill="hold"/>
                                        <p:tgtEl>
                                          <p:spTgt spid="93"/>
                                        </p:tgtEl>
                                        <p:attrNameLst>
                                          <p:attrName>ppt_y</p:attrName>
                                        </p:attrNameLst>
                                      </p:cBhvr>
                                      <p:tavLst>
                                        <p:tav tm="0">
                                          <p:val>
                                            <p:strVal val="#ppt_y"/>
                                          </p:val>
                                        </p:tav>
                                        <p:tav tm="100000">
                                          <p:val>
                                            <p:strVal val="#ppt_y"/>
                                          </p:val>
                                        </p:tav>
                                      </p:tavLst>
                                    </p:anim>
                                    <p:anim calcmode="lin" valueType="num">
                                      <p:cBhvr>
                                        <p:cTn id="147" dur="1250" fill="hold"/>
                                        <p:tgtEl>
                                          <p:spTgt spid="93"/>
                                        </p:tgtEl>
                                        <p:attrNameLst>
                                          <p:attrName>ppt_w</p:attrName>
                                        </p:attrNameLst>
                                      </p:cBhvr>
                                      <p:tavLst>
                                        <p:tav tm="0">
                                          <p:val>
                                            <p:fltVal val="0"/>
                                          </p:val>
                                        </p:tav>
                                        <p:tav tm="100000">
                                          <p:val>
                                            <p:strVal val="#ppt_w"/>
                                          </p:val>
                                        </p:tav>
                                      </p:tavLst>
                                    </p:anim>
                                    <p:anim calcmode="lin" valueType="num">
                                      <p:cBhvr>
                                        <p:cTn id="148" dur="1250" fill="hold"/>
                                        <p:tgtEl>
                                          <p:spTgt spid="93"/>
                                        </p:tgtEl>
                                        <p:attrNameLst>
                                          <p:attrName>ppt_h</p:attrName>
                                        </p:attrNameLst>
                                      </p:cBhvr>
                                      <p:tavLst>
                                        <p:tav tm="0">
                                          <p:val>
                                            <p:strVal val="#ppt_h"/>
                                          </p:val>
                                        </p:tav>
                                        <p:tav tm="100000">
                                          <p:val>
                                            <p:strVal val="#ppt_h"/>
                                          </p:val>
                                        </p:tav>
                                      </p:tavLst>
                                    </p:anim>
                                  </p:childTnLst>
                                </p:cTn>
                              </p:par>
                              <p:par>
                                <p:cTn id="149" presetID="17" presetClass="entr" presetSubtype="8" fill="hold" grpId="0" nodeType="withEffect">
                                  <p:stCondLst>
                                    <p:cond delay="1250"/>
                                  </p:stCondLst>
                                  <p:childTnLst>
                                    <p:set>
                                      <p:cBhvr>
                                        <p:cTn id="150" dur="1" fill="hold">
                                          <p:stCondLst>
                                            <p:cond delay="0"/>
                                          </p:stCondLst>
                                        </p:cTn>
                                        <p:tgtEl>
                                          <p:spTgt spid="91"/>
                                        </p:tgtEl>
                                        <p:attrNameLst>
                                          <p:attrName>style.visibility</p:attrName>
                                        </p:attrNameLst>
                                      </p:cBhvr>
                                      <p:to>
                                        <p:strVal val="visible"/>
                                      </p:to>
                                    </p:set>
                                    <p:anim calcmode="lin" valueType="num">
                                      <p:cBhvr>
                                        <p:cTn id="151" dur="1250" fill="hold"/>
                                        <p:tgtEl>
                                          <p:spTgt spid="91"/>
                                        </p:tgtEl>
                                        <p:attrNameLst>
                                          <p:attrName>ppt_x</p:attrName>
                                        </p:attrNameLst>
                                      </p:cBhvr>
                                      <p:tavLst>
                                        <p:tav tm="0">
                                          <p:val>
                                            <p:strVal val="#ppt_x-#ppt_w/2"/>
                                          </p:val>
                                        </p:tav>
                                        <p:tav tm="100000">
                                          <p:val>
                                            <p:strVal val="#ppt_x"/>
                                          </p:val>
                                        </p:tav>
                                      </p:tavLst>
                                    </p:anim>
                                    <p:anim calcmode="lin" valueType="num">
                                      <p:cBhvr>
                                        <p:cTn id="152" dur="1250" fill="hold"/>
                                        <p:tgtEl>
                                          <p:spTgt spid="91"/>
                                        </p:tgtEl>
                                        <p:attrNameLst>
                                          <p:attrName>ppt_y</p:attrName>
                                        </p:attrNameLst>
                                      </p:cBhvr>
                                      <p:tavLst>
                                        <p:tav tm="0">
                                          <p:val>
                                            <p:strVal val="#ppt_y"/>
                                          </p:val>
                                        </p:tav>
                                        <p:tav tm="100000">
                                          <p:val>
                                            <p:strVal val="#ppt_y"/>
                                          </p:val>
                                        </p:tav>
                                      </p:tavLst>
                                    </p:anim>
                                    <p:anim calcmode="lin" valueType="num">
                                      <p:cBhvr>
                                        <p:cTn id="153" dur="1250" fill="hold"/>
                                        <p:tgtEl>
                                          <p:spTgt spid="91"/>
                                        </p:tgtEl>
                                        <p:attrNameLst>
                                          <p:attrName>ppt_w</p:attrName>
                                        </p:attrNameLst>
                                      </p:cBhvr>
                                      <p:tavLst>
                                        <p:tav tm="0">
                                          <p:val>
                                            <p:fltVal val="0"/>
                                          </p:val>
                                        </p:tav>
                                        <p:tav tm="100000">
                                          <p:val>
                                            <p:strVal val="#ppt_w"/>
                                          </p:val>
                                        </p:tav>
                                      </p:tavLst>
                                    </p:anim>
                                    <p:anim calcmode="lin" valueType="num">
                                      <p:cBhvr>
                                        <p:cTn id="154" dur="1250" fill="hold"/>
                                        <p:tgtEl>
                                          <p:spTgt spid="91"/>
                                        </p:tgtEl>
                                        <p:attrNameLst>
                                          <p:attrName>ppt_h</p:attrName>
                                        </p:attrNameLst>
                                      </p:cBhvr>
                                      <p:tavLst>
                                        <p:tav tm="0">
                                          <p:val>
                                            <p:strVal val="#ppt_h"/>
                                          </p:val>
                                        </p:tav>
                                        <p:tav tm="100000">
                                          <p:val>
                                            <p:strVal val="#ppt_h"/>
                                          </p:val>
                                        </p:tav>
                                      </p:tavLst>
                                    </p:anim>
                                  </p:childTnLst>
                                </p:cTn>
                              </p:par>
                              <p:par>
                                <p:cTn id="155" presetID="10" presetClass="entr" presetSubtype="0" fill="hold" nodeType="withEffect">
                                  <p:stCondLst>
                                    <p:cond delay="1500"/>
                                  </p:stCondLst>
                                  <p:childTnLst>
                                    <p:set>
                                      <p:cBhvr>
                                        <p:cTn id="156" dur="1" fill="hold">
                                          <p:stCondLst>
                                            <p:cond delay="0"/>
                                          </p:stCondLst>
                                        </p:cTn>
                                        <p:tgtEl>
                                          <p:spTgt spid="181"/>
                                        </p:tgtEl>
                                        <p:attrNameLst>
                                          <p:attrName>style.visibility</p:attrName>
                                        </p:attrNameLst>
                                      </p:cBhvr>
                                      <p:to>
                                        <p:strVal val="visible"/>
                                      </p:to>
                                    </p:set>
                                    <p:animEffect transition="in" filter="fade">
                                      <p:cBhvr>
                                        <p:cTn id="157" dur="500"/>
                                        <p:tgtEl>
                                          <p:spTgt spid="181"/>
                                        </p:tgtEl>
                                      </p:cBhvr>
                                    </p:animEffect>
                                  </p:childTnLst>
                                </p:cTn>
                              </p:par>
                              <p:par>
                                <p:cTn id="158" presetID="42" presetClass="path" presetSubtype="0" decel="50000" fill="hold" nodeType="withEffect">
                                  <p:stCondLst>
                                    <p:cond delay="1500"/>
                                  </p:stCondLst>
                                  <p:childTnLst>
                                    <p:animMotion origin="layout" path="M 1.66667E-6 -4.44444E-6 L -0.00873 -4.44444E-6 " pathEditMode="relative" rAng="0" ptsTypes="AA">
                                      <p:cBhvr>
                                        <p:cTn id="159" dur="750" spd="-100000" fill="hold"/>
                                        <p:tgtEl>
                                          <p:spTgt spid="181"/>
                                        </p:tgtEl>
                                        <p:attrNameLst>
                                          <p:attrName>ppt_x</p:attrName>
                                          <p:attrName>ppt_y</p:attrName>
                                        </p:attrNameLst>
                                      </p:cBhvr>
                                      <p:rCtr x="-443" y="0"/>
                                    </p:animMotion>
                                  </p:childTnLst>
                                </p:cTn>
                              </p:par>
                              <p:par>
                                <p:cTn id="160" presetID="10" presetClass="entr" presetSubtype="0" fill="hold" nodeType="withEffect">
                                  <p:stCondLst>
                                    <p:cond delay="150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42" presetClass="path" presetSubtype="0" decel="50000" fill="hold" nodeType="withEffect">
                                  <p:stCondLst>
                                    <p:cond delay="1500"/>
                                  </p:stCondLst>
                                  <p:childTnLst>
                                    <p:animMotion origin="layout" path="M 1.45833E-6 -2.96296E-6 L -0.00873 -2.96296E-6 " pathEditMode="relative" rAng="0" ptsTypes="AA">
                                      <p:cBhvr>
                                        <p:cTn id="164" dur="750" spd="-100000" fill="hold"/>
                                        <p:tgtEl>
                                          <p:spTgt spid="187"/>
                                        </p:tgtEl>
                                        <p:attrNameLst>
                                          <p:attrName>ppt_x</p:attrName>
                                          <p:attrName>ppt_y</p:attrName>
                                        </p:attrNameLst>
                                      </p:cBhvr>
                                      <p:rCtr x="-44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11" grpId="0" animBg="1"/>
      <p:bldP spid="11" grpId="1" animBg="1"/>
      <p:bldP spid="2" grpId="0"/>
      <p:bldP spid="2" grpId="1"/>
      <p:bldP spid="91" grpId="0" animBg="1"/>
      <p:bldP spid="93" grpId="0" animBg="1"/>
      <p:bldP spid="94" grpId="0" animBg="1"/>
      <p:bldP spid="95" grpId="0" animBg="1"/>
      <p:bldP spid="95" grpId="1" animBg="1"/>
      <p:bldP spid="108" grpId="0" animBg="1"/>
      <p:bldP spid="108" grpId="1" animBg="1"/>
      <p:bldP spid="118" grpId="0" animBg="1"/>
      <p:bldP spid="118" grpId="1" animBg="1"/>
      <p:bldP spid="139" grpId="0" animBg="1"/>
      <p:bldP spid="139" grpId="1" animBg="1"/>
      <p:bldP spid="140" grpId="0" animBg="1"/>
      <p:bldP spid="140" grpId="1" animBg="1"/>
      <p:bldP spid="141" grpId="0" animBg="1"/>
      <p:bldP spid="141" grpId="1" animBg="1"/>
      <p:bldP spid="145" grpId="0" animBg="1"/>
      <p:bldP spid="145" grpId="1" animBg="1"/>
      <p:bldP spid="146" grpId="0" animBg="1"/>
      <p:bldP spid="146" grpId="1" animBg="1"/>
      <p:bldP spid="147" grpId="0" animBg="1"/>
      <p:bldP spid="147" grpId="1" animBg="1"/>
      <p:bldP spid="157" grpId="0"/>
      <p:bldP spid="157" grpId="1"/>
      <p:bldP spid="158" grpId="0"/>
      <p:bldP spid="158" grpId="1"/>
      <p:bldP spid="159" grpId="0"/>
      <p:bldP spid="159"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0304" y="372355"/>
            <a:ext cx="10524564" cy="734804"/>
          </a:xfrm>
        </p:spPr>
        <p:txBody>
          <a:bodyPr/>
          <a:lstStyle/>
          <a:p>
            <a:r>
              <a:rPr lang="en-US" sz="3600" b="1" dirty="0"/>
              <a:t>BSNL Smart City Engagements - </a:t>
            </a:r>
            <a:r>
              <a:rPr lang="en-US" sz="3600" b="1" dirty="0">
                <a:solidFill>
                  <a:schemeClr val="accent6">
                    <a:lumMod val="75000"/>
                  </a:schemeClr>
                </a:solidFill>
              </a:rPr>
              <a:t>Smart Toilets Online feedback, Municipal Authorities</a:t>
            </a:r>
          </a:p>
        </p:txBody>
      </p:sp>
      <p:pic>
        <p:nvPicPr>
          <p:cNvPr id="17" name="Picture 16">
            <a:extLst>
              <a:ext uri="{FF2B5EF4-FFF2-40B4-BE49-F238E27FC236}">
                <a16:creationId xmlns:a16="http://schemas.microsoft.com/office/drawing/2014/main" xmlns="" id="{FFBA1268-2D5B-48FC-AEB6-A81DB1BDBA09}"/>
              </a:ext>
            </a:extLst>
          </p:cNvPr>
          <p:cNvPicPr>
            <a:picLocks noChangeAspect="1"/>
          </p:cNvPicPr>
          <p:nvPr/>
        </p:nvPicPr>
        <p:blipFill>
          <a:blip r:embed="rId3" cstate="print"/>
          <a:stretch>
            <a:fillRect/>
          </a:stretch>
        </p:blipFill>
        <p:spPr>
          <a:xfrm>
            <a:off x="6199150" y="1333501"/>
            <a:ext cx="5192750" cy="2322144"/>
          </a:xfrm>
          <a:prstGeom prst="rect">
            <a:avLst/>
          </a:prstGeom>
        </p:spPr>
      </p:pic>
      <p:sp>
        <p:nvSpPr>
          <p:cNvPr id="18" name="TextBox 17"/>
          <p:cNvSpPr txBox="1"/>
          <p:nvPr/>
        </p:nvSpPr>
        <p:spPr>
          <a:xfrm>
            <a:off x="6199150" y="4057587"/>
            <a:ext cx="5192750" cy="2343214"/>
          </a:xfrm>
          <a:prstGeom prst="rect">
            <a:avLst/>
          </a:prstGeom>
          <a:noFill/>
          <a:ln>
            <a:solidFill>
              <a:schemeClr val="tx2"/>
            </a:solidFill>
          </a:ln>
        </p:spPr>
        <p:txBody>
          <a:bodyPr wrap="square" lIns="54610" tIns="54610" rIns="54610" bIns="54610" rtlCol="0" anchor="ctr">
            <a:noAutofit/>
          </a:bodyPr>
          <a:lstStyle/>
          <a:p>
            <a:pPr marL="285750" indent="-169863">
              <a:lnSpc>
                <a:spcPct val="150000"/>
              </a:lnSpc>
              <a:spcAft>
                <a:spcPts val="600"/>
              </a:spcAft>
              <a:buFont typeface="Arial" panose="020B0604020202020204" pitchFamily="34" charset="0"/>
              <a:buChar char="•"/>
              <a:defRPr/>
            </a:pPr>
            <a:r>
              <a:rPr lang="en-US" sz="1600" dirty="0">
                <a:solidFill>
                  <a:srgbClr val="000000"/>
                </a:solidFill>
                <a:latin typeface="Calibri" panose="020F0502020204030204" pitchFamily="34" charset="0"/>
                <a:cs typeface="Calibri" panose="020F0502020204030204" pitchFamily="34" charset="0"/>
              </a:rPr>
              <a:t>Public feedback on cleanliness</a:t>
            </a:r>
          </a:p>
          <a:p>
            <a:pPr marL="285750" indent="-169863">
              <a:lnSpc>
                <a:spcPct val="150000"/>
              </a:lnSpc>
              <a:spcAft>
                <a:spcPts val="600"/>
              </a:spcAft>
              <a:buFont typeface="Arial" panose="020B0604020202020204" pitchFamily="34" charset="0"/>
              <a:buChar char="•"/>
              <a:defRPr/>
            </a:pPr>
            <a:r>
              <a:rPr lang="en-US" sz="1600" dirty="0">
                <a:solidFill>
                  <a:srgbClr val="000000"/>
                </a:solidFill>
                <a:latin typeface="Calibri" panose="020F0502020204030204" pitchFamily="34" charset="0"/>
                <a:cs typeface="Calibri" panose="020F0502020204030204" pitchFamily="34" charset="0"/>
              </a:rPr>
              <a:t>Fast-track redressal of deficiencies reported through feedback</a:t>
            </a:r>
          </a:p>
          <a:p>
            <a:pPr marL="285750" indent="-169863">
              <a:lnSpc>
                <a:spcPct val="150000"/>
              </a:lnSpc>
              <a:spcAft>
                <a:spcPts val="600"/>
              </a:spcAft>
              <a:buFont typeface="Arial" panose="020B0604020202020204" pitchFamily="34" charset="0"/>
              <a:buChar char="•"/>
              <a:defRPr/>
            </a:pPr>
            <a:r>
              <a:rPr lang="en-US" sz="1600" dirty="0">
                <a:solidFill>
                  <a:srgbClr val="000000"/>
                </a:solidFill>
                <a:latin typeface="Calibri" panose="020F0502020204030204" pitchFamily="34" charset="0"/>
                <a:cs typeface="Calibri" panose="020F0502020204030204" pitchFamily="34" charset="0"/>
              </a:rPr>
              <a:t>Data of toilet usage and patterns leading to effective Planning of sanitation facilities</a:t>
            </a:r>
          </a:p>
          <a:p>
            <a:pPr marL="285750" indent="-169863">
              <a:lnSpc>
                <a:spcPct val="150000"/>
              </a:lnSpc>
              <a:spcAft>
                <a:spcPts val="600"/>
              </a:spcAft>
              <a:buFont typeface="Arial" panose="020B0604020202020204" pitchFamily="34" charset="0"/>
              <a:buChar char="•"/>
              <a:defRPr/>
            </a:pPr>
            <a:r>
              <a:rPr lang="en-US" sz="1600" dirty="0">
                <a:solidFill>
                  <a:srgbClr val="000000"/>
                </a:solidFill>
                <a:latin typeface="Calibri" panose="020F0502020204030204" pitchFamily="34" charset="0"/>
                <a:cs typeface="Calibri" panose="020F0502020204030204" pitchFamily="34" charset="0"/>
              </a:rPr>
              <a:t> Service delivery improvement for public</a:t>
            </a:r>
          </a:p>
        </p:txBody>
      </p:sp>
      <p:sp>
        <p:nvSpPr>
          <p:cNvPr id="19" name="Rectangle 18"/>
          <p:cNvSpPr/>
          <p:nvPr/>
        </p:nvSpPr>
        <p:spPr>
          <a:xfrm>
            <a:off x="6199150" y="3652255"/>
            <a:ext cx="5192750" cy="391884"/>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Salient Features of the System</a:t>
            </a:r>
          </a:p>
        </p:txBody>
      </p:sp>
      <p:pic>
        <p:nvPicPr>
          <p:cNvPr id="20" name="Picture 19"/>
          <p:cNvPicPr/>
          <p:nvPr/>
        </p:nvPicPr>
        <p:blipFill>
          <a:blip r:embed="rId4" cstate="print">
            <a:extLst>
              <a:ext uri="{28A0092B-C50C-407E-A947-70E740481C1C}">
                <a14:useLocalDpi xmlns:a14="http://schemas.microsoft.com/office/drawing/2010/main" val="0"/>
              </a:ext>
            </a:extLst>
          </a:blip>
          <a:stretch>
            <a:fillRect/>
          </a:stretch>
        </p:blipFill>
        <p:spPr>
          <a:xfrm>
            <a:off x="838200" y="1333499"/>
            <a:ext cx="5239872" cy="2454729"/>
          </a:xfrm>
          <a:prstGeom prst="rect">
            <a:avLst/>
          </a:prstGeom>
          <a:ln>
            <a:solidFill>
              <a:schemeClr val="tx2"/>
            </a:solidFill>
          </a:ln>
        </p:spPr>
      </p:pic>
      <p:graphicFrame>
        <p:nvGraphicFramePr>
          <p:cNvPr id="13" name="Diagram 12"/>
          <p:cNvGraphicFramePr/>
          <p:nvPr/>
        </p:nvGraphicFramePr>
        <p:xfrm>
          <a:off x="838200" y="3900489"/>
          <a:ext cx="5239872" cy="272891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5285748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200" y="365126"/>
            <a:ext cx="10524564" cy="734804"/>
          </a:xfrm>
        </p:spPr>
        <p:txBody>
          <a:bodyPr/>
          <a:lstStyle/>
          <a:p>
            <a:r>
              <a:rPr lang="en-US" sz="3600" b="1" dirty="0"/>
              <a:t>BSNL Smart City Engagements </a:t>
            </a:r>
            <a:r>
              <a:rPr lang="en-US" sz="3600" b="1" dirty="0">
                <a:solidFill>
                  <a:schemeClr val="accent6">
                    <a:lumMod val="75000"/>
                  </a:schemeClr>
                </a:solidFill>
              </a:rPr>
              <a:t>- Modernizing Indian Prisons, Bihar</a:t>
            </a:r>
          </a:p>
        </p:txBody>
      </p:sp>
      <p:sp>
        <p:nvSpPr>
          <p:cNvPr id="5" name="TextBox 4"/>
          <p:cNvSpPr txBox="1"/>
          <p:nvPr/>
        </p:nvSpPr>
        <p:spPr>
          <a:xfrm>
            <a:off x="6170014" y="4383313"/>
            <a:ext cx="5192750" cy="1992273"/>
          </a:xfrm>
          <a:prstGeom prst="rect">
            <a:avLst/>
          </a:prstGeom>
          <a:noFill/>
          <a:ln>
            <a:solidFill>
              <a:schemeClr val="tx2"/>
            </a:solidFill>
          </a:ln>
        </p:spPr>
        <p:txBody>
          <a:bodyPr wrap="square" lIns="54610" tIns="54610" rIns="54610" bIns="54610" rtlCol="0" anchor="ctr">
            <a:noAutofit/>
          </a:bodyPr>
          <a:lstStyle/>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Improves overall administration of Prisons</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Data of all the calls are recorded on central server</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Connectivity in Prison</a:t>
            </a:r>
          </a:p>
          <a:p>
            <a:pPr marL="285750" indent="-169863">
              <a:lnSpc>
                <a:spcPct val="150000"/>
              </a:lnSpc>
              <a:buFont typeface="Arial" panose="020B0604020202020204" pitchFamily="34" charset="0"/>
              <a:buChar char="•"/>
            </a:pPr>
            <a:r>
              <a:rPr lang="en-US" sz="1600" dirty="0">
                <a:solidFill>
                  <a:srgbClr val="000000"/>
                </a:solidFill>
                <a:latin typeface="Calibri" panose="020F0502020204030204" pitchFamily="34" charset="0"/>
                <a:cs typeface="Calibri" panose="020F0502020204030204" pitchFamily="34" charset="0"/>
              </a:rPr>
              <a:t> Part of the e-Prison initiative of Indian Government</a:t>
            </a:r>
          </a:p>
        </p:txBody>
      </p:sp>
      <p:pic>
        <p:nvPicPr>
          <p:cNvPr id="7" name="Picture 6"/>
          <p:cNvPicPr>
            <a:picLocks noChangeAspect="1"/>
          </p:cNvPicPr>
          <p:nvPr/>
        </p:nvPicPr>
        <p:blipFill>
          <a:blip r:embed="rId3" cstate="print"/>
          <a:stretch>
            <a:fillRect/>
          </a:stretch>
        </p:blipFill>
        <p:spPr>
          <a:xfrm>
            <a:off x="6170014" y="1333500"/>
            <a:ext cx="2638450" cy="2519527"/>
          </a:xfrm>
          <a:prstGeom prst="rect">
            <a:avLst/>
          </a:prstGeom>
        </p:spPr>
      </p:pic>
      <p:pic>
        <p:nvPicPr>
          <p:cNvPr id="8" name="Picture 7"/>
          <p:cNvPicPr>
            <a:picLocks noChangeAspect="1"/>
          </p:cNvPicPr>
          <p:nvPr/>
        </p:nvPicPr>
        <p:blipFill>
          <a:blip r:embed="rId4" cstate="print"/>
          <a:stretch>
            <a:fillRect/>
          </a:stretch>
        </p:blipFill>
        <p:spPr>
          <a:xfrm>
            <a:off x="8808464" y="1333500"/>
            <a:ext cx="2627473" cy="2519527"/>
          </a:xfrm>
          <a:prstGeom prst="rect">
            <a:avLst/>
          </a:prstGeom>
          <a:solidFill>
            <a:schemeClr val="tx2">
              <a:lumMod val="20000"/>
              <a:lumOff val="80000"/>
            </a:schemeClr>
          </a:solidFill>
        </p:spPr>
      </p:pic>
      <p:sp>
        <p:nvSpPr>
          <p:cNvPr id="3" name="Rectangle 2"/>
          <p:cNvSpPr/>
          <p:nvPr/>
        </p:nvSpPr>
        <p:spPr>
          <a:xfrm>
            <a:off x="6170014" y="3991429"/>
            <a:ext cx="5192750" cy="3918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Salient Features of the System</a:t>
            </a:r>
          </a:p>
        </p:txBody>
      </p:sp>
      <p:pic>
        <p:nvPicPr>
          <p:cNvPr id="9" name="Picture 8"/>
          <p:cNvPicPr>
            <a:picLocks noChangeAspect="1"/>
          </p:cNvPicPr>
          <p:nvPr/>
        </p:nvPicPr>
        <p:blipFill>
          <a:blip r:embed="rId5" cstate="print"/>
          <a:stretch>
            <a:fillRect/>
          </a:stretch>
        </p:blipFill>
        <p:spPr>
          <a:xfrm>
            <a:off x="838200" y="4132757"/>
            <a:ext cx="5201188" cy="2268043"/>
          </a:xfrm>
          <a:prstGeom prst="rect">
            <a:avLst/>
          </a:prstGeom>
          <a:ln>
            <a:solidFill>
              <a:srgbClr val="00468A"/>
            </a:solidFill>
          </a:ln>
        </p:spPr>
      </p:pic>
      <p:sp>
        <p:nvSpPr>
          <p:cNvPr id="4" name="Rectangle 3"/>
          <p:cNvSpPr/>
          <p:nvPr/>
        </p:nvSpPr>
        <p:spPr>
          <a:xfrm>
            <a:off x="838200" y="1333500"/>
            <a:ext cx="5201187"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BSNL is executing Prison Calling Project wherein 105 Calling and information kiosks in 57 Jails</a:t>
            </a:r>
          </a:p>
        </p:txBody>
      </p:sp>
      <p:sp>
        <p:nvSpPr>
          <p:cNvPr id="16" name="Rectangle 15"/>
          <p:cNvSpPr/>
          <p:nvPr/>
        </p:nvSpPr>
        <p:spPr>
          <a:xfrm>
            <a:off x="838200" y="1881008"/>
            <a:ext cx="5201188" cy="505155"/>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3 Kiosks in each Central Jail </a:t>
            </a:r>
          </a:p>
        </p:txBody>
      </p:sp>
      <p:sp>
        <p:nvSpPr>
          <p:cNvPr id="17" name="Rectangle 16"/>
          <p:cNvSpPr/>
          <p:nvPr/>
        </p:nvSpPr>
        <p:spPr>
          <a:xfrm>
            <a:off x="838200" y="2415057"/>
            <a:ext cx="5201188"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2 Kiosks in each District Jail</a:t>
            </a:r>
          </a:p>
        </p:txBody>
      </p:sp>
      <p:sp>
        <p:nvSpPr>
          <p:cNvPr id="18" name="Rectangle 17"/>
          <p:cNvSpPr/>
          <p:nvPr/>
        </p:nvSpPr>
        <p:spPr>
          <a:xfrm>
            <a:off x="838200" y="2992297"/>
            <a:ext cx="5201188"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1 Kiosk in Sub-Jain</a:t>
            </a:r>
          </a:p>
        </p:txBody>
      </p:sp>
      <p:sp>
        <p:nvSpPr>
          <p:cNvPr id="19" name="Rectangle 18"/>
          <p:cNvSpPr/>
          <p:nvPr/>
        </p:nvSpPr>
        <p:spPr>
          <a:xfrm>
            <a:off x="838200" y="3545520"/>
            <a:ext cx="5201188" cy="524329"/>
          </a:xfrm>
          <a:prstGeom prst="rect">
            <a:avLst/>
          </a:prstGeom>
          <a:no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srgbClr val="00338D"/>
                </a:solidFill>
                <a:latin typeface="Calibri" panose="020F0502020204030204" pitchFamily="34" charset="0"/>
                <a:cs typeface="Calibri" panose="020F0502020204030204" pitchFamily="34" charset="0"/>
              </a:rPr>
              <a:t>1 MBPS connection in each location</a:t>
            </a:r>
          </a:p>
        </p:txBody>
      </p:sp>
    </p:spTree>
    <p:extLst>
      <p:ext uri="{BB962C8B-B14F-4D97-AF65-F5344CB8AC3E}">
        <p14:creationId xmlns:p14="http://schemas.microsoft.com/office/powerpoint/2010/main" val="105018216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838200" y="365126"/>
            <a:ext cx="10524564" cy="734804"/>
          </a:xfrm>
        </p:spPr>
        <p:txBody>
          <a:bodyPr/>
          <a:lstStyle/>
          <a:p>
            <a:r>
              <a:rPr lang="en-US" sz="3600" b="1" dirty="0"/>
              <a:t>BSNL Smart City Engagements </a:t>
            </a:r>
            <a:r>
              <a:rPr lang="en-US" sz="3600" b="1" dirty="0">
                <a:solidFill>
                  <a:schemeClr val="accent6">
                    <a:lumMod val="75000"/>
                  </a:schemeClr>
                </a:solidFill>
              </a:rPr>
              <a:t>- Smart Pole in Bhagalpur, Ghazipur</a:t>
            </a:r>
          </a:p>
        </p:txBody>
      </p:sp>
      <p:grpSp>
        <p:nvGrpSpPr>
          <p:cNvPr id="13" name="Group 12"/>
          <p:cNvGrpSpPr/>
          <p:nvPr/>
        </p:nvGrpSpPr>
        <p:grpSpPr>
          <a:xfrm>
            <a:off x="814614" y="1333500"/>
            <a:ext cx="10400705" cy="5067300"/>
            <a:chOff x="238572" y="1082533"/>
            <a:chExt cx="11636284" cy="5067300"/>
          </a:xfrm>
        </p:grpSpPr>
        <p:pic>
          <p:nvPicPr>
            <p:cNvPr id="15" name="Picture 14">
              <a:extLst>
                <a:ext uri="{FF2B5EF4-FFF2-40B4-BE49-F238E27FC236}">
                  <a16:creationId xmlns:a16="http://schemas.microsoft.com/office/drawing/2014/main" xmlns="" id="{791AFC50-02DA-45B6-95B5-32C431748C6C}"/>
                </a:ext>
              </a:extLst>
            </p:cNvPr>
            <p:cNvPicPr>
              <a:picLocks noChangeAspect="1"/>
            </p:cNvPicPr>
            <p:nvPr/>
          </p:nvPicPr>
          <p:blipFill>
            <a:blip r:embed="rId3" cstate="print"/>
            <a:stretch>
              <a:fillRect/>
            </a:stretch>
          </p:blipFill>
          <p:spPr>
            <a:xfrm>
              <a:off x="4550648" y="1082533"/>
              <a:ext cx="2222500" cy="5067300"/>
            </a:xfrm>
            <a:prstGeom prst="rect">
              <a:avLst/>
            </a:prstGeom>
          </p:spPr>
        </p:pic>
        <p:sp>
          <p:nvSpPr>
            <p:cNvPr id="20" name="TextBox 19"/>
            <p:cNvSpPr txBox="1"/>
            <p:nvPr/>
          </p:nvSpPr>
          <p:spPr>
            <a:xfrm>
              <a:off x="1483124" y="5058229"/>
              <a:ext cx="2591137" cy="1078317"/>
            </a:xfrm>
            <a:prstGeom prst="rect">
              <a:avLst/>
            </a:prstGeom>
            <a:noFill/>
            <a:ln>
              <a:solidFill>
                <a:srgbClr val="00B050"/>
              </a:solidFill>
              <a:prstDash val="dash"/>
            </a:ln>
          </p:spPr>
          <p:txBody>
            <a:bodyPr wrap="square" lIns="54610" tIns="54610" rIns="54610" bIns="54610" rtlCol="0">
              <a:noAutofit/>
            </a:bodyPr>
            <a:lstStyle>
              <a:defPPr>
                <a:defRPr lang="en-US"/>
              </a:defPPr>
              <a:lvl1pPr>
                <a:spcAft>
                  <a:spcPts val="600"/>
                </a:spcAft>
                <a:defRPr sz="1500" b="1" u="sng">
                  <a:solidFill>
                    <a:schemeClr val="tx2"/>
                  </a:solidFill>
                </a:defRPr>
              </a:lvl1pPr>
            </a:lstStyle>
            <a:p>
              <a:r>
                <a:rPr lang="en-US" dirty="0">
                  <a:solidFill>
                    <a:srgbClr val="00338D"/>
                  </a:solidFill>
                  <a:latin typeface="Calibri" panose="020F0502020204030204" pitchFamily="34" charset="0"/>
                  <a:cs typeface="Calibri" panose="020F0502020204030204" pitchFamily="34" charset="0"/>
                </a:rPr>
                <a:t>Emergency Call</a:t>
              </a:r>
            </a:p>
            <a:p>
              <a:pPr marL="285750" indent="-285750">
                <a:buFont typeface="Wingdings" panose="05000000000000000000" pitchFamily="2" charset="2"/>
                <a:buChar char="ü"/>
              </a:pPr>
              <a:r>
                <a:rPr lang="en-US" sz="1400" b="0" u="none" dirty="0">
                  <a:solidFill>
                    <a:srgbClr val="00338D">
                      <a:lumMod val="60000"/>
                      <a:lumOff val="40000"/>
                    </a:srgbClr>
                  </a:solidFill>
                  <a:latin typeface="Calibri" panose="020F0502020204030204" pitchFamily="34" charset="0"/>
                  <a:cs typeface="Calibri" panose="020F0502020204030204" pitchFamily="34" charset="0"/>
                </a:rPr>
                <a:t>Field Contact with Monitoring Centre/ Helpline stations</a:t>
              </a:r>
            </a:p>
          </p:txBody>
        </p:sp>
        <p:pic>
          <p:nvPicPr>
            <p:cNvPr id="21" name="Picture 20"/>
            <p:cNvPicPr>
              <a:picLocks noChangeAspect="1"/>
            </p:cNvPicPr>
            <p:nvPr/>
          </p:nvPicPr>
          <p:blipFill>
            <a:blip r:embed="rId4" cstate="print"/>
            <a:stretch>
              <a:fillRect/>
            </a:stretch>
          </p:blipFill>
          <p:spPr>
            <a:xfrm>
              <a:off x="5281869" y="3357563"/>
              <a:ext cx="820874" cy="761838"/>
            </a:xfrm>
            <a:prstGeom prst="rect">
              <a:avLst/>
            </a:prstGeom>
          </p:spPr>
        </p:pic>
        <p:sp>
          <p:nvSpPr>
            <p:cNvPr id="22" name="TextBox 21"/>
            <p:cNvSpPr txBox="1"/>
            <p:nvPr/>
          </p:nvSpPr>
          <p:spPr>
            <a:xfrm>
              <a:off x="1488109" y="3725019"/>
              <a:ext cx="2586151" cy="1035006"/>
            </a:xfrm>
            <a:prstGeom prst="rect">
              <a:avLst/>
            </a:prstGeom>
            <a:noFill/>
            <a:ln>
              <a:solidFill>
                <a:srgbClr val="00B050"/>
              </a:solidFill>
              <a:prstDash val="dash"/>
            </a:ln>
          </p:spPr>
          <p:txBody>
            <a:bodyPr wrap="square" lIns="54610" tIns="54610" rIns="54610" bIns="54610" rtlCol="0">
              <a:noAutofit/>
            </a:bodyPr>
            <a:lstStyle>
              <a:defPPr>
                <a:defRPr lang="en-US"/>
              </a:defPPr>
              <a:lvl1pPr>
                <a:spcAft>
                  <a:spcPts val="600"/>
                </a:spcAft>
                <a:defRPr sz="1500" b="1" u="sng">
                  <a:solidFill>
                    <a:schemeClr val="tx2"/>
                  </a:solidFill>
                </a:defRPr>
              </a:lvl1pPr>
            </a:lstStyle>
            <a:p>
              <a:r>
                <a:rPr lang="en-US" dirty="0">
                  <a:solidFill>
                    <a:srgbClr val="00338D"/>
                  </a:solidFill>
                  <a:latin typeface="Calibri" panose="020F0502020204030204" pitchFamily="34" charset="0"/>
                  <a:cs typeface="Calibri" panose="020F0502020204030204" pitchFamily="34" charset="0"/>
                </a:rPr>
                <a:t>Information Display</a:t>
              </a:r>
            </a:p>
            <a:p>
              <a:pPr marL="285750" indent="-285750">
                <a:spcAft>
                  <a:spcPts val="0"/>
                </a:spcAft>
                <a:buFont typeface="Wingdings" panose="05000000000000000000" pitchFamily="2" charset="2"/>
                <a:buChar char="ü"/>
              </a:pPr>
              <a:r>
                <a:rPr lang="en-US" sz="1400" b="0" u="none" dirty="0">
                  <a:solidFill>
                    <a:srgbClr val="00338D">
                      <a:lumMod val="60000"/>
                      <a:lumOff val="40000"/>
                    </a:srgbClr>
                  </a:solidFill>
                  <a:latin typeface="Calibri" panose="020F0502020204030204" pitchFamily="34" charset="0"/>
                  <a:cs typeface="Calibri" panose="020F0502020204030204" pitchFamily="34" charset="0"/>
                </a:rPr>
                <a:t>Advertising</a:t>
              </a:r>
            </a:p>
            <a:p>
              <a:pPr marL="285750" indent="-285750">
                <a:spcAft>
                  <a:spcPts val="0"/>
                </a:spcAft>
                <a:buFont typeface="Wingdings" panose="05000000000000000000" pitchFamily="2" charset="2"/>
                <a:buChar char="ü"/>
              </a:pPr>
              <a:r>
                <a:rPr lang="en-US" sz="1400" b="0" u="none" dirty="0">
                  <a:solidFill>
                    <a:srgbClr val="00338D">
                      <a:lumMod val="60000"/>
                      <a:lumOff val="40000"/>
                    </a:srgbClr>
                  </a:solidFill>
                  <a:latin typeface="Calibri" panose="020F0502020204030204" pitchFamily="34" charset="0"/>
                  <a:cs typeface="Calibri" panose="020F0502020204030204" pitchFamily="34" charset="0"/>
                </a:rPr>
                <a:t>Political news</a:t>
              </a:r>
            </a:p>
            <a:p>
              <a:pPr marL="285750" indent="-285750">
                <a:spcAft>
                  <a:spcPts val="0"/>
                </a:spcAft>
                <a:buFont typeface="Wingdings" panose="05000000000000000000" pitchFamily="2" charset="2"/>
                <a:buChar char="ü"/>
              </a:pPr>
              <a:r>
                <a:rPr lang="en-US" sz="1400" b="0" u="none" dirty="0">
                  <a:solidFill>
                    <a:srgbClr val="00338D">
                      <a:lumMod val="60000"/>
                      <a:lumOff val="40000"/>
                    </a:srgbClr>
                  </a:solidFill>
                  <a:latin typeface="Calibri" panose="020F0502020204030204" pitchFamily="34" charset="0"/>
                  <a:cs typeface="Calibri" panose="020F0502020204030204" pitchFamily="34" charset="0"/>
                </a:rPr>
                <a:t>Information release</a:t>
              </a:r>
            </a:p>
          </p:txBody>
        </p:sp>
        <p:sp>
          <p:nvSpPr>
            <p:cNvPr id="23" name="TextBox 22"/>
            <p:cNvSpPr txBox="1"/>
            <p:nvPr/>
          </p:nvSpPr>
          <p:spPr>
            <a:xfrm>
              <a:off x="7392978" y="4689436"/>
              <a:ext cx="2628900" cy="1043590"/>
            </a:xfrm>
            <a:prstGeom prst="rect">
              <a:avLst/>
            </a:prstGeom>
            <a:noFill/>
            <a:ln>
              <a:solidFill>
                <a:srgbClr val="00B050"/>
              </a:solidFill>
              <a:prstDash val="dash"/>
            </a:ln>
          </p:spPr>
          <p:txBody>
            <a:bodyPr wrap="square" lIns="54610" tIns="54610" rIns="54610" bIns="54610" rtlCol="0">
              <a:noAutofit/>
            </a:bodyPr>
            <a:lstStyle/>
            <a:p>
              <a:pPr>
                <a:spcAft>
                  <a:spcPts val="600"/>
                </a:spcAft>
              </a:pPr>
              <a:r>
                <a:rPr lang="en-US" sz="1500" b="1" u="sng" dirty="0">
                  <a:solidFill>
                    <a:srgbClr val="00338D"/>
                  </a:solidFill>
                </a:rPr>
                <a:t>Sensors</a:t>
              </a:r>
              <a:endParaRPr lang="en-US" sz="1400" dirty="0">
                <a:solidFill>
                  <a:srgbClr val="00338D">
                    <a:lumMod val="60000"/>
                    <a:lumOff val="40000"/>
                  </a:srgbClr>
                </a:solidFill>
              </a:endParaRP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Environmental Sensors</a:t>
              </a: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Pollution detecting sensors</a:t>
              </a:r>
            </a:p>
          </p:txBody>
        </p:sp>
        <p:sp>
          <p:nvSpPr>
            <p:cNvPr id="24" name="TextBox 23"/>
            <p:cNvSpPr txBox="1"/>
            <p:nvPr/>
          </p:nvSpPr>
          <p:spPr>
            <a:xfrm>
              <a:off x="1488109" y="2213795"/>
              <a:ext cx="2586151" cy="1020647"/>
            </a:xfrm>
            <a:prstGeom prst="rect">
              <a:avLst/>
            </a:prstGeom>
            <a:noFill/>
            <a:ln>
              <a:solidFill>
                <a:srgbClr val="00B050"/>
              </a:solidFill>
              <a:prstDash val="dash"/>
            </a:ln>
          </p:spPr>
          <p:txBody>
            <a:bodyPr wrap="square" lIns="54610" tIns="54610" rIns="54610" bIns="54610" rtlCol="0">
              <a:noAutofit/>
            </a:bodyPr>
            <a:lstStyle>
              <a:defPPr>
                <a:defRPr lang="en-US"/>
              </a:defPPr>
              <a:lvl1pPr>
                <a:spcAft>
                  <a:spcPts val="600"/>
                </a:spcAft>
                <a:defRPr sz="1500" b="1" u="sng">
                  <a:solidFill>
                    <a:schemeClr val="tx2"/>
                  </a:solidFill>
                </a:defRPr>
              </a:lvl1pPr>
            </a:lstStyle>
            <a:p>
              <a:r>
                <a:rPr lang="en-US" dirty="0">
                  <a:solidFill>
                    <a:srgbClr val="00338D"/>
                  </a:solidFill>
                </a:rPr>
                <a:t>HR/HD Video Camera</a:t>
              </a:r>
            </a:p>
            <a:p>
              <a:pPr marL="285750" indent="-285750">
                <a:buFont typeface="Wingdings" panose="05000000000000000000" pitchFamily="2" charset="2"/>
                <a:buChar char="ü"/>
              </a:pPr>
              <a:r>
                <a:rPr lang="en-US" sz="1400" b="0" u="none" dirty="0">
                  <a:solidFill>
                    <a:srgbClr val="00338D">
                      <a:lumMod val="60000"/>
                      <a:lumOff val="40000"/>
                    </a:srgbClr>
                  </a:solidFill>
                </a:rPr>
                <a:t>Security Monitoring</a:t>
              </a:r>
            </a:p>
            <a:p>
              <a:pPr marL="285750" indent="-285750">
                <a:buFont typeface="Wingdings" panose="05000000000000000000" pitchFamily="2" charset="2"/>
                <a:buChar char="ü"/>
              </a:pPr>
              <a:r>
                <a:rPr lang="en-US" sz="1400" b="0" u="none" dirty="0">
                  <a:solidFill>
                    <a:srgbClr val="00338D">
                      <a:lumMod val="60000"/>
                      <a:lumOff val="40000"/>
                    </a:srgbClr>
                  </a:solidFill>
                </a:rPr>
                <a:t>Vehicle Monitoring</a:t>
              </a:r>
            </a:p>
          </p:txBody>
        </p:sp>
        <p:sp>
          <p:nvSpPr>
            <p:cNvPr id="25" name="TextBox 24"/>
            <p:cNvSpPr txBox="1"/>
            <p:nvPr/>
          </p:nvSpPr>
          <p:spPr>
            <a:xfrm>
              <a:off x="7392978" y="3191370"/>
              <a:ext cx="2782476" cy="694687"/>
            </a:xfrm>
            <a:prstGeom prst="rect">
              <a:avLst/>
            </a:prstGeom>
            <a:noFill/>
            <a:ln>
              <a:solidFill>
                <a:srgbClr val="00B050"/>
              </a:solidFill>
              <a:prstDash val="dash"/>
            </a:ln>
          </p:spPr>
          <p:txBody>
            <a:bodyPr wrap="square" lIns="54610" tIns="54610" rIns="54610" bIns="54610" rtlCol="0">
              <a:noAutofit/>
            </a:bodyPr>
            <a:lstStyle/>
            <a:p>
              <a:pPr>
                <a:spcAft>
                  <a:spcPts val="600"/>
                </a:spcAft>
              </a:pPr>
              <a:r>
                <a:rPr lang="en-US" sz="1500" b="1" u="sng" dirty="0">
                  <a:solidFill>
                    <a:srgbClr val="00338D"/>
                  </a:solidFill>
                </a:rPr>
                <a:t>Wi-Fi Access Point</a:t>
              </a:r>
              <a:endParaRPr lang="en-US" sz="1400" dirty="0">
                <a:solidFill>
                  <a:srgbClr val="00338D">
                    <a:lumMod val="60000"/>
                    <a:lumOff val="40000"/>
                  </a:srgbClr>
                </a:solidFill>
              </a:endParaRP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Wi-Fi Hotspot</a:t>
              </a:r>
            </a:p>
          </p:txBody>
        </p:sp>
        <p:sp>
          <p:nvSpPr>
            <p:cNvPr id="26" name="TextBox 25"/>
            <p:cNvSpPr txBox="1"/>
            <p:nvPr/>
          </p:nvSpPr>
          <p:spPr>
            <a:xfrm>
              <a:off x="7376686" y="1106048"/>
              <a:ext cx="2794814" cy="1429085"/>
            </a:xfrm>
            <a:prstGeom prst="rect">
              <a:avLst/>
            </a:prstGeom>
            <a:noFill/>
            <a:ln>
              <a:solidFill>
                <a:srgbClr val="00B050"/>
              </a:solidFill>
              <a:prstDash val="dash"/>
            </a:ln>
          </p:spPr>
          <p:txBody>
            <a:bodyPr wrap="square" lIns="54610" tIns="54610" rIns="54610" bIns="54610" rtlCol="0">
              <a:noAutofit/>
            </a:bodyPr>
            <a:lstStyle/>
            <a:p>
              <a:pPr>
                <a:spcAft>
                  <a:spcPts val="600"/>
                </a:spcAft>
              </a:pPr>
              <a:r>
                <a:rPr lang="en-US" sz="1500" b="1" u="sng" dirty="0">
                  <a:solidFill>
                    <a:srgbClr val="00338D"/>
                  </a:solidFill>
                </a:rPr>
                <a:t>Intelligent Lighting</a:t>
              </a:r>
              <a:endParaRPr lang="en-US" sz="1400" dirty="0">
                <a:solidFill>
                  <a:srgbClr val="00338D">
                    <a:lumMod val="60000"/>
                    <a:lumOff val="40000"/>
                  </a:srgbClr>
                </a:solidFill>
              </a:endParaRP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LED streetlights</a:t>
              </a: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Solar power based illumines</a:t>
              </a:r>
            </a:p>
            <a:p>
              <a:pPr marL="285750" indent="-285750">
                <a:spcAft>
                  <a:spcPts val="600"/>
                </a:spcAft>
                <a:buFont typeface="Wingdings" panose="05000000000000000000" pitchFamily="2" charset="2"/>
                <a:buChar char="ü"/>
              </a:pPr>
              <a:r>
                <a:rPr lang="en-US" sz="1400" dirty="0">
                  <a:solidFill>
                    <a:srgbClr val="00338D">
                      <a:lumMod val="60000"/>
                      <a:lumOff val="40000"/>
                    </a:srgbClr>
                  </a:solidFill>
                </a:rPr>
                <a:t> Centralized Controlled </a:t>
              </a:r>
            </a:p>
          </p:txBody>
        </p:sp>
        <p:pic>
          <p:nvPicPr>
            <p:cNvPr id="27" name="Picture 26"/>
            <p:cNvPicPr>
              <a:picLocks noChangeAspect="1"/>
            </p:cNvPicPr>
            <p:nvPr/>
          </p:nvPicPr>
          <p:blipFill>
            <a:blip r:embed="rId5" cstate="print"/>
            <a:stretch>
              <a:fillRect/>
            </a:stretch>
          </p:blipFill>
          <p:spPr>
            <a:xfrm>
              <a:off x="238572" y="2226425"/>
              <a:ext cx="1066296" cy="1020647"/>
            </a:xfrm>
            <a:prstGeom prst="rect">
              <a:avLst/>
            </a:prstGeom>
            <a:ln>
              <a:solidFill>
                <a:schemeClr val="tx2"/>
              </a:solidFill>
            </a:ln>
          </p:spPr>
        </p:pic>
        <p:cxnSp>
          <p:nvCxnSpPr>
            <p:cNvPr id="28" name="Straight Arrow Connector 27"/>
            <p:cNvCxnSpPr>
              <a:endCxn id="24" idx="3"/>
            </p:cNvCxnSpPr>
            <p:nvPr/>
          </p:nvCxnSpPr>
          <p:spPr>
            <a:xfrm flipH="1" flipV="1">
              <a:off x="4074260" y="2724119"/>
              <a:ext cx="1555606" cy="234548"/>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29" name="Picture 28"/>
            <p:cNvPicPr>
              <a:picLocks noChangeAspect="1"/>
            </p:cNvPicPr>
            <p:nvPr/>
          </p:nvPicPr>
          <p:blipFill>
            <a:blip r:embed="rId6" cstate="print"/>
            <a:stretch>
              <a:fillRect/>
            </a:stretch>
          </p:blipFill>
          <p:spPr>
            <a:xfrm>
              <a:off x="10358696" y="4689436"/>
              <a:ext cx="1516160" cy="1004725"/>
            </a:xfrm>
            <a:prstGeom prst="rect">
              <a:avLst/>
            </a:prstGeom>
            <a:ln>
              <a:solidFill>
                <a:schemeClr val="tx2"/>
              </a:solidFill>
            </a:ln>
          </p:spPr>
        </p:pic>
        <p:cxnSp>
          <p:nvCxnSpPr>
            <p:cNvPr id="30" name="Straight Arrow Connector 29"/>
            <p:cNvCxnSpPr>
              <a:endCxn id="23" idx="1"/>
            </p:cNvCxnSpPr>
            <p:nvPr/>
          </p:nvCxnSpPr>
          <p:spPr>
            <a:xfrm>
              <a:off x="5416818" y="2848030"/>
              <a:ext cx="1976160" cy="2363201"/>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7" cstate="print"/>
            <a:stretch>
              <a:fillRect/>
            </a:stretch>
          </p:blipFill>
          <p:spPr>
            <a:xfrm>
              <a:off x="10394167" y="1183404"/>
              <a:ext cx="1393740" cy="1351729"/>
            </a:xfrm>
            <a:prstGeom prst="rect">
              <a:avLst/>
            </a:prstGeom>
            <a:ln>
              <a:solidFill>
                <a:schemeClr val="tx2"/>
              </a:solidFill>
            </a:ln>
          </p:spPr>
        </p:pic>
        <p:cxnSp>
          <p:nvCxnSpPr>
            <p:cNvPr id="32" name="Straight Arrow Connector 31"/>
            <p:cNvCxnSpPr>
              <a:endCxn id="26" idx="1"/>
            </p:cNvCxnSpPr>
            <p:nvPr/>
          </p:nvCxnSpPr>
          <p:spPr>
            <a:xfrm>
              <a:off x="5961858" y="1319147"/>
              <a:ext cx="1414828" cy="501444"/>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33" name="Picture 32"/>
            <p:cNvPicPr>
              <a:picLocks noChangeAspect="1"/>
            </p:cNvPicPr>
            <p:nvPr/>
          </p:nvPicPr>
          <p:blipFill>
            <a:blip r:embed="rId8" cstate="print"/>
            <a:stretch>
              <a:fillRect/>
            </a:stretch>
          </p:blipFill>
          <p:spPr>
            <a:xfrm>
              <a:off x="10358696" y="3191370"/>
              <a:ext cx="1429210" cy="694687"/>
            </a:xfrm>
            <a:prstGeom prst="rect">
              <a:avLst/>
            </a:prstGeom>
            <a:ln>
              <a:solidFill>
                <a:schemeClr val="tx2"/>
              </a:solidFill>
            </a:ln>
          </p:spPr>
        </p:pic>
        <p:cxnSp>
          <p:nvCxnSpPr>
            <p:cNvPr id="34" name="Straight Arrow Connector 33"/>
            <p:cNvCxnSpPr>
              <a:endCxn id="25" idx="1"/>
            </p:cNvCxnSpPr>
            <p:nvPr/>
          </p:nvCxnSpPr>
          <p:spPr>
            <a:xfrm>
              <a:off x="5507211" y="1661496"/>
              <a:ext cx="1885767" cy="1877218"/>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35" name="Picture 34"/>
            <p:cNvPicPr>
              <a:picLocks noChangeAspect="1"/>
            </p:cNvPicPr>
            <p:nvPr/>
          </p:nvPicPr>
          <p:blipFill>
            <a:blip r:embed="rId9" cstate="print"/>
            <a:stretch>
              <a:fillRect/>
            </a:stretch>
          </p:blipFill>
          <p:spPr>
            <a:xfrm>
              <a:off x="238573" y="3742996"/>
              <a:ext cx="1037656" cy="999051"/>
            </a:xfrm>
            <a:prstGeom prst="rect">
              <a:avLst/>
            </a:prstGeom>
            <a:ln>
              <a:solidFill>
                <a:schemeClr val="tx2"/>
              </a:solidFill>
            </a:ln>
          </p:spPr>
        </p:pic>
        <p:cxnSp>
          <p:nvCxnSpPr>
            <p:cNvPr id="36" name="Straight Arrow Connector 35"/>
            <p:cNvCxnSpPr>
              <a:stCxn id="21" idx="1"/>
              <a:endCxn id="22" idx="3"/>
            </p:cNvCxnSpPr>
            <p:nvPr/>
          </p:nvCxnSpPr>
          <p:spPr>
            <a:xfrm flipH="1">
              <a:off x="4074260" y="3738482"/>
              <a:ext cx="1207609" cy="504040"/>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10" cstate="print"/>
            <a:stretch>
              <a:fillRect/>
            </a:stretch>
          </p:blipFill>
          <p:spPr>
            <a:xfrm>
              <a:off x="238572" y="5071517"/>
              <a:ext cx="1037656" cy="1078316"/>
            </a:xfrm>
            <a:prstGeom prst="rect">
              <a:avLst/>
            </a:prstGeom>
            <a:ln>
              <a:solidFill>
                <a:schemeClr val="tx2"/>
              </a:solidFill>
            </a:ln>
          </p:spPr>
        </p:pic>
      </p:grpSp>
      <p:cxnSp>
        <p:nvCxnSpPr>
          <p:cNvPr id="38" name="Straight Arrow Connector 37"/>
          <p:cNvCxnSpPr>
            <a:endCxn id="20" idx="3"/>
          </p:cNvCxnSpPr>
          <p:nvPr/>
        </p:nvCxnSpPr>
        <p:spPr>
          <a:xfrm flipH="1" flipV="1">
            <a:off x="4243017" y="5848355"/>
            <a:ext cx="1649266" cy="227834"/>
          </a:xfrm>
          <a:prstGeom prst="straightConnector1">
            <a:avLst/>
          </a:prstGeom>
          <a:ln w="12700">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800100" y="1346634"/>
            <a:ext cx="3428402" cy="729011"/>
          </a:xfrm>
          <a:prstGeom prst="rect">
            <a:avLst/>
          </a:prstGeom>
          <a:noFill/>
          <a:ln>
            <a:solidFill>
              <a:srgbClr val="00B050"/>
            </a:solidFill>
            <a:prstDash val="dash"/>
          </a:ln>
        </p:spPr>
        <p:txBody>
          <a:bodyPr wrap="square" lIns="54610" tIns="54610" rIns="54610" bIns="54610" rtlCol="0">
            <a:noAutofit/>
          </a:bodyPr>
          <a:lstStyle>
            <a:defPPr>
              <a:defRPr lang="en-US"/>
            </a:defPPr>
            <a:lvl1pPr>
              <a:spcAft>
                <a:spcPts val="600"/>
              </a:spcAft>
              <a:defRPr sz="1500" b="1" u="sng">
                <a:solidFill>
                  <a:schemeClr val="tx2"/>
                </a:solidFill>
              </a:defRPr>
            </a:lvl1pPr>
          </a:lstStyle>
          <a:p>
            <a:pPr algn="ctr"/>
            <a:r>
              <a:rPr lang="en-US" sz="1600" b="0" u="none" dirty="0">
                <a:solidFill>
                  <a:srgbClr val="00338D">
                    <a:lumMod val="60000"/>
                    <a:lumOff val="40000"/>
                  </a:srgbClr>
                </a:solidFill>
                <a:latin typeface="Calibri" panose="020F0502020204030204" pitchFamily="34" charset="0"/>
                <a:cs typeface="Calibri" panose="020F0502020204030204" pitchFamily="34" charset="0"/>
              </a:rPr>
              <a:t>BSNL has already installed smart poles in Bhagalpur, Ghazipur</a:t>
            </a:r>
          </a:p>
        </p:txBody>
      </p:sp>
    </p:spTree>
    <p:extLst>
      <p:ext uri="{BB962C8B-B14F-4D97-AF65-F5344CB8AC3E}">
        <p14:creationId xmlns:p14="http://schemas.microsoft.com/office/powerpoint/2010/main" val="1163910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85172" y="0"/>
            <a:ext cx="1506828" cy="1419817"/>
          </a:xfrm>
          <a:prstGeom prst="rect">
            <a:avLst/>
          </a:prstGeom>
        </p:spPr>
      </p:pic>
    </p:spTree>
    <p:extLst>
      <p:ext uri="{BB962C8B-B14F-4D97-AF65-F5344CB8AC3E}">
        <p14:creationId xmlns:p14="http://schemas.microsoft.com/office/powerpoint/2010/main" val="1864822235"/>
      </p:ext>
    </p:extLst>
  </p:cSld>
  <p:clrMapOvr>
    <a:masterClrMapping/>
  </p:clrMapOvr>
  <p:transition spd="slow">
    <p:wipe dir="d"/>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5162778" y="5220482"/>
            <a:ext cx="1866970" cy="942483"/>
          </a:xfrm>
          <a:prstGeom prst="roundRect">
            <a:avLst/>
          </a:prstGeom>
          <a:solidFill>
            <a:srgbClr val="00338D"/>
          </a:solidFill>
          <a:ln>
            <a:noFill/>
          </a:ln>
          <a:scene3d>
            <a:camera prst="perspectiveBelow" fov="7200000">
              <a:rot lat="0" lon="0" rev="0"/>
            </a:camera>
            <a:lightRig rig="twoPt" dir="t"/>
          </a:scene3d>
          <a:sp3d extrusionH="3175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Calibri" panose="020F0502020204030204" pitchFamily="34" charset="0"/>
                <a:cs typeface="Calibri" panose="020F0502020204030204" pitchFamily="34" charset="0"/>
              </a:rPr>
              <a:t>GDP to be 5 times by 2030</a:t>
            </a:r>
          </a:p>
        </p:txBody>
      </p:sp>
      <p:sp>
        <p:nvSpPr>
          <p:cNvPr id="5" name="Title 4"/>
          <p:cNvSpPr>
            <a:spLocks noGrp="1"/>
          </p:cNvSpPr>
          <p:nvPr>
            <p:ph type="title"/>
          </p:nvPr>
        </p:nvSpPr>
        <p:spPr/>
        <p:txBody>
          <a:bodyPr/>
          <a:lstStyle/>
          <a:p>
            <a:r>
              <a:rPr lang="en-US" sz="3600" b="1" dirty="0"/>
              <a:t>India is experiencing rapid pace of urbanization with urban population expected to reach </a:t>
            </a:r>
            <a:r>
              <a:rPr lang="en-US" sz="3600" b="1" dirty="0">
                <a:solidFill>
                  <a:srgbClr val="C00000"/>
                </a:solidFill>
              </a:rPr>
              <a:t>590 Million by 2030</a:t>
            </a:r>
          </a:p>
        </p:txBody>
      </p:sp>
      <p:graphicFrame>
        <p:nvGraphicFramePr>
          <p:cNvPr id="9" name="Chart 8"/>
          <p:cNvGraphicFramePr/>
          <p:nvPr/>
        </p:nvGraphicFramePr>
        <p:xfrm>
          <a:off x="838200" y="1333500"/>
          <a:ext cx="3943350" cy="23617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p:nvPr/>
        </p:nvGraphicFramePr>
        <p:xfrm>
          <a:off x="838200" y="3818671"/>
          <a:ext cx="3949700" cy="2582129"/>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p:cNvSpPr/>
          <p:nvPr/>
        </p:nvSpPr>
        <p:spPr>
          <a:xfrm>
            <a:off x="5162779" y="1344441"/>
            <a:ext cx="6229122" cy="492237"/>
          </a:xfrm>
          <a:prstGeom prst="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Calibri" panose="020F0502020204030204" pitchFamily="34" charset="0"/>
                <a:cs typeface="Calibri" panose="020F0502020204030204" pitchFamily="34" charset="0"/>
              </a:rPr>
              <a:t>As per the 2011 Census, India’s cities are home to 377 million people, representing all sections of India’s society</a:t>
            </a:r>
          </a:p>
        </p:txBody>
      </p:sp>
      <p:grpSp>
        <p:nvGrpSpPr>
          <p:cNvPr id="12" name="Group 43"/>
          <p:cNvGrpSpPr>
            <a:grpSpLocks noChangeAspect="1"/>
          </p:cNvGrpSpPr>
          <p:nvPr/>
        </p:nvGrpSpPr>
        <p:grpSpPr bwMode="auto">
          <a:xfrm>
            <a:off x="5551980" y="1880964"/>
            <a:ext cx="5192219" cy="1203777"/>
            <a:chOff x="1771" y="1656"/>
            <a:chExt cx="3095" cy="709"/>
          </a:xfrm>
          <a:solidFill>
            <a:srgbClr val="00A3A1"/>
          </a:solidFill>
        </p:grpSpPr>
        <p:sp>
          <p:nvSpPr>
            <p:cNvPr id="13" name="Freeform 44"/>
            <p:cNvSpPr>
              <a:spLocks noChangeAspect="1"/>
            </p:cNvSpPr>
            <p:nvPr/>
          </p:nvSpPr>
          <p:spPr bwMode="auto">
            <a:xfrm>
              <a:off x="2045" y="1666"/>
              <a:ext cx="1316" cy="699"/>
            </a:xfrm>
            <a:custGeom>
              <a:avLst/>
              <a:gdLst>
                <a:gd name="T0" fmla="*/ 350 w 557"/>
                <a:gd name="T1" fmla="*/ 50 h 296"/>
                <a:gd name="T2" fmla="*/ 50 w 557"/>
                <a:gd name="T3" fmla="*/ 350 h 296"/>
                <a:gd name="T4" fmla="*/ 350 w 557"/>
                <a:gd name="T5" fmla="*/ 649 h 296"/>
                <a:gd name="T6" fmla="*/ 650 w 557"/>
                <a:gd name="T7" fmla="*/ 350 h 296"/>
                <a:gd name="T8" fmla="*/ 369 w 557"/>
                <a:gd name="T9" fmla="*/ 50 h 296"/>
                <a:gd name="T10" fmla="*/ 532 w 557"/>
                <a:gd name="T11" fmla="*/ 50 h 296"/>
                <a:gd name="T12" fmla="*/ 699 w 557"/>
                <a:gd name="T13" fmla="*/ 350 h 296"/>
                <a:gd name="T14" fmla="*/ 350 w 557"/>
                <a:gd name="T15" fmla="*/ 699 h 296"/>
                <a:gd name="T16" fmla="*/ 0 w 557"/>
                <a:gd name="T17" fmla="*/ 350 h 296"/>
                <a:gd name="T18" fmla="*/ 350 w 557"/>
                <a:gd name="T19" fmla="*/ 0 h 296"/>
                <a:gd name="T20" fmla="*/ 1316 w 557"/>
                <a:gd name="T21" fmla="*/ 0 h 296"/>
                <a:gd name="T22" fmla="*/ 1136 w 557"/>
                <a:gd name="T23" fmla="*/ 50 h 296"/>
                <a:gd name="T24" fmla="*/ 350 w 557"/>
                <a:gd name="T25" fmla="*/ 50 h 2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7"/>
                <a:gd name="T40" fmla="*/ 0 h 296"/>
                <a:gd name="T41" fmla="*/ 557 w 557"/>
                <a:gd name="T42" fmla="*/ 296 h 2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7" h="296">
                  <a:moveTo>
                    <a:pt x="148" y="21"/>
                  </a:moveTo>
                  <a:cubicBezTo>
                    <a:pt x="78" y="21"/>
                    <a:pt x="21" y="78"/>
                    <a:pt x="21" y="148"/>
                  </a:cubicBezTo>
                  <a:cubicBezTo>
                    <a:pt x="21" y="218"/>
                    <a:pt x="78" y="275"/>
                    <a:pt x="148" y="275"/>
                  </a:cubicBezTo>
                  <a:cubicBezTo>
                    <a:pt x="218" y="275"/>
                    <a:pt x="275" y="218"/>
                    <a:pt x="275" y="148"/>
                  </a:cubicBezTo>
                  <a:cubicBezTo>
                    <a:pt x="275" y="80"/>
                    <a:pt x="222" y="25"/>
                    <a:pt x="156" y="21"/>
                  </a:cubicBezTo>
                  <a:cubicBezTo>
                    <a:pt x="225" y="21"/>
                    <a:pt x="225" y="21"/>
                    <a:pt x="225" y="21"/>
                  </a:cubicBezTo>
                  <a:cubicBezTo>
                    <a:pt x="268" y="47"/>
                    <a:pt x="296" y="94"/>
                    <a:pt x="296" y="148"/>
                  </a:cubicBezTo>
                  <a:cubicBezTo>
                    <a:pt x="296" y="230"/>
                    <a:pt x="230" y="296"/>
                    <a:pt x="148" y="296"/>
                  </a:cubicBezTo>
                  <a:cubicBezTo>
                    <a:pt x="66" y="296"/>
                    <a:pt x="0" y="230"/>
                    <a:pt x="0" y="148"/>
                  </a:cubicBezTo>
                  <a:cubicBezTo>
                    <a:pt x="0" y="66"/>
                    <a:pt x="66" y="0"/>
                    <a:pt x="148" y="0"/>
                  </a:cubicBezTo>
                  <a:cubicBezTo>
                    <a:pt x="557" y="0"/>
                    <a:pt x="557" y="0"/>
                    <a:pt x="557" y="0"/>
                  </a:cubicBezTo>
                  <a:cubicBezTo>
                    <a:pt x="529" y="0"/>
                    <a:pt x="503" y="7"/>
                    <a:pt x="481" y="21"/>
                  </a:cubicBezTo>
                  <a:lnTo>
                    <a:pt x="148" y="21"/>
                  </a:lnTo>
                  <a:close/>
                </a:path>
              </a:pathLst>
            </a:custGeom>
            <a:solidFill>
              <a:schemeClr val="accent1"/>
            </a:solid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a:lstStyle/>
            <a:p>
              <a:endParaRPr lang="en-GB">
                <a:solidFill>
                  <a:srgbClr val="000000"/>
                </a:solidFill>
              </a:endParaRPr>
            </a:p>
          </p:txBody>
        </p:sp>
        <p:sp>
          <p:nvSpPr>
            <p:cNvPr id="15" name="Freeform 45"/>
            <p:cNvSpPr>
              <a:spLocks noChangeAspect="1"/>
            </p:cNvSpPr>
            <p:nvPr/>
          </p:nvSpPr>
          <p:spPr bwMode="auto">
            <a:xfrm>
              <a:off x="3980" y="1656"/>
              <a:ext cx="886" cy="709"/>
            </a:xfrm>
            <a:custGeom>
              <a:avLst/>
              <a:gdLst>
                <a:gd name="T0" fmla="*/ 886 w 375"/>
                <a:gd name="T1" fmla="*/ 33 h 300"/>
                <a:gd name="T2" fmla="*/ 817 w 375"/>
                <a:gd name="T3" fmla="*/ 66 h 300"/>
                <a:gd name="T4" fmla="*/ 817 w 375"/>
                <a:gd name="T5" fmla="*/ 59 h 300"/>
                <a:gd name="T6" fmla="*/ 350 w 375"/>
                <a:gd name="T7" fmla="*/ 59 h 300"/>
                <a:gd name="T8" fmla="*/ 52 w 375"/>
                <a:gd name="T9" fmla="*/ 359 h 300"/>
                <a:gd name="T10" fmla="*/ 350 w 375"/>
                <a:gd name="T11" fmla="*/ 659 h 300"/>
                <a:gd name="T12" fmla="*/ 650 w 375"/>
                <a:gd name="T13" fmla="*/ 359 h 300"/>
                <a:gd name="T14" fmla="*/ 369 w 375"/>
                <a:gd name="T15" fmla="*/ 59 h 300"/>
                <a:gd name="T16" fmla="*/ 532 w 375"/>
                <a:gd name="T17" fmla="*/ 59 h 300"/>
                <a:gd name="T18" fmla="*/ 702 w 375"/>
                <a:gd name="T19" fmla="*/ 359 h 300"/>
                <a:gd name="T20" fmla="*/ 350 w 375"/>
                <a:gd name="T21" fmla="*/ 709 h 300"/>
                <a:gd name="T22" fmla="*/ 0 w 375"/>
                <a:gd name="T23" fmla="*/ 359 h 300"/>
                <a:gd name="T24" fmla="*/ 350 w 375"/>
                <a:gd name="T25" fmla="*/ 9 h 300"/>
                <a:gd name="T26" fmla="*/ 817 w 375"/>
                <a:gd name="T27" fmla="*/ 9 h 300"/>
                <a:gd name="T28" fmla="*/ 817 w 375"/>
                <a:gd name="T29" fmla="*/ 0 h 300"/>
                <a:gd name="T30" fmla="*/ 886 w 375"/>
                <a:gd name="T31" fmla="*/ 33 h 30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75"/>
                <a:gd name="T49" fmla="*/ 0 h 300"/>
                <a:gd name="T50" fmla="*/ 375 w 375"/>
                <a:gd name="T51" fmla="*/ 300 h 30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75" h="300">
                  <a:moveTo>
                    <a:pt x="375" y="14"/>
                  </a:moveTo>
                  <a:cubicBezTo>
                    <a:pt x="346" y="28"/>
                    <a:pt x="346" y="28"/>
                    <a:pt x="346" y="28"/>
                  </a:cubicBezTo>
                  <a:cubicBezTo>
                    <a:pt x="346" y="25"/>
                    <a:pt x="346" y="25"/>
                    <a:pt x="346" y="25"/>
                  </a:cubicBezTo>
                  <a:cubicBezTo>
                    <a:pt x="148" y="25"/>
                    <a:pt x="148" y="25"/>
                    <a:pt x="148" y="25"/>
                  </a:cubicBezTo>
                  <a:cubicBezTo>
                    <a:pt x="79" y="25"/>
                    <a:pt x="22" y="82"/>
                    <a:pt x="22" y="152"/>
                  </a:cubicBezTo>
                  <a:cubicBezTo>
                    <a:pt x="22" y="222"/>
                    <a:pt x="79" y="279"/>
                    <a:pt x="148" y="279"/>
                  </a:cubicBezTo>
                  <a:cubicBezTo>
                    <a:pt x="218" y="279"/>
                    <a:pt x="275" y="222"/>
                    <a:pt x="275" y="152"/>
                  </a:cubicBezTo>
                  <a:cubicBezTo>
                    <a:pt x="275" y="84"/>
                    <a:pt x="223" y="29"/>
                    <a:pt x="156" y="25"/>
                  </a:cubicBezTo>
                  <a:cubicBezTo>
                    <a:pt x="225" y="25"/>
                    <a:pt x="225" y="25"/>
                    <a:pt x="225" y="25"/>
                  </a:cubicBezTo>
                  <a:cubicBezTo>
                    <a:pt x="268" y="51"/>
                    <a:pt x="297" y="98"/>
                    <a:pt x="297" y="152"/>
                  </a:cubicBezTo>
                  <a:cubicBezTo>
                    <a:pt x="297" y="234"/>
                    <a:pt x="230" y="300"/>
                    <a:pt x="148" y="300"/>
                  </a:cubicBezTo>
                  <a:cubicBezTo>
                    <a:pt x="67" y="300"/>
                    <a:pt x="0" y="234"/>
                    <a:pt x="0" y="152"/>
                  </a:cubicBezTo>
                  <a:cubicBezTo>
                    <a:pt x="0" y="70"/>
                    <a:pt x="67" y="4"/>
                    <a:pt x="148" y="4"/>
                  </a:cubicBezTo>
                  <a:cubicBezTo>
                    <a:pt x="346" y="4"/>
                    <a:pt x="346" y="4"/>
                    <a:pt x="346" y="4"/>
                  </a:cubicBezTo>
                  <a:cubicBezTo>
                    <a:pt x="346" y="0"/>
                    <a:pt x="346" y="0"/>
                    <a:pt x="346" y="0"/>
                  </a:cubicBezTo>
                  <a:lnTo>
                    <a:pt x="375" y="14"/>
                  </a:lnTo>
                  <a:close/>
                </a:path>
              </a:pathLst>
            </a:custGeom>
            <a:solidFill>
              <a:schemeClr val="accent1"/>
            </a:solid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a:lstStyle/>
            <a:p>
              <a:endParaRPr lang="en-GB">
                <a:solidFill>
                  <a:srgbClr val="000000"/>
                </a:solidFill>
              </a:endParaRPr>
            </a:p>
          </p:txBody>
        </p:sp>
        <p:sp>
          <p:nvSpPr>
            <p:cNvPr id="16" name="Freeform 46"/>
            <p:cNvSpPr>
              <a:spLocks noChangeAspect="1"/>
            </p:cNvSpPr>
            <p:nvPr/>
          </p:nvSpPr>
          <p:spPr bwMode="auto">
            <a:xfrm>
              <a:off x="3014" y="1666"/>
              <a:ext cx="1315" cy="699"/>
            </a:xfrm>
            <a:custGeom>
              <a:avLst/>
              <a:gdLst>
                <a:gd name="T0" fmla="*/ 349 w 557"/>
                <a:gd name="T1" fmla="*/ 50 h 296"/>
                <a:gd name="T2" fmla="*/ 52 w 557"/>
                <a:gd name="T3" fmla="*/ 350 h 296"/>
                <a:gd name="T4" fmla="*/ 349 w 557"/>
                <a:gd name="T5" fmla="*/ 649 h 296"/>
                <a:gd name="T6" fmla="*/ 649 w 557"/>
                <a:gd name="T7" fmla="*/ 350 h 296"/>
                <a:gd name="T8" fmla="*/ 368 w 557"/>
                <a:gd name="T9" fmla="*/ 50 h 296"/>
                <a:gd name="T10" fmla="*/ 531 w 557"/>
                <a:gd name="T11" fmla="*/ 50 h 296"/>
                <a:gd name="T12" fmla="*/ 701 w 557"/>
                <a:gd name="T13" fmla="*/ 350 h 296"/>
                <a:gd name="T14" fmla="*/ 349 w 557"/>
                <a:gd name="T15" fmla="*/ 699 h 296"/>
                <a:gd name="T16" fmla="*/ 0 w 557"/>
                <a:gd name="T17" fmla="*/ 350 h 296"/>
                <a:gd name="T18" fmla="*/ 349 w 557"/>
                <a:gd name="T19" fmla="*/ 0 h 296"/>
                <a:gd name="T20" fmla="*/ 1315 w 557"/>
                <a:gd name="T21" fmla="*/ 0 h 296"/>
                <a:gd name="T22" fmla="*/ 1136 w 557"/>
                <a:gd name="T23" fmla="*/ 50 h 296"/>
                <a:gd name="T24" fmla="*/ 349 w 557"/>
                <a:gd name="T25" fmla="*/ 50 h 2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7"/>
                <a:gd name="T40" fmla="*/ 0 h 296"/>
                <a:gd name="T41" fmla="*/ 557 w 557"/>
                <a:gd name="T42" fmla="*/ 296 h 2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7" h="296">
                  <a:moveTo>
                    <a:pt x="148" y="21"/>
                  </a:moveTo>
                  <a:cubicBezTo>
                    <a:pt x="78" y="21"/>
                    <a:pt x="22" y="78"/>
                    <a:pt x="22" y="148"/>
                  </a:cubicBezTo>
                  <a:cubicBezTo>
                    <a:pt x="22" y="218"/>
                    <a:pt x="78" y="275"/>
                    <a:pt x="148" y="275"/>
                  </a:cubicBezTo>
                  <a:cubicBezTo>
                    <a:pt x="218" y="275"/>
                    <a:pt x="275" y="218"/>
                    <a:pt x="275" y="148"/>
                  </a:cubicBezTo>
                  <a:cubicBezTo>
                    <a:pt x="275" y="80"/>
                    <a:pt x="222" y="25"/>
                    <a:pt x="156" y="21"/>
                  </a:cubicBezTo>
                  <a:cubicBezTo>
                    <a:pt x="225" y="21"/>
                    <a:pt x="225" y="21"/>
                    <a:pt x="225" y="21"/>
                  </a:cubicBezTo>
                  <a:cubicBezTo>
                    <a:pt x="268" y="47"/>
                    <a:pt x="297" y="94"/>
                    <a:pt x="297" y="148"/>
                  </a:cubicBezTo>
                  <a:cubicBezTo>
                    <a:pt x="297" y="230"/>
                    <a:pt x="230" y="296"/>
                    <a:pt x="148" y="296"/>
                  </a:cubicBezTo>
                  <a:cubicBezTo>
                    <a:pt x="67" y="296"/>
                    <a:pt x="0" y="230"/>
                    <a:pt x="0" y="148"/>
                  </a:cubicBezTo>
                  <a:cubicBezTo>
                    <a:pt x="0" y="66"/>
                    <a:pt x="67" y="0"/>
                    <a:pt x="148" y="0"/>
                  </a:cubicBezTo>
                  <a:cubicBezTo>
                    <a:pt x="557" y="0"/>
                    <a:pt x="557" y="0"/>
                    <a:pt x="557" y="0"/>
                  </a:cubicBezTo>
                  <a:cubicBezTo>
                    <a:pt x="529" y="0"/>
                    <a:pt x="503" y="7"/>
                    <a:pt x="481" y="21"/>
                  </a:cubicBezTo>
                  <a:lnTo>
                    <a:pt x="148" y="21"/>
                  </a:lnTo>
                  <a:close/>
                </a:path>
              </a:pathLst>
            </a:custGeom>
            <a:solidFill>
              <a:schemeClr val="accent1"/>
            </a:solid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a:lstStyle/>
            <a:p>
              <a:endParaRPr lang="en-GB">
                <a:solidFill>
                  <a:srgbClr val="000000"/>
                </a:solidFill>
              </a:endParaRPr>
            </a:p>
          </p:txBody>
        </p:sp>
        <p:sp>
          <p:nvSpPr>
            <p:cNvPr id="17" name="Freeform 47"/>
            <p:cNvSpPr>
              <a:spLocks noChangeAspect="1"/>
            </p:cNvSpPr>
            <p:nvPr/>
          </p:nvSpPr>
          <p:spPr bwMode="auto">
            <a:xfrm>
              <a:off x="1771" y="1666"/>
              <a:ext cx="617" cy="49"/>
            </a:xfrm>
            <a:custGeom>
              <a:avLst/>
              <a:gdLst>
                <a:gd name="T0" fmla="*/ 617 w 261"/>
                <a:gd name="T1" fmla="*/ 0 h 21"/>
                <a:gd name="T2" fmla="*/ 435 w 261"/>
                <a:gd name="T3" fmla="*/ 49 h 21"/>
                <a:gd name="T4" fmla="*/ 0 w 261"/>
                <a:gd name="T5" fmla="*/ 49 h 21"/>
                <a:gd name="T6" fmla="*/ 0 w 261"/>
                <a:gd name="T7" fmla="*/ 0 h 21"/>
                <a:gd name="T8" fmla="*/ 617 w 261"/>
                <a:gd name="T9" fmla="*/ 0 h 21"/>
                <a:gd name="T10" fmla="*/ 0 60000 65536"/>
                <a:gd name="T11" fmla="*/ 0 60000 65536"/>
                <a:gd name="T12" fmla="*/ 0 60000 65536"/>
                <a:gd name="T13" fmla="*/ 0 60000 65536"/>
                <a:gd name="T14" fmla="*/ 0 60000 65536"/>
                <a:gd name="T15" fmla="*/ 0 w 261"/>
                <a:gd name="T16" fmla="*/ 0 h 21"/>
                <a:gd name="T17" fmla="*/ 261 w 261"/>
                <a:gd name="T18" fmla="*/ 21 h 21"/>
              </a:gdLst>
              <a:ahLst/>
              <a:cxnLst>
                <a:cxn ang="T10">
                  <a:pos x="T0" y="T1"/>
                </a:cxn>
                <a:cxn ang="T11">
                  <a:pos x="T2" y="T3"/>
                </a:cxn>
                <a:cxn ang="T12">
                  <a:pos x="T4" y="T5"/>
                </a:cxn>
                <a:cxn ang="T13">
                  <a:pos x="T6" y="T7"/>
                </a:cxn>
                <a:cxn ang="T14">
                  <a:pos x="T8" y="T9"/>
                </a:cxn>
              </a:cxnLst>
              <a:rect l="T15" t="T16" r="T17" b="T18"/>
              <a:pathLst>
                <a:path w="261" h="21">
                  <a:moveTo>
                    <a:pt x="261" y="0"/>
                  </a:moveTo>
                  <a:cubicBezTo>
                    <a:pt x="233" y="0"/>
                    <a:pt x="207" y="7"/>
                    <a:pt x="184" y="21"/>
                  </a:cubicBezTo>
                  <a:cubicBezTo>
                    <a:pt x="0" y="21"/>
                    <a:pt x="0" y="21"/>
                    <a:pt x="0" y="21"/>
                  </a:cubicBezTo>
                  <a:cubicBezTo>
                    <a:pt x="0" y="0"/>
                    <a:pt x="0" y="0"/>
                    <a:pt x="0" y="0"/>
                  </a:cubicBezTo>
                  <a:lnTo>
                    <a:pt x="261" y="0"/>
                  </a:lnTo>
                  <a:close/>
                </a:path>
              </a:pathLst>
            </a:custGeom>
            <a:solidFill>
              <a:schemeClr val="accent1"/>
            </a:solid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a:lstStyle/>
            <a:p>
              <a:endParaRPr lang="en-GB">
                <a:solidFill>
                  <a:srgbClr val="000000"/>
                </a:solidFill>
              </a:endParaRPr>
            </a:p>
          </p:txBody>
        </p:sp>
      </p:grpSp>
      <p:sp>
        <p:nvSpPr>
          <p:cNvPr id="18" name="TextBox 17"/>
          <p:cNvSpPr txBox="1"/>
          <p:nvPr/>
        </p:nvSpPr>
        <p:spPr>
          <a:xfrm>
            <a:off x="6096000" y="2025424"/>
            <a:ext cx="1057369" cy="689285"/>
          </a:xfrm>
          <a:prstGeom prst="rect">
            <a:avLst/>
          </a:prstGeom>
          <a:noFill/>
        </p:spPr>
        <p:txBody>
          <a:bodyPr wrap="square" lIns="54610" tIns="54610" rIns="54610" bIns="54610" rtlCol="0">
            <a:noAutofit/>
          </a:bodyPr>
          <a:lstStyle/>
          <a:p>
            <a:pPr algn="ctr">
              <a:spcAft>
                <a:spcPts val="600"/>
              </a:spcAft>
            </a:pPr>
            <a:r>
              <a:rPr lang="en-US" sz="1400" b="1" dirty="0">
                <a:solidFill>
                  <a:srgbClr val="000000"/>
                </a:solidFill>
                <a:latin typeface="Calibri" panose="020F0502020204030204" pitchFamily="34" charset="0"/>
                <a:cs typeface="Calibri" panose="020F0502020204030204" pitchFamily="34" charset="0"/>
              </a:rPr>
              <a:t>53 One    </a:t>
            </a:r>
            <a:r>
              <a:rPr lang="en-US" sz="1400" b="1" dirty="0" err="1">
                <a:solidFill>
                  <a:srgbClr val="000000"/>
                </a:solidFill>
                <a:latin typeface="Calibri" panose="020F0502020204030204" pitchFamily="34" charset="0"/>
                <a:cs typeface="Calibri" panose="020F0502020204030204" pitchFamily="34" charset="0"/>
              </a:rPr>
              <a:t>Mn</a:t>
            </a:r>
            <a:r>
              <a:rPr lang="en-US" sz="1400" b="1" dirty="0">
                <a:solidFill>
                  <a:srgbClr val="000000"/>
                </a:solidFill>
                <a:latin typeface="Calibri" panose="020F0502020204030204" pitchFamily="34" charset="0"/>
                <a:cs typeface="Calibri" panose="020F0502020204030204" pitchFamily="34" charset="0"/>
              </a:rPr>
              <a:t>+ </a:t>
            </a:r>
            <a:r>
              <a:rPr lang="en-US" sz="1400" dirty="0">
                <a:solidFill>
                  <a:srgbClr val="000000"/>
                </a:solidFill>
                <a:latin typeface="Calibri" panose="020F0502020204030204" pitchFamily="34" charset="0"/>
                <a:cs typeface="Calibri" panose="020F0502020204030204" pitchFamily="34" charset="0"/>
              </a:rPr>
              <a:t>cities in 2011 from 35 in 2001</a:t>
            </a:r>
          </a:p>
        </p:txBody>
      </p:sp>
      <p:sp>
        <p:nvSpPr>
          <p:cNvPr id="19" name="TextBox 18"/>
          <p:cNvSpPr txBox="1"/>
          <p:nvPr/>
        </p:nvSpPr>
        <p:spPr>
          <a:xfrm>
            <a:off x="7682300" y="2015978"/>
            <a:ext cx="1091645" cy="689285"/>
          </a:xfrm>
          <a:prstGeom prst="rect">
            <a:avLst/>
          </a:prstGeom>
          <a:noFill/>
        </p:spPr>
        <p:txBody>
          <a:bodyPr wrap="square" lIns="54610" tIns="54610" rIns="54610" bIns="54610" rtlCol="0">
            <a:noAutofit/>
          </a:bodyPr>
          <a:lstStyle/>
          <a:p>
            <a:pPr algn="ctr">
              <a:spcAft>
                <a:spcPts val="600"/>
              </a:spcAft>
            </a:pPr>
            <a:r>
              <a:rPr lang="en-US" sz="1400" dirty="0">
                <a:solidFill>
                  <a:srgbClr val="000000"/>
                </a:solidFill>
                <a:latin typeface="Calibri" panose="020F0502020204030204" pitchFamily="34" charset="0"/>
                <a:cs typeface="Calibri" panose="020F0502020204030204" pitchFamily="34" charset="0"/>
              </a:rPr>
              <a:t> Decadal Growth rate </a:t>
            </a:r>
            <a:r>
              <a:rPr lang="en-US" sz="1400" b="1" dirty="0">
                <a:solidFill>
                  <a:srgbClr val="000000"/>
                </a:solidFill>
                <a:latin typeface="Calibri" panose="020F0502020204030204" pitchFamily="34" charset="0"/>
                <a:cs typeface="Calibri" panose="020F0502020204030204" pitchFamily="34" charset="0"/>
              </a:rPr>
              <a:t>urban areas @ 31%</a:t>
            </a:r>
          </a:p>
        </p:txBody>
      </p:sp>
      <p:sp>
        <p:nvSpPr>
          <p:cNvPr id="20" name="TextBox 19"/>
          <p:cNvSpPr txBox="1"/>
          <p:nvPr/>
        </p:nvSpPr>
        <p:spPr>
          <a:xfrm>
            <a:off x="9342037" y="2025424"/>
            <a:ext cx="995855" cy="689285"/>
          </a:xfrm>
          <a:prstGeom prst="rect">
            <a:avLst/>
          </a:prstGeom>
          <a:noFill/>
        </p:spPr>
        <p:txBody>
          <a:bodyPr wrap="square" lIns="54610" tIns="54610" rIns="54610" bIns="54610" rtlCol="0">
            <a:noAutofit/>
          </a:bodyPr>
          <a:lstStyle/>
          <a:p>
            <a:pPr algn="ctr">
              <a:spcAft>
                <a:spcPts val="600"/>
              </a:spcAft>
            </a:pPr>
            <a:r>
              <a:rPr lang="en-US" sz="1400" b="1" dirty="0">
                <a:solidFill>
                  <a:srgbClr val="000000"/>
                </a:solidFill>
                <a:latin typeface="Calibri" panose="020F0502020204030204" pitchFamily="34" charset="0"/>
                <a:cs typeface="Calibri" panose="020F0502020204030204" pitchFamily="34" charset="0"/>
              </a:rPr>
              <a:t>1/3 of population </a:t>
            </a:r>
            <a:r>
              <a:rPr lang="en-US" sz="1400" dirty="0">
                <a:solidFill>
                  <a:srgbClr val="000000"/>
                </a:solidFill>
                <a:latin typeface="Calibri" panose="020F0502020204030204" pitchFamily="34" charset="0"/>
                <a:cs typeface="Calibri" panose="020F0502020204030204" pitchFamily="34" charset="0"/>
              </a:rPr>
              <a:t> urban migrants</a:t>
            </a:r>
            <a:endParaRPr lang="en-US" sz="1200" dirty="0">
              <a:solidFill>
                <a:srgbClr val="000000"/>
              </a:solidFill>
              <a:latin typeface="Calibri" panose="020F0502020204030204" pitchFamily="34" charset="0"/>
              <a:cs typeface="Calibri" panose="020F0502020204030204" pitchFamily="34" charset="0"/>
            </a:endParaRPr>
          </a:p>
        </p:txBody>
      </p:sp>
      <p:sp>
        <p:nvSpPr>
          <p:cNvPr id="21" name="Rounded Rectangle 20"/>
          <p:cNvSpPr/>
          <p:nvPr/>
        </p:nvSpPr>
        <p:spPr>
          <a:xfrm>
            <a:off x="7294797" y="5220481"/>
            <a:ext cx="1963036" cy="949949"/>
          </a:xfrm>
          <a:prstGeom prst="roundRect">
            <a:avLst/>
          </a:prstGeom>
          <a:solidFill>
            <a:srgbClr val="005EB8"/>
          </a:solidFill>
          <a:ln>
            <a:noFill/>
          </a:ln>
          <a:scene3d>
            <a:camera prst="perspectiveBelow" fov="7200000">
              <a:rot lat="0" lon="0" rev="0"/>
            </a:camera>
            <a:lightRig rig="twoPt" dir="t"/>
          </a:scene3d>
          <a:sp3d extrusionH="3175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Calibri" panose="020F0502020204030204" pitchFamily="34" charset="0"/>
                <a:cs typeface="Calibri" panose="020F0502020204030204" pitchFamily="34" charset="0"/>
              </a:rPr>
              <a:t>70% new employment generated in Cities</a:t>
            </a:r>
          </a:p>
        </p:txBody>
      </p:sp>
      <p:sp>
        <p:nvSpPr>
          <p:cNvPr id="22" name="Rounded Rectangle 21"/>
          <p:cNvSpPr/>
          <p:nvPr/>
        </p:nvSpPr>
        <p:spPr>
          <a:xfrm>
            <a:off x="9529763" y="5220480"/>
            <a:ext cx="1862137" cy="949949"/>
          </a:xfrm>
          <a:prstGeom prst="roundRect">
            <a:avLst/>
          </a:prstGeom>
          <a:solidFill>
            <a:schemeClr val="bg2">
              <a:lumMod val="50000"/>
            </a:schemeClr>
          </a:solidFill>
          <a:ln>
            <a:noFill/>
          </a:ln>
          <a:scene3d>
            <a:camera prst="perspectiveBelow" fov="7200000">
              <a:rot lat="0" lon="0" rev="0"/>
            </a:camera>
            <a:lightRig rig="twoPt" dir="t"/>
          </a:scene3d>
          <a:sp3d extrusionH="3175000" prstMaterial="matte"/>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prstClr val="white"/>
                </a:solidFill>
                <a:latin typeface="Calibri" panose="020F0502020204030204" pitchFamily="34" charset="0"/>
                <a:cs typeface="Calibri" panose="020F0502020204030204" pitchFamily="34" charset="0"/>
              </a:rPr>
              <a:t>270 million people net increase  in working age population</a:t>
            </a:r>
          </a:p>
        </p:txBody>
      </p:sp>
      <p:grpSp>
        <p:nvGrpSpPr>
          <p:cNvPr id="4" name="Group 3"/>
          <p:cNvGrpSpPr/>
          <p:nvPr/>
        </p:nvGrpSpPr>
        <p:grpSpPr>
          <a:xfrm>
            <a:off x="5475515" y="3182951"/>
            <a:ext cx="5268685" cy="1841112"/>
            <a:chOff x="5065892" y="2898512"/>
            <a:chExt cx="6326009" cy="1881604"/>
          </a:xfrm>
        </p:grpSpPr>
        <p:sp>
          <p:nvSpPr>
            <p:cNvPr id="25" name="Pentagon 24"/>
            <p:cNvSpPr/>
            <p:nvPr/>
          </p:nvSpPr>
          <p:spPr>
            <a:xfrm>
              <a:off x="5065892" y="2920102"/>
              <a:ext cx="3096346" cy="791978"/>
            </a:xfrm>
            <a:prstGeom prst="homePlat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1600" b="1" dirty="0">
                  <a:solidFill>
                    <a:prstClr val="white"/>
                  </a:solidFill>
                  <a:latin typeface="Calibri" panose="020F0502020204030204" pitchFamily="34" charset="0"/>
                  <a:cs typeface="Calibri" panose="020F0502020204030204" pitchFamily="34" charset="0"/>
                </a:rPr>
                <a:t>Rural to Urban Migration</a:t>
              </a:r>
            </a:p>
          </p:txBody>
        </p:sp>
        <p:sp>
          <p:nvSpPr>
            <p:cNvPr id="7" name="Rectangle 6"/>
            <p:cNvSpPr/>
            <p:nvPr/>
          </p:nvSpPr>
          <p:spPr>
            <a:xfrm>
              <a:off x="5065893" y="3757340"/>
              <a:ext cx="6326008" cy="185778"/>
            </a:xfrm>
            <a:prstGeom prst="rect">
              <a:avLst/>
            </a:prstGeom>
            <a:solidFill>
              <a:srgbClr val="00338D"/>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24" name="AutoShape 55"/>
            <p:cNvSpPr>
              <a:spLocks noChangeArrowheads="1"/>
            </p:cNvSpPr>
            <p:nvPr/>
          </p:nvSpPr>
          <p:spPr bwMode="auto">
            <a:xfrm>
              <a:off x="7639347" y="3377565"/>
              <a:ext cx="1249085" cy="925714"/>
            </a:xfrm>
            <a:prstGeom prst="diamond">
              <a:avLst/>
            </a:prstGeom>
            <a:solidFill>
              <a:srgbClr val="00338D"/>
            </a:solidFill>
            <a:ln w="6350">
              <a:solidFill>
                <a:schemeClr val="tx2"/>
              </a:solidFill>
              <a:miter lim="800000"/>
              <a:headEnd/>
              <a:tailEnd/>
            </a:ln>
            <a:effectLst/>
          </p:spPr>
          <p:txBody>
            <a:bodyPr wrap="none" lIns="0" tIns="0" rIns="0" bIns="0" anchor="ctr"/>
            <a:lstStyle/>
            <a:p>
              <a:pPr algn="ctr"/>
              <a:r>
                <a:rPr lang="en-GB" sz="1600" b="1" dirty="0">
                  <a:solidFill>
                    <a:prstClr val="white"/>
                  </a:solidFill>
                  <a:latin typeface="Calibri" panose="020F0502020204030204" pitchFamily="34" charset="0"/>
                  <a:cs typeface="Calibri" panose="020F0502020204030204" pitchFamily="34" charset="0"/>
                </a:rPr>
                <a:t>Causes</a:t>
              </a:r>
            </a:p>
          </p:txBody>
        </p:sp>
        <p:sp>
          <p:nvSpPr>
            <p:cNvPr id="26" name="Pentagon 25"/>
            <p:cNvSpPr/>
            <p:nvPr/>
          </p:nvSpPr>
          <p:spPr>
            <a:xfrm flipH="1">
              <a:off x="8365542" y="2898512"/>
              <a:ext cx="3026358" cy="796724"/>
            </a:xfrm>
            <a:prstGeom prst="homePlat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92075" algn="ctr"/>
              <a:r>
                <a:rPr lang="en-US" sz="1600" b="1" dirty="0">
                  <a:solidFill>
                    <a:prstClr val="white"/>
                  </a:solidFill>
                  <a:latin typeface="Calibri" panose="020F0502020204030204" pitchFamily="34" charset="0"/>
                  <a:cs typeface="Calibri" panose="020F0502020204030204" pitchFamily="34" charset="0"/>
                </a:rPr>
                <a:t>Improved Standard of Living</a:t>
              </a:r>
            </a:p>
          </p:txBody>
        </p:sp>
        <p:sp>
          <p:nvSpPr>
            <p:cNvPr id="27" name="Pentagon 26"/>
            <p:cNvSpPr/>
            <p:nvPr/>
          </p:nvSpPr>
          <p:spPr>
            <a:xfrm>
              <a:off x="5065892" y="4002452"/>
              <a:ext cx="3129612" cy="777663"/>
            </a:xfrm>
            <a:prstGeom prst="homePlat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GB" sz="1600" b="1" dirty="0">
                  <a:solidFill>
                    <a:prstClr val="white"/>
                  </a:solidFill>
                  <a:latin typeface="Calibri" panose="020F0502020204030204" pitchFamily="34" charset="0"/>
                  <a:cs typeface="Calibri" panose="020F0502020204030204" pitchFamily="34" charset="0"/>
                </a:rPr>
                <a:t>Expansion of Industry and Trade</a:t>
              </a:r>
              <a:r>
                <a:rPr lang="en-US" sz="1600" b="1" dirty="0">
                  <a:solidFill>
                    <a:prstClr val="white"/>
                  </a:solidFill>
                  <a:latin typeface="Calibri" panose="020F0502020204030204" pitchFamily="34" charset="0"/>
                  <a:cs typeface="Calibri" panose="020F0502020204030204" pitchFamily="34" charset="0"/>
                </a:rPr>
                <a:t>  </a:t>
              </a:r>
            </a:p>
          </p:txBody>
        </p:sp>
        <p:sp>
          <p:nvSpPr>
            <p:cNvPr id="28" name="Pentagon 27"/>
            <p:cNvSpPr/>
            <p:nvPr/>
          </p:nvSpPr>
          <p:spPr>
            <a:xfrm flipH="1">
              <a:off x="8332460" y="4014296"/>
              <a:ext cx="3059440" cy="765820"/>
            </a:xfrm>
            <a:prstGeom prst="homePlate">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b="1" dirty="0">
                  <a:solidFill>
                    <a:prstClr val="white"/>
                  </a:solidFill>
                  <a:latin typeface="Calibri" panose="020F0502020204030204" pitchFamily="34" charset="0"/>
                  <a:cs typeface="Calibri" panose="020F0502020204030204" pitchFamily="34" charset="0"/>
                </a:rPr>
                <a:t>Expansion of Urban Areas</a:t>
              </a:r>
            </a:p>
          </p:txBody>
        </p:sp>
      </p:grpSp>
      <p:sp>
        <p:nvSpPr>
          <p:cNvPr id="2" name="TextBox 1"/>
          <p:cNvSpPr txBox="1"/>
          <p:nvPr/>
        </p:nvSpPr>
        <p:spPr>
          <a:xfrm>
            <a:off x="3886201" y="3640645"/>
            <a:ext cx="976387" cy="178026"/>
          </a:xfrm>
          <a:prstGeom prst="rect">
            <a:avLst/>
          </a:prstGeom>
          <a:noFill/>
        </p:spPr>
        <p:txBody>
          <a:bodyPr wrap="square" lIns="54610" tIns="54610" rIns="54610" bIns="54610" rtlCol="0">
            <a:noAutofit/>
          </a:bodyPr>
          <a:lstStyle/>
          <a:p>
            <a:pPr>
              <a:spcAft>
                <a:spcPts val="600"/>
              </a:spcAft>
            </a:pPr>
            <a:r>
              <a:rPr lang="en-US" sz="800" dirty="0">
                <a:solidFill>
                  <a:srgbClr val="00338D"/>
                </a:solidFill>
                <a:latin typeface="Calibri" panose="020F0502020204030204" pitchFamily="34" charset="0"/>
                <a:cs typeface="Calibri" panose="020F0502020204030204" pitchFamily="34" charset="0"/>
              </a:rPr>
              <a:t>Source: Census 2011</a:t>
            </a:r>
            <a:endParaRPr lang="en-US" sz="1000" dirty="0">
              <a:solidFill>
                <a:srgbClr val="00338D"/>
              </a:solidFill>
              <a:latin typeface="Calibri" panose="020F0502020204030204" pitchFamily="34" charset="0"/>
              <a:cs typeface="Calibri" panose="020F0502020204030204" pitchFamily="34" charset="0"/>
            </a:endParaRPr>
          </a:p>
        </p:txBody>
      </p:sp>
      <p:sp>
        <p:nvSpPr>
          <p:cNvPr id="3" name="TextBox 2"/>
          <p:cNvSpPr txBox="1"/>
          <p:nvPr/>
        </p:nvSpPr>
        <p:spPr>
          <a:xfrm>
            <a:off x="7618845" y="6276978"/>
            <a:ext cx="5996750" cy="65937"/>
          </a:xfrm>
          <a:prstGeom prst="rect">
            <a:avLst/>
          </a:prstGeom>
          <a:noFill/>
        </p:spPr>
        <p:txBody>
          <a:bodyPr wrap="square" lIns="54610" tIns="54610" rIns="54610" bIns="54610" rtlCol="0">
            <a:noAutofit/>
          </a:bodyPr>
          <a:lstStyle/>
          <a:p>
            <a:pPr>
              <a:spcAft>
                <a:spcPts val="600"/>
              </a:spcAft>
            </a:pPr>
            <a:r>
              <a:rPr lang="en-US" sz="600" dirty="0">
                <a:solidFill>
                  <a:srgbClr val="00338D"/>
                </a:solidFill>
                <a:latin typeface="Calibri" panose="020F0502020204030204" pitchFamily="34" charset="0"/>
                <a:cs typeface="Calibri" panose="020F0502020204030204" pitchFamily="34" charset="0"/>
              </a:rPr>
              <a:t>Source: India’s Urban awakening: Building inclusive cities, sustaining economic growth, </a:t>
            </a:r>
            <a:r>
              <a:rPr lang="en-US" sz="600" dirty="0" err="1">
                <a:solidFill>
                  <a:srgbClr val="00338D"/>
                </a:solidFill>
                <a:latin typeface="Calibri" panose="020F0502020204030204" pitchFamily="34" charset="0"/>
                <a:cs typeface="Calibri" panose="020F0502020204030204" pitchFamily="34" charset="0"/>
              </a:rPr>
              <a:t>Mckinsey</a:t>
            </a:r>
            <a:r>
              <a:rPr lang="en-US" sz="600" dirty="0">
                <a:solidFill>
                  <a:srgbClr val="00338D"/>
                </a:solidFill>
                <a:latin typeface="Calibri" panose="020F0502020204030204" pitchFamily="34" charset="0"/>
                <a:cs typeface="Calibri" panose="020F0502020204030204" pitchFamily="34" charset="0"/>
              </a:rPr>
              <a:t> Global Institute, 2010</a:t>
            </a:r>
          </a:p>
        </p:txBody>
      </p:sp>
      <p:sp>
        <p:nvSpPr>
          <p:cNvPr id="6" name="Rectangle 5"/>
          <p:cNvSpPr/>
          <p:nvPr/>
        </p:nvSpPr>
        <p:spPr>
          <a:xfrm>
            <a:off x="855084" y="1713277"/>
            <a:ext cx="184731" cy="369332"/>
          </a:xfrm>
          <a:prstGeom prst="rect">
            <a:avLst/>
          </a:prstGeom>
        </p:spPr>
        <p:txBody>
          <a:bodyPr wrap="none">
            <a:spAutoFit/>
          </a:bodyPr>
          <a:lstStyle/>
          <a:p>
            <a:endParaRPr lang="en-US" dirty="0">
              <a:solidFill>
                <a:srgbClr val="000000"/>
              </a:solidFill>
            </a:endParaRPr>
          </a:p>
        </p:txBody>
      </p:sp>
      <p:sp>
        <p:nvSpPr>
          <p:cNvPr id="8" name="Rectangle 7"/>
          <p:cNvSpPr/>
          <p:nvPr/>
        </p:nvSpPr>
        <p:spPr>
          <a:xfrm>
            <a:off x="838200" y="1331742"/>
            <a:ext cx="3943350" cy="3688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Population (In Millions) over Years</a:t>
            </a:r>
          </a:p>
        </p:txBody>
      </p:sp>
      <p:sp>
        <p:nvSpPr>
          <p:cNvPr id="30" name="Rectangle 29"/>
          <p:cNvSpPr/>
          <p:nvPr/>
        </p:nvSpPr>
        <p:spPr>
          <a:xfrm>
            <a:off x="844550" y="3818671"/>
            <a:ext cx="3943350" cy="36883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ctr"/>
            <a:r>
              <a:rPr lang="en-US" sz="1600" dirty="0">
                <a:solidFill>
                  <a:prstClr val="white"/>
                </a:solidFill>
                <a:latin typeface="Calibri" panose="020F0502020204030204" pitchFamily="34" charset="0"/>
                <a:cs typeface="Calibri" panose="020F0502020204030204" pitchFamily="34" charset="0"/>
              </a:rPr>
              <a:t>Population Growth Rate</a:t>
            </a:r>
          </a:p>
        </p:txBody>
      </p:sp>
    </p:spTree>
    <p:extLst>
      <p:ext uri="{BB962C8B-B14F-4D97-AF65-F5344CB8AC3E}">
        <p14:creationId xmlns:p14="http://schemas.microsoft.com/office/powerpoint/2010/main" val="11210386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stretch>
            <a:fillRect/>
          </a:stretch>
        </p:blipFill>
        <p:spPr>
          <a:xfrm>
            <a:off x="806393" y="1653027"/>
            <a:ext cx="3552825" cy="2029804"/>
          </a:xfrm>
          <a:prstGeom prst="rect">
            <a:avLst/>
          </a:prstGeom>
        </p:spPr>
      </p:pic>
      <p:sp>
        <p:nvSpPr>
          <p:cNvPr id="14" name="Title 13"/>
          <p:cNvSpPr>
            <a:spLocks noGrp="1"/>
          </p:cNvSpPr>
          <p:nvPr>
            <p:ph type="title"/>
          </p:nvPr>
        </p:nvSpPr>
        <p:spPr/>
        <p:txBody>
          <a:bodyPr/>
          <a:lstStyle/>
          <a:p>
            <a:r>
              <a:rPr lang="en-US" sz="3600" b="1" dirty="0"/>
              <a:t>Hence there is a need to build smart cities that are </a:t>
            </a:r>
            <a:r>
              <a:rPr lang="en-US" sz="3600" b="1" dirty="0">
                <a:solidFill>
                  <a:srgbClr val="C00000"/>
                </a:solidFill>
              </a:rPr>
              <a:t>smart</a:t>
            </a:r>
            <a:r>
              <a:rPr lang="en-US" sz="3600" b="1" dirty="0"/>
              <a:t> not only </a:t>
            </a:r>
            <a:r>
              <a:rPr lang="en-US" sz="3600" b="1" dirty="0">
                <a:solidFill>
                  <a:srgbClr val="C00000"/>
                </a:solidFill>
              </a:rPr>
              <a:t>physically but also technologically</a:t>
            </a:r>
          </a:p>
        </p:txBody>
      </p:sp>
      <p:grpSp>
        <p:nvGrpSpPr>
          <p:cNvPr id="138" name="Group 137"/>
          <p:cNvGrpSpPr/>
          <p:nvPr/>
        </p:nvGrpSpPr>
        <p:grpSpPr>
          <a:xfrm>
            <a:off x="1270329" y="4061754"/>
            <a:ext cx="2299674" cy="2123883"/>
            <a:chOff x="1039411" y="3174517"/>
            <a:chExt cx="2241159" cy="2123883"/>
          </a:xfrm>
        </p:grpSpPr>
        <p:grpSp>
          <p:nvGrpSpPr>
            <p:cNvPr id="137" name="Group 136"/>
            <p:cNvGrpSpPr/>
            <p:nvPr/>
          </p:nvGrpSpPr>
          <p:grpSpPr>
            <a:xfrm>
              <a:off x="1039411" y="3174517"/>
              <a:ext cx="2241159" cy="2093283"/>
              <a:chOff x="725111" y="2749704"/>
              <a:chExt cx="2804185" cy="2989388"/>
            </a:xfrm>
          </p:grpSpPr>
          <p:cxnSp>
            <p:nvCxnSpPr>
              <p:cNvPr id="49" name="Straight Connector 48"/>
              <p:cNvCxnSpPr/>
              <p:nvPr/>
            </p:nvCxnSpPr>
            <p:spPr>
              <a:xfrm>
                <a:off x="1219118" y="3761711"/>
                <a:ext cx="2267094" cy="0"/>
              </a:xfrm>
              <a:prstGeom prst="line">
                <a:avLst/>
              </a:prstGeom>
              <a:ln w="12700">
                <a:solidFill>
                  <a:schemeClr val="tx1">
                    <a:lumMod val="50000"/>
                    <a:lumOff val="50000"/>
                  </a:schemeClr>
                </a:solidFill>
              </a:ln>
            </p:spPr>
            <p:style>
              <a:lnRef idx="3">
                <a:schemeClr val="dk1"/>
              </a:lnRef>
              <a:fillRef idx="0">
                <a:schemeClr val="dk1"/>
              </a:fillRef>
              <a:effectRef idx="2">
                <a:schemeClr val="dk1"/>
              </a:effectRef>
              <a:fontRef idx="minor">
                <a:schemeClr val="tx1"/>
              </a:fontRef>
            </p:style>
          </p:cxnSp>
          <p:grpSp>
            <p:nvGrpSpPr>
              <p:cNvPr id="103" name="Group 102"/>
              <p:cNvGrpSpPr/>
              <p:nvPr/>
            </p:nvGrpSpPr>
            <p:grpSpPr>
              <a:xfrm>
                <a:off x="725111" y="2749704"/>
                <a:ext cx="2804185" cy="2989388"/>
                <a:chOff x="2324100" y="1169167"/>
                <a:chExt cx="4442380" cy="4519668"/>
              </a:xfrm>
            </p:grpSpPr>
            <p:sp>
              <p:nvSpPr>
                <p:cNvPr id="104" name="Freeform 103"/>
                <p:cNvSpPr/>
                <p:nvPr/>
              </p:nvSpPr>
              <p:spPr>
                <a:xfrm rot="18287586" flipV="1">
                  <a:off x="3638162" y="1071949"/>
                  <a:ext cx="1074580" cy="1269016"/>
                </a:xfrm>
                <a:custGeom>
                  <a:avLst/>
                  <a:gdLst>
                    <a:gd name="connsiteX0" fmla="*/ 452767 w 456519"/>
                    <a:gd name="connsiteY0" fmla="*/ 0 h 539123"/>
                    <a:gd name="connsiteX1" fmla="*/ 456519 w 456519"/>
                    <a:gd name="connsiteY1" fmla="*/ 387350 h 539123"/>
                    <a:gd name="connsiteX2" fmla="*/ 177770 w 456519"/>
                    <a:gd name="connsiteY2" fmla="*/ 518122 h 539123"/>
                    <a:gd name="connsiteX3" fmla="*/ 45883 w 456519"/>
                    <a:gd name="connsiteY3" fmla="*/ 539123 h 539123"/>
                    <a:gd name="connsiteX4" fmla="*/ 35264 w 456519"/>
                    <a:gd name="connsiteY4" fmla="*/ 404052 h 539123"/>
                    <a:gd name="connsiteX5" fmla="*/ 13358 w 456519"/>
                    <a:gd name="connsiteY5" fmla="*/ 252095 h 539123"/>
                    <a:gd name="connsiteX6" fmla="*/ 0 w 456519"/>
                    <a:gd name="connsiteY6" fmla="*/ 192377 h 539123"/>
                    <a:gd name="connsiteX7" fmla="*/ 55747 w 456519"/>
                    <a:gd name="connsiteY7" fmla="*/ 184396 h 539123"/>
                    <a:gd name="connsiteX8" fmla="*/ 452767 w 456519"/>
                    <a:gd name="connsiteY8" fmla="*/ 0 h 539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6519" h="539123">
                      <a:moveTo>
                        <a:pt x="452767" y="0"/>
                      </a:moveTo>
                      <a:cubicBezTo>
                        <a:pt x="454017" y="129117"/>
                        <a:pt x="455268" y="258233"/>
                        <a:pt x="456519" y="387350"/>
                      </a:cubicBezTo>
                      <a:cubicBezTo>
                        <a:pt x="451956" y="441891"/>
                        <a:pt x="341549" y="486680"/>
                        <a:pt x="177770" y="518122"/>
                      </a:cubicBezTo>
                      <a:lnTo>
                        <a:pt x="45883" y="539123"/>
                      </a:lnTo>
                      <a:lnTo>
                        <a:pt x="35264" y="404052"/>
                      </a:lnTo>
                      <a:cubicBezTo>
                        <a:pt x="29359" y="350556"/>
                        <a:pt x="22003" y="299703"/>
                        <a:pt x="13358" y="252095"/>
                      </a:cubicBezTo>
                      <a:lnTo>
                        <a:pt x="0" y="192377"/>
                      </a:lnTo>
                      <a:lnTo>
                        <a:pt x="55747" y="184396"/>
                      </a:lnTo>
                      <a:cubicBezTo>
                        <a:pt x="288897" y="144259"/>
                        <a:pt x="456154" y="79426"/>
                        <a:pt x="452767" y="0"/>
                      </a:cubicBezTo>
                      <a:close/>
                    </a:path>
                  </a:pathLst>
                </a:custGeom>
                <a:gradFill>
                  <a:gsLst>
                    <a:gs pos="0">
                      <a:schemeClr val="accent2">
                        <a:lumMod val="60000"/>
                        <a:lumOff val="40000"/>
                      </a:schemeClr>
                    </a:gs>
                    <a:gs pos="100000">
                      <a:schemeClr val="accent2">
                        <a:lumMod val="75000"/>
                      </a:schemeClr>
                    </a:gs>
                  </a:gsLst>
                  <a:lin ang="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Univers for KPMG Light" panose="020B0403020202020204" pitchFamily="34" charset="0"/>
                  </a:endParaRPr>
                </a:p>
              </p:txBody>
            </p:sp>
            <p:sp>
              <p:nvSpPr>
                <p:cNvPr id="105" name="Oval 104"/>
                <p:cNvSpPr/>
                <p:nvPr/>
              </p:nvSpPr>
              <p:spPr>
                <a:xfrm rot="18288035" flipV="1">
                  <a:off x="1962967" y="3019570"/>
                  <a:ext cx="3709876" cy="681749"/>
                </a:xfrm>
                <a:prstGeom prst="ellipse">
                  <a:avLst/>
                </a:prstGeom>
                <a:gradFill flip="none" rotWithShape="1">
                  <a:gsLst>
                    <a:gs pos="0">
                      <a:srgbClr val="80ADD6"/>
                    </a:gs>
                    <a:gs pos="100000">
                      <a:srgbClr val="00338D"/>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Univers for KPMG Light" panose="020B0403020202020204" pitchFamily="34" charset="0"/>
                  </a:endParaRPr>
                </a:p>
              </p:txBody>
            </p:sp>
            <p:sp>
              <p:nvSpPr>
                <p:cNvPr id="106" name="Freeform 105"/>
                <p:cNvSpPr/>
                <p:nvPr/>
              </p:nvSpPr>
              <p:spPr>
                <a:xfrm rot="12557813" flipH="1" flipV="1">
                  <a:off x="3838824" y="4260699"/>
                  <a:ext cx="2373792" cy="641165"/>
                </a:xfrm>
                <a:custGeom>
                  <a:avLst/>
                  <a:gdLst>
                    <a:gd name="connsiteX0" fmla="*/ 47891 w 2082119"/>
                    <a:gd name="connsiteY0" fmla="*/ 7579 h 615106"/>
                    <a:gd name="connsiteX1" fmla="*/ 71215 w 2082119"/>
                    <a:gd name="connsiteY1" fmla="*/ 6248 h 615106"/>
                    <a:gd name="connsiteX2" fmla="*/ 408506 w 2082119"/>
                    <a:gd name="connsiteY2" fmla="*/ 0 h 615106"/>
                    <a:gd name="connsiteX3" fmla="*/ 2082119 w 2082119"/>
                    <a:gd name="connsiteY3" fmla="*/ 307553 h 615106"/>
                    <a:gd name="connsiteX4" fmla="*/ 408506 w 2082119"/>
                    <a:gd name="connsiteY4" fmla="*/ 615106 h 615106"/>
                    <a:gd name="connsiteX5" fmla="*/ 71215 w 2082119"/>
                    <a:gd name="connsiteY5" fmla="*/ 608858 h 615106"/>
                    <a:gd name="connsiteX6" fmla="*/ 0 w 2082119"/>
                    <a:gd name="connsiteY6" fmla="*/ 604795 h 615106"/>
                    <a:gd name="connsiteX7" fmla="*/ 4762 w 2082119"/>
                    <a:gd name="connsiteY7" fmla="*/ 530610 h 615106"/>
                    <a:gd name="connsiteX8" fmla="*/ 19681 w 2082119"/>
                    <a:gd name="connsiteY8" fmla="*/ 336354 h 615106"/>
                    <a:gd name="connsiteX0" fmla="*/ 47891 w 2082119"/>
                    <a:gd name="connsiteY0" fmla="*/ 7579 h 615106"/>
                    <a:gd name="connsiteX1" fmla="*/ 71215 w 2082119"/>
                    <a:gd name="connsiteY1" fmla="*/ 6248 h 615106"/>
                    <a:gd name="connsiteX2" fmla="*/ 408506 w 2082119"/>
                    <a:gd name="connsiteY2" fmla="*/ 0 h 615106"/>
                    <a:gd name="connsiteX3" fmla="*/ 2082119 w 2082119"/>
                    <a:gd name="connsiteY3" fmla="*/ 307553 h 615106"/>
                    <a:gd name="connsiteX4" fmla="*/ 408506 w 2082119"/>
                    <a:gd name="connsiteY4" fmla="*/ 615106 h 615106"/>
                    <a:gd name="connsiteX5" fmla="*/ 71215 w 2082119"/>
                    <a:gd name="connsiteY5" fmla="*/ 608858 h 615106"/>
                    <a:gd name="connsiteX6" fmla="*/ 0 w 2082119"/>
                    <a:gd name="connsiteY6" fmla="*/ 604795 h 615106"/>
                    <a:gd name="connsiteX7" fmla="*/ 19681 w 2082119"/>
                    <a:gd name="connsiteY7" fmla="*/ 336354 h 615106"/>
                    <a:gd name="connsiteX8" fmla="*/ 47891 w 2082119"/>
                    <a:gd name="connsiteY8" fmla="*/ 7579 h 615106"/>
                    <a:gd name="connsiteX0" fmla="*/ 47891 w 2082119"/>
                    <a:gd name="connsiteY0" fmla="*/ 7579 h 628527"/>
                    <a:gd name="connsiteX1" fmla="*/ 71215 w 2082119"/>
                    <a:gd name="connsiteY1" fmla="*/ 6248 h 628527"/>
                    <a:gd name="connsiteX2" fmla="*/ 408506 w 2082119"/>
                    <a:gd name="connsiteY2" fmla="*/ 0 h 628527"/>
                    <a:gd name="connsiteX3" fmla="*/ 2082119 w 2082119"/>
                    <a:gd name="connsiteY3" fmla="*/ 307553 h 628527"/>
                    <a:gd name="connsiteX4" fmla="*/ 408506 w 2082119"/>
                    <a:gd name="connsiteY4" fmla="*/ 615106 h 628527"/>
                    <a:gd name="connsiteX5" fmla="*/ 63208 w 2082119"/>
                    <a:gd name="connsiteY5" fmla="*/ 575123 h 628527"/>
                    <a:gd name="connsiteX6" fmla="*/ 0 w 2082119"/>
                    <a:gd name="connsiteY6" fmla="*/ 604795 h 628527"/>
                    <a:gd name="connsiteX7" fmla="*/ 19681 w 2082119"/>
                    <a:gd name="connsiteY7" fmla="*/ 336354 h 628527"/>
                    <a:gd name="connsiteX8" fmla="*/ 47891 w 2082119"/>
                    <a:gd name="connsiteY8" fmla="*/ 7579 h 628527"/>
                    <a:gd name="connsiteX0" fmla="*/ 52252 w 2086480"/>
                    <a:gd name="connsiteY0" fmla="*/ 7579 h 628527"/>
                    <a:gd name="connsiteX1" fmla="*/ 75576 w 2086480"/>
                    <a:gd name="connsiteY1" fmla="*/ 6248 h 628527"/>
                    <a:gd name="connsiteX2" fmla="*/ 412867 w 2086480"/>
                    <a:gd name="connsiteY2" fmla="*/ 0 h 628527"/>
                    <a:gd name="connsiteX3" fmla="*/ 2086480 w 2086480"/>
                    <a:gd name="connsiteY3" fmla="*/ 307553 h 628527"/>
                    <a:gd name="connsiteX4" fmla="*/ 412867 w 2086480"/>
                    <a:gd name="connsiteY4" fmla="*/ 615106 h 628527"/>
                    <a:gd name="connsiteX5" fmla="*/ 67569 w 2086480"/>
                    <a:gd name="connsiteY5" fmla="*/ 575123 h 628527"/>
                    <a:gd name="connsiteX6" fmla="*/ 0 w 2086480"/>
                    <a:gd name="connsiteY6" fmla="*/ 558093 h 628527"/>
                    <a:gd name="connsiteX7" fmla="*/ 24042 w 2086480"/>
                    <a:gd name="connsiteY7" fmla="*/ 336354 h 628527"/>
                    <a:gd name="connsiteX8" fmla="*/ 52252 w 2086480"/>
                    <a:gd name="connsiteY8" fmla="*/ 7579 h 628527"/>
                    <a:gd name="connsiteX0" fmla="*/ 52252 w 2086596"/>
                    <a:gd name="connsiteY0" fmla="*/ 7579 h 581606"/>
                    <a:gd name="connsiteX1" fmla="*/ 75576 w 2086596"/>
                    <a:gd name="connsiteY1" fmla="*/ 6248 h 581606"/>
                    <a:gd name="connsiteX2" fmla="*/ 412867 w 2086596"/>
                    <a:gd name="connsiteY2" fmla="*/ 0 h 581606"/>
                    <a:gd name="connsiteX3" fmla="*/ 2086480 w 2086596"/>
                    <a:gd name="connsiteY3" fmla="*/ 307553 h 581606"/>
                    <a:gd name="connsiteX4" fmla="*/ 497249 w 2086596"/>
                    <a:gd name="connsiteY4" fmla="*/ 551375 h 581606"/>
                    <a:gd name="connsiteX5" fmla="*/ 67569 w 2086596"/>
                    <a:gd name="connsiteY5" fmla="*/ 575123 h 581606"/>
                    <a:gd name="connsiteX6" fmla="*/ 0 w 2086596"/>
                    <a:gd name="connsiteY6" fmla="*/ 558093 h 581606"/>
                    <a:gd name="connsiteX7" fmla="*/ 24042 w 2086596"/>
                    <a:gd name="connsiteY7" fmla="*/ 336354 h 581606"/>
                    <a:gd name="connsiteX8" fmla="*/ 52252 w 2086596"/>
                    <a:gd name="connsiteY8" fmla="*/ 7579 h 581606"/>
                    <a:gd name="connsiteX0" fmla="*/ 52252 w 2087409"/>
                    <a:gd name="connsiteY0" fmla="*/ 7579 h 603304"/>
                    <a:gd name="connsiteX1" fmla="*/ 75576 w 2087409"/>
                    <a:gd name="connsiteY1" fmla="*/ 6248 h 603304"/>
                    <a:gd name="connsiteX2" fmla="*/ 412867 w 2087409"/>
                    <a:gd name="connsiteY2" fmla="*/ 0 h 603304"/>
                    <a:gd name="connsiteX3" fmla="*/ 2086480 w 2087409"/>
                    <a:gd name="connsiteY3" fmla="*/ 307553 h 603304"/>
                    <a:gd name="connsiteX4" fmla="*/ 641717 w 2087409"/>
                    <a:gd name="connsiteY4" fmla="*/ 584995 h 603304"/>
                    <a:gd name="connsiteX5" fmla="*/ 67569 w 2087409"/>
                    <a:gd name="connsiteY5" fmla="*/ 575123 h 603304"/>
                    <a:gd name="connsiteX6" fmla="*/ 0 w 2087409"/>
                    <a:gd name="connsiteY6" fmla="*/ 558093 h 603304"/>
                    <a:gd name="connsiteX7" fmla="*/ 24042 w 2087409"/>
                    <a:gd name="connsiteY7" fmla="*/ 336354 h 603304"/>
                    <a:gd name="connsiteX8" fmla="*/ 52252 w 2087409"/>
                    <a:gd name="connsiteY8" fmla="*/ 7579 h 603304"/>
                    <a:gd name="connsiteX0" fmla="*/ 52252 w 2087490"/>
                    <a:gd name="connsiteY0" fmla="*/ 7579 h 582150"/>
                    <a:gd name="connsiteX1" fmla="*/ 75576 w 2087490"/>
                    <a:gd name="connsiteY1" fmla="*/ 6248 h 582150"/>
                    <a:gd name="connsiteX2" fmla="*/ 412867 w 2087490"/>
                    <a:gd name="connsiteY2" fmla="*/ 0 h 582150"/>
                    <a:gd name="connsiteX3" fmla="*/ 2086480 w 2087490"/>
                    <a:gd name="connsiteY3" fmla="*/ 307553 h 582150"/>
                    <a:gd name="connsiteX4" fmla="*/ 650831 w 2087490"/>
                    <a:gd name="connsiteY4" fmla="*/ 552575 h 582150"/>
                    <a:gd name="connsiteX5" fmla="*/ 67569 w 2087490"/>
                    <a:gd name="connsiteY5" fmla="*/ 575123 h 582150"/>
                    <a:gd name="connsiteX6" fmla="*/ 0 w 2087490"/>
                    <a:gd name="connsiteY6" fmla="*/ 558093 h 582150"/>
                    <a:gd name="connsiteX7" fmla="*/ 24042 w 2087490"/>
                    <a:gd name="connsiteY7" fmla="*/ 336354 h 582150"/>
                    <a:gd name="connsiteX8" fmla="*/ 52252 w 2087490"/>
                    <a:gd name="connsiteY8" fmla="*/ 7579 h 582150"/>
                    <a:gd name="connsiteX0" fmla="*/ 52252 w 2087492"/>
                    <a:gd name="connsiteY0" fmla="*/ 7579 h 576115"/>
                    <a:gd name="connsiteX1" fmla="*/ 75576 w 2087492"/>
                    <a:gd name="connsiteY1" fmla="*/ 6248 h 576115"/>
                    <a:gd name="connsiteX2" fmla="*/ 412867 w 2087492"/>
                    <a:gd name="connsiteY2" fmla="*/ 0 h 576115"/>
                    <a:gd name="connsiteX3" fmla="*/ 2086480 w 2087492"/>
                    <a:gd name="connsiteY3" fmla="*/ 307553 h 576115"/>
                    <a:gd name="connsiteX4" fmla="*/ 650831 w 2087492"/>
                    <a:gd name="connsiteY4" fmla="*/ 552575 h 576115"/>
                    <a:gd name="connsiteX5" fmla="*/ 67569 w 2087492"/>
                    <a:gd name="connsiteY5" fmla="*/ 575123 h 576115"/>
                    <a:gd name="connsiteX6" fmla="*/ 0 w 2087492"/>
                    <a:gd name="connsiteY6" fmla="*/ 558093 h 576115"/>
                    <a:gd name="connsiteX7" fmla="*/ 24042 w 2087492"/>
                    <a:gd name="connsiteY7" fmla="*/ 336354 h 576115"/>
                    <a:gd name="connsiteX8" fmla="*/ 52252 w 2087492"/>
                    <a:gd name="connsiteY8" fmla="*/ 7579 h 576115"/>
                    <a:gd name="connsiteX0" fmla="*/ 52252 w 2087661"/>
                    <a:gd name="connsiteY0" fmla="*/ 7579 h 577361"/>
                    <a:gd name="connsiteX1" fmla="*/ 75576 w 2087661"/>
                    <a:gd name="connsiteY1" fmla="*/ 6248 h 577361"/>
                    <a:gd name="connsiteX2" fmla="*/ 412867 w 2087661"/>
                    <a:gd name="connsiteY2" fmla="*/ 0 h 577361"/>
                    <a:gd name="connsiteX3" fmla="*/ 2086480 w 2087661"/>
                    <a:gd name="connsiteY3" fmla="*/ 307553 h 577361"/>
                    <a:gd name="connsiteX4" fmla="*/ 650831 w 2087661"/>
                    <a:gd name="connsiteY4" fmla="*/ 552575 h 577361"/>
                    <a:gd name="connsiteX5" fmla="*/ 67569 w 2087661"/>
                    <a:gd name="connsiteY5" fmla="*/ 575123 h 577361"/>
                    <a:gd name="connsiteX6" fmla="*/ 0 w 2087661"/>
                    <a:gd name="connsiteY6" fmla="*/ 558093 h 577361"/>
                    <a:gd name="connsiteX7" fmla="*/ 24042 w 2087661"/>
                    <a:gd name="connsiteY7" fmla="*/ 336354 h 577361"/>
                    <a:gd name="connsiteX8" fmla="*/ 52252 w 2087661"/>
                    <a:gd name="connsiteY8" fmla="*/ 7579 h 577361"/>
                    <a:gd name="connsiteX0" fmla="*/ 52252 w 2088209"/>
                    <a:gd name="connsiteY0" fmla="*/ 7579 h 582337"/>
                    <a:gd name="connsiteX1" fmla="*/ 75576 w 2088209"/>
                    <a:gd name="connsiteY1" fmla="*/ 6248 h 582337"/>
                    <a:gd name="connsiteX2" fmla="*/ 412867 w 2088209"/>
                    <a:gd name="connsiteY2" fmla="*/ 0 h 582337"/>
                    <a:gd name="connsiteX3" fmla="*/ 2086480 w 2088209"/>
                    <a:gd name="connsiteY3" fmla="*/ 307553 h 582337"/>
                    <a:gd name="connsiteX4" fmla="*/ 696218 w 2088209"/>
                    <a:gd name="connsiteY4" fmla="*/ 565334 h 582337"/>
                    <a:gd name="connsiteX5" fmla="*/ 67569 w 2088209"/>
                    <a:gd name="connsiteY5" fmla="*/ 575123 h 582337"/>
                    <a:gd name="connsiteX6" fmla="*/ 0 w 2088209"/>
                    <a:gd name="connsiteY6" fmla="*/ 558093 h 582337"/>
                    <a:gd name="connsiteX7" fmla="*/ 24042 w 2088209"/>
                    <a:gd name="connsiteY7" fmla="*/ 336354 h 582337"/>
                    <a:gd name="connsiteX8" fmla="*/ 52252 w 2088209"/>
                    <a:gd name="connsiteY8" fmla="*/ 7579 h 582337"/>
                    <a:gd name="connsiteX0" fmla="*/ 52252 w 2094848"/>
                    <a:gd name="connsiteY0" fmla="*/ 7579 h 582337"/>
                    <a:gd name="connsiteX1" fmla="*/ 75576 w 2094848"/>
                    <a:gd name="connsiteY1" fmla="*/ 6248 h 582337"/>
                    <a:gd name="connsiteX2" fmla="*/ 412867 w 2094848"/>
                    <a:gd name="connsiteY2" fmla="*/ 0 h 582337"/>
                    <a:gd name="connsiteX3" fmla="*/ 2086480 w 2094848"/>
                    <a:gd name="connsiteY3" fmla="*/ 307553 h 582337"/>
                    <a:gd name="connsiteX4" fmla="*/ 696218 w 2094848"/>
                    <a:gd name="connsiteY4" fmla="*/ 565334 h 582337"/>
                    <a:gd name="connsiteX5" fmla="*/ 67569 w 2094848"/>
                    <a:gd name="connsiteY5" fmla="*/ 575123 h 582337"/>
                    <a:gd name="connsiteX6" fmla="*/ 0 w 2094848"/>
                    <a:gd name="connsiteY6" fmla="*/ 558093 h 582337"/>
                    <a:gd name="connsiteX7" fmla="*/ 24042 w 2094848"/>
                    <a:gd name="connsiteY7" fmla="*/ 336354 h 582337"/>
                    <a:gd name="connsiteX8" fmla="*/ 52252 w 2094848"/>
                    <a:gd name="connsiteY8" fmla="*/ 7579 h 582337"/>
                    <a:gd name="connsiteX0" fmla="*/ 52252 w 2087860"/>
                    <a:gd name="connsiteY0" fmla="*/ 7579 h 582337"/>
                    <a:gd name="connsiteX1" fmla="*/ 75576 w 2087860"/>
                    <a:gd name="connsiteY1" fmla="*/ 6248 h 582337"/>
                    <a:gd name="connsiteX2" fmla="*/ 412867 w 2087860"/>
                    <a:gd name="connsiteY2" fmla="*/ 0 h 582337"/>
                    <a:gd name="connsiteX3" fmla="*/ 2086480 w 2087860"/>
                    <a:gd name="connsiteY3" fmla="*/ 307553 h 582337"/>
                    <a:gd name="connsiteX4" fmla="*/ 696218 w 2087860"/>
                    <a:gd name="connsiteY4" fmla="*/ 565334 h 582337"/>
                    <a:gd name="connsiteX5" fmla="*/ 67569 w 2087860"/>
                    <a:gd name="connsiteY5" fmla="*/ 575123 h 582337"/>
                    <a:gd name="connsiteX6" fmla="*/ 0 w 2087860"/>
                    <a:gd name="connsiteY6" fmla="*/ 558093 h 582337"/>
                    <a:gd name="connsiteX7" fmla="*/ 24042 w 2087860"/>
                    <a:gd name="connsiteY7" fmla="*/ 336354 h 582337"/>
                    <a:gd name="connsiteX8" fmla="*/ 52252 w 2087860"/>
                    <a:gd name="connsiteY8" fmla="*/ 7579 h 582337"/>
                    <a:gd name="connsiteX0" fmla="*/ 52252 w 2089190"/>
                    <a:gd name="connsiteY0" fmla="*/ 7579 h 582337"/>
                    <a:gd name="connsiteX1" fmla="*/ 75576 w 2089190"/>
                    <a:gd name="connsiteY1" fmla="*/ 6248 h 582337"/>
                    <a:gd name="connsiteX2" fmla="*/ 412867 w 2089190"/>
                    <a:gd name="connsiteY2" fmla="*/ 0 h 582337"/>
                    <a:gd name="connsiteX3" fmla="*/ 2086480 w 2089190"/>
                    <a:gd name="connsiteY3" fmla="*/ 307553 h 582337"/>
                    <a:gd name="connsiteX4" fmla="*/ 696218 w 2089190"/>
                    <a:gd name="connsiteY4" fmla="*/ 565334 h 582337"/>
                    <a:gd name="connsiteX5" fmla="*/ 67569 w 2089190"/>
                    <a:gd name="connsiteY5" fmla="*/ 575123 h 582337"/>
                    <a:gd name="connsiteX6" fmla="*/ 0 w 2089190"/>
                    <a:gd name="connsiteY6" fmla="*/ 558093 h 582337"/>
                    <a:gd name="connsiteX7" fmla="*/ 24042 w 2089190"/>
                    <a:gd name="connsiteY7" fmla="*/ 336354 h 582337"/>
                    <a:gd name="connsiteX8" fmla="*/ 52252 w 2089190"/>
                    <a:gd name="connsiteY8" fmla="*/ 7579 h 582337"/>
                    <a:gd name="connsiteX0" fmla="*/ 52252 w 2088745"/>
                    <a:gd name="connsiteY0" fmla="*/ 7579 h 586486"/>
                    <a:gd name="connsiteX1" fmla="*/ 75576 w 2088745"/>
                    <a:gd name="connsiteY1" fmla="*/ 6248 h 586486"/>
                    <a:gd name="connsiteX2" fmla="*/ 412867 w 2088745"/>
                    <a:gd name="connsiteY2" fmla="*/ 0 h 586486"/>
                    <a:gd name="connsiteX3" fmla="*/ 2086480 w 2088745"/>
                    <a:gd name="connsiteY3" fmla="*/ 307553 h 586486"/>
                    <a:gd name="connsiteX4" fmla="*/ 732790 w 2088745"/>
                    <a:gd name="connsiteY4" fmla="*/ 572119 h 586486"/>
                    <a:gd name="connsiteX5" fmla="*/ 67569 w 2088745"/>
                    <a:gd name="connsiteY5" fmla="*/ 575123 h 586486"/>
                    <a:gd name="connsiteX6" fmla="*/ 0 w 2088745"/>
                    <a:gd name="connsiteY6" fmla="*/ 558093 h 586486"/>
                    <a:gd name="connsiteX7" fmla="*/ 24042 w 2088745"/>
                    <a:gd name="connsiteY7" fmla="*/ 336354 h 586486"/>
                    <a:gd name="connsiteX8" fmla="*/ 52252 w 2088745"/>
                    <a:gd name="connsiteY8" fmla="*/ 7579 h 586486"/>
                    <a:gd name="connsiteX0" fmla="*/ 52252 w 2089355"/>
                    <a:gd name="connsiteY0" fmla="*/ 7579 h 578489"/>
                    <a:gd name="connsiteX1" fmla="*/ 75576 w 2089355"/>
                    <a:gd name="connsiteY1" fmla="*/ 6248 h 578489"/>
                    <a:gd name="connsiteX2" fmla="*/ 412867 w 2089355"/>
                    <a:gd name="connsiteY2" fmla="*/ 0 h 578489"/>
                    <a:gd name="connsiteX3" fmla="*/ 2086480 w 2089355"/>
                    <a:gd name="connsiteY3" fmla="*/ 307553 h 578489"/>
                    <a:gd name="connsiteX4" fmla="*/ 732790 w 2089355"/>
                    <a:gd name="connsiteY4" fmla="*/ 572119 h 578489"/>
                    <a:gd name="connsiteX5" fmla="*/ 67569 w 2089355"/>
                    <a:gd name="connsiteY5" fmla="*/ 575123 h 578489"/>
                    <a:gd name="connsiteX6" fmla="*/ 0 w 2089355"/>
                    <a:gd name="connsiteY6" fmla="*/ 558093 h 578489"/>
                    <a:gd name="connsiteX7" fmla="*/ 24042 w 2089355"/>
                    <a:gd name="connsiteY7" fmla="*/ 336354 h 578489"/>
                    <a:gd name="connsiteX8" fmla="*/ 52252 w 2089355"/>
                    <a:gd name="connsiteY8" fmla="*/ 7579 h 578489"/>
                    <a:gd name="connsiteX0" fmla="*/ 52252 w 2088707"/>
                    <a:gd name="connsiteY0" fmla="*/ 7579 h 578489"/>
                    <a:gd name="connsiteX1" fmla="*/ 75576 w 2088707"/>
                    <a:gd name="connsiteY1" fmla="*/ 6248 h 578489"/>
                    <a:gd name="connsiteX2" fmla="*/ 412867 w 2088707"/>
                    <a:gd name="connsiteY2" fmla="*/ 0 h 578489"/>
                    <a:gd name="connsiteX3" fmla="*/ 2086480 w 2088707"/>
                    <a:gd name="connsiteY3" fmla="*/ 307553 h 578489"/>
                    <a:gd name="connsiteX4" fmla="*/ 732790 w 2088707"/>
                    <a:gd name="connsiteY4" fmla="*/ 572119 h 578489"/>
                    <a:gd name="connsiteX5" fmla="*/ 67569 w 2088707"/>
                    <a:gd name="connsiteY5" fmla="*/ 575123 h 578489"/>
                    <a:gd name="connsiteX6" fmla="*/ 0 w 2088707"/>
                    <a:gd name="connsiteY6" fmla="*/ 558093 h 578489"/>
                    <a:gd name="connsiteX7" fmla="*/ 24042 w 2088707"/>
                    <a:gd name="connsiteY7" fmla="*/ 336354 h 578489"/>
                    <a:gd name="connsiteX8" fmla="*/ 52252 w 2088707"/>
                    <a:gd name="connsiteY8" fmla="*/ 7579 h 578489"/>
                    <a:gd name="connsiteX0" fmla="*/ 52252 w 2086992"/>
                    <a:gd name="connsiteY0" fmla="*/ 7579 h 578489"/>
                    <a:gd name="connsiteX1" fmla="*/ 75576 w 2086992"/>
                    <a:gd name="connsiteY1" fmla="*/ 6248 h 578489"/>
                    <a:gd name="connsiteX2" fmla="*/ 412867 w 2086992"/>
                    <a:gd name="connsiteY2" fmla="*/ 0 h 578489"/>
                    <a:gd name="connsiteX3" fmla="*/ 2086480 w 2086992"/>
                    <a:gd name="connsiteY3" fmla="*/ 307553 h 578489"/>
                    <a:gd name="connsiteX4" fmla="*/ 732790 w 2086992"/>
                    <a:gd name="connsiteY4" fmla="*/ 572119 h 578489"/>
                    <a:gd name="connsiteX5" fmla="*/ 67569 w 2086992"/>
                    <a:gd name="connsiteY5" fmla="*/ 575123 h 578489"/>
                    <a:gd name="connsiteX6" fmla="*/ 0 w 2086992"/>
                    <a:gd name="connsiteY6" fmla="*/ 558093 h 578489"/>
                    <a:gd name="connsiteX7" fmla="*/ 24042 w 2086992"/>
                    <a:gd name="connsiteY7" fmla="*/ 336354 h 578489"/>
                    <a:gd name="connsiteX8" fmla="*/ 52252 w 2086992"/>
                    <a:gd name="connsiteY8" fmla="*/ 7579 h 578489"/>
                    <a:gd name="connsiteX0" fmla="*/ 109591 w 2144331"/>
                    <a:gd name="connsiteY0" fmla="*/ 7579 h 578489"/>
                    <a:gd name="connsiteX1" fmla="*/ 132915 w 2144331"/>
                    <a:gd name="connsiteY1" fmla="*/ 6248 h 578489"/>
                    <a:gd name="connsiteX2" fmla="*/ 470206 w 2144331"/>
                    <a:gd name="connsiteY2" fmla="*/ 0 h 578489"/>
                    <a:gd name="connsiteX3" fmla="*/ 2143819 w 2144331"/>
                    <a:gd name="connsiteY3" fmla="*/ 307553 h 578489"/>
                    <a:gd name="connsiteX4" fmla="*/ 790129 w 2144331"/>
                    <a:gd name="connsiteY4" fmla="*/ 572119 h 578489"/>
                    <a:gd name="connsiteX5" fmla="*/ 124908 w 2144331"/>
                    <a:gd name="connsiteY5" fmla="*/ 575123 h 578489"/>
                    <a:gd name="connsiteX6" fmla="*/ 0 w 2144331"/>
                    <a:gd name="connsiteY6" fmla="*/ 562961 h 578489"/>
                    <a:gd name="connsiteX7" fmla="*/ 81381 w 2144331"/>
                    <a:gd name="connsiteY7" fmla="*/ 336354 h 578489"/>
                    <a:gd name="connsiteX8" fmla="*/ 109591 w 2144331"/>
                    <a:gd name="connsiteY8" fmla="*/ 7579 h 578489"/>
                    <a:gd name="connsiteX0" fmla="*/ 109591 w 2144331"/>
                    <a:gd name="connsiteY0" fmla="*/ 7579 h 578489"/>
                    <a:gd name="connsiteX1" fmla="*/ 132915 w 2144331"/>
                    <a:gd name="connsiteY1" fmla="*/ 6248 h 578489"/>
                    <a:gd name="connsiteX2" fmla="*/ 470206 w 2144331"/>
                    <a:gd name="connsiteY2" fmla="*/ 0 h 578489"/>
                    <a:gd name="connsiteX3" fmla="*/ 2143819 w 2144331"/>
                    <a:gd name="connsiteY3" fmla="*/ 307553 h 578489"/>
                    <a:gd name="connsiteX4" fmla="*/ 790129 w 2144331"/>
                    <a:gd name="connsiteY4" fmla="*/ 572119 h 578489"/>
                    <a:gd name="connsiteX5" fmla="*/ 124908 w 2144331"/>
                    <a:gd name="connsiteY5" fmla="*/ 575123 h 578489"/>
                    <a:gd name="connsiteX6" fmla="*/ 0 w 2144331"/>
                    <a:gd name="connsiteY6" fmla="*/ 562961 h 578489"/>
                    <a:gd name="connsiteX7" fmla="*/ 67398 w 2144331"/>
                    <a:gd name="connsiteY7" fmla="*/ 311434 h 578489"/>
                    <a:gd name="connsiteX8" fmla="*/ 109591 w 2144331"/>
                    <a:gd name="connsiteY8" fmla="*/ 7579 h 578489"/>
                    <a:gd name="connsiteX0" fmla="*/ 83656 w 2118396"/>
                    <a:gd name="connsiteY0" fmla="*/ 7579 h 578489"/>
                    <a:gd name="connsiteX1" fmla="*/ 106980 w 2118396"/>
                    <a:gd name="connsiteY1" fmla="*/ 6248 h 578489"/>
                    <a:gd name="connsiteX2" fmla="*/ 444271 w 2118396"/>
                    <a:gd name="connsiteY2" fmla="*/ 0 h 578489"/>
                    <a:gd name="connsiteX3" fmla="*/ 2117884 w 2118396"/>
                    <a:gd name="connsiteY3" fmla="*/ 307553 h 578489"/>
                    <a:gd name="connsiteX4" fmla="*/ 764194 w 2118396"/>
                    <a:gd name="connsiteY4" fmla="*/ 572119 h 578489"/>
                    <a:gd name="connsiteX5" fmla="*/ 98973 w 2118396"/>
                    <a:gd name="connsiteY5" fmla="*/ 575123 h 578489"/>
                    <a:gd name="connsiteX6" fmla="*/ 0 w 2118396"/>
                    <a:gd name="connsiteY6" fmla="*/ 570252 h 578489"/>
                    <a:gd name="connsiteX7" fmla="*/ 41463 w 2118396"/>
                    <a:gd name="connsiteY7" fmla="*/ 311434 h 578489"/>
                    <a:gd name="connsiteX8" fmla="*/ 83656 w 2118396"/>
                    <a:gd name="connsiteY8" fmla="*/ 7579 h 578489"/>
                    <a:gd name="connsiteX0" fmla="*/ 83656 w 2118396"/>
                    <a:gd name="connsiteY0" fmla="*/ 7579 h 578489"/>
                    <a:gd name="connsiteX1" fmla="*/ 106980 w 2118396"/>
                    <a:gd name="connsiteY1" fmla="*/ 6248 h 578489"/>
                    <a:gd name="connsiteX2" fmla="*/ 444271 w 2118396"/>
                    <a:gd name="connsiteY2" fmla="*/ 0 h 578489"/>
                    <a:gd name="connsiteX3" fmla="*/ 2117884 w 2118396"/>
                    <a:gd name="connsiteY3" fmla="*/ 307553 h 578489"/>
                    <a:gd name="connsiteX4" fmla="*/ 764194 w 2118396"/>
                    <a:gd name="connsiteY4" fmla="*/ 572119 h 578489"/>
                    <a:gd name="connsiteX5" fmla="*/ 98973 w 2118396"/>
                    <a:gd name="connsiteY5" fmla="*/ 575123 h 578489"/>
                    <a:gd name="connsiteX6" fmla="*/ 0 w 2118396"/>
                    <a:gd name="connsiteY6" fmla="*/ 570252 h 578489"/>
                    <a:gd name="connsiteX7" fmla="*/ 41463 w 2118396"/>
                    <a:gd name="connsiteY7" fmla="*/ 311434 h 578489"/>
                    <a:gd name="connsiteX8" fmla="*/ 83656 w 2118396"/>
                    <a:gd name="connsiteY8" fmla="*/ 7579 h 578489"/>
                    <a:gd name="connsiteX0" fmla="*/ 91963 w 2126703"/>
                    <a:gd name="connsiteY0" fmla="*/ 7579 h 578489"/>
                    <a:gd name="connsiteX1" fmla="*/ 115287 w 2126703"/>
                    <a:gd name="connsiteY1" fmla="*/ 6248 h 578489"/>
                    <a:gd name="connsiteX2" fmla="*/ 452578 w 2126703"/>
                    <a:gd name="connsiteY2" fmla="*/ 0 h 578489"/>
                    <a:gd name="connsiteX3" fmla="*/ 2126191 w 2126703"/>
                    <a:gd name="connsiteY3" fmla="*/ 307553 h 578489"/>
                    <a:gd name="connsiteX4" fmla="*/ 772501 w 2126703"/>
                    <a:gd name="connsiteY4" fmla="*/ 572119 h 578489"/>
                    <a:gd name="connsiteX5" fmla="*/ 107280 w 2126703"/>
                    <a:gd name="connsiteY5" fmla="*/ 575123 h 578489"/>
                    <a:gd name="connsiteX6" fmla="*/ 0 w 2126703"/>
                    <a:gd name="connsiteY6" fmla="*/ 574913 h 578489"/>
                    <a:gd name="connsiteX7" fmla="*/ 49770 w 2126703"/>
                    <a:gd name="connsiteY7" fmla="*/ 311434 h 578489"/>
                    <a:gd name="connsiteX8" fmla="*/ 91963 w 2126703"/>
                    <a:gd name="connsiteY8" fmla="*/ 7579 h 578489"/>
                    <a:gd name="connsiteX0" fmla="*/ 91963 w 2126703"/>
                    <a:gd name="connsiteY0" fmla="*/ 7579 h 578489"/>
                    <a:gd name="connsiteX1" fmla="*/ 115287 w 2126703"/>
                    <a:gd name="connsiteY1" fmla="*/ 6248 h 578489"/>
                    <a:gd name="connsiteX2" fmla="*/ 452578 w 2126703"/>
                    <a:gd name="connsiteY2" fmla="*/ 0 h 578489"/>
                    <a:gd name="connsiteX3" fmla="*/ 2126191 w 2126703"/>
                    <a:gd name="connsiteY3" fmla="*/ 307553 h 578489"/>
                    <a:gd name="connsiteX4" fmla="*/ 772501 w 2126703"/>
                    <a:gd name="connsiteY4" fmla="*/ 572119 h 578489"/>
                    <a:gd name="connsiteX5" fmla="*/ 107280 w 2126703"/>
                    <a:gd name="connsiteY5" fmla="*/ 575123 h 578489"/>
                    <a:gd name="connsiteX6" fmla="*/ 0 w 2126703"/>
                    <a:gd name="connsiteY6" fmla="*/ 574913 h 578489"/>
                    <a:gd name="connsiteX7" fmla="*/ 42779 w 2126703"/>
                    <a:gd name="connsiteY7" fmla="*/ 298973 h 578489"/>
                    <a:gd name="connsiteX8" fmla="*/ 91963 w 2126703"/>
                    <a:gd name="connsiteY8" fmla="*/ 7579 h 578489"/>
                    <a:gd name="connsiteX0" fmla="*/ 91963 w 2126703"/>
                    <a:gd name="connsiteY0" fmla="*/ 7579 h 578489"/>
                    <a:gd name="connsiteX1" fmla="*/ 115287 w 2126703"/>
                    <a:gd name="connsiteY1" fmla="*/ 6248 h 578489"/>
                    <a:gd name="connsiteX2" fmla="*/ 452578 w 2126703"/>
                    <a:gd name="connsiteY2" fmla="*/ 0 h 578489"/>
                    <a:gd name="connsiteX3" fmla="*/ 2126191 w 2126703"/>
                    <a:gd name="connsiteY3" fmla="*/ 307553 h 578489"/>
                    <a:gd name="connsiteX4" fmla="*/ 772501 w 2126703"/>
                    <a:gd name="connsiteY4" fmla="*/ 572119 h 578489"/>
                    <a:gd name="connsiteX5" fmla="*/ 107280 w 2126703"/>
                    <a:gd name="connsiteY5" fmla="*/ 575123 h 578489"/>
                    <a:gd name="connsiteX6" fmla="*/ 0 w 2126703"/>
                    <a:gd name="connsiteY6" fmla="*/ 574913 h 578489"/>
                    <a:gd name="connsiteX7" fmla="*/ 42779 w 2126703"/>
                    <a:gd name="connsiteY7" fmla="*/ 298973 h 578489"/>
                    <a:gd name="connsiteX8" fmla="*/ 91963 w 2126703"/>
                    <a:gd name="connsiteY8" fmla="*/ 7579 h 578489"/>
                    <a:gd name="connsiteX0" fmla="*/ 103766 w 2138506"/>
                    <a:gd name="connsiteY0" fmla="*/ 7579 h 578489"/>
                    <a:gd name="connsiteX1" fmla="*/ 127090 w 2138506"/>
                    <a:gd name="connsiteY1" fmla="*/ 6248 h 578489"/>
                    <a:gd name="connsiteX2" fmla="*/ 464381 w 2138506"/>
                    <a:gd name="connsiteY2" fmla="*/ 0 h 578489"/>
                    <a:gd name="connsiteX3" fmla="*/ 2137994 w 2138506"/>
                    <a:gd name="connsiteY3" fmla="*/ 307553 h 578489"/>
                    <a:gd name="connsiteX4" fmla="*/ 784304 w 2138506"/>
                    <a:gd name="connsiteY4" fmla="*/ 572119 h 578489"/>
                    <a:gd name="connsiteX5" fmla="*/ 119083 w 2138506"/>
                    <a:gd name="connsiteY5" fmla="*/ 575123 h 578489"/>
                    <a:gd name="connsiteX6" fmla="*/ 0 w 2138506"/>
                    <a:gd name="connsiteY6" fmla="*/ 573343 h 578489"/>
                    <a:gd name="connsiteX7" fmla="*/ 54582 w 2138506"/>
                    <a:gd name="connsiteY7" fmla="*/ 298973 h 578489"/>
                    <a:gd name="connsiteX8" fmla="*/ 103766 w 2138506"/>
                    <a:gd name="connsiteY8" fmla="*/ 7579 h 578489"/>
                    <a:gd name="connsiteX0" fmla="*/ 103766 w 2138506"/>
                    <a:gd name="connsiteY0" fmla="*/ 7579 h 578489"/>
                    <a:gd name="connsiteX1" fmla="*/ 127090 w 2138506"/>
                    <a:gd name="connsiteY1" fmla="*/ 6248 h 578489"/>
                    <a:gd name="connsiteX2" fmla="*/ 464381 w 2138506"/>
                    <a:gd name="connsiteY2" fmla="*/ 0 h 578489"/>
                    <a:gd name="connsiteX3" fmla="*/ 2137994 w 2138506"/>
                    <a:gd name="connsiteY3" fmla="*/ 307553 h 578489"/>
                    <a:gd name="connsiteX4" fmla="*/ 784304 w 2138506"/>
                    <a:gd name="connsiteY4" fmla="*/ 572119 h 578489"/>
                    <a:gd name="connsiteX5" fmla="*/ 119083 w 2138506"/>
                    <a:gd name="connsiteY5" fmla="*/ 575123 h 578489"/>
                    <a:gd name="connsiteX6" fmla="*/ 0 w 2138506"/>
                    <a:gd name="connsiteY6" fmla="*/ 573343 h 578489"/>
                    <a:gd name="connsiteX7" fmla="*/ 52252 w 2138506"/>
                    <a:gd name="connsiteY7" fmla="*/ 294821 h 578489"/>
                    <a:gd name="connsiteX8" fmla="*/ 103766 w 2138506"/>
                    <a:gd name="connsiteY8" fmla="*/ 7579 h 578489"/>
                    <a:gd name="connsiteX0" fmla="*/ 93382 w 2138506"/>
                    <a:gd name="connsiteY0" fmla="*/ 13405 h 578489"/>
                    <a:gd name="connsiteX1" fmla="*/ 127090 w 2138506"/>
                    <a:gd name="connsiteY1" fmla="*/ 6248 h 578489"/>
                    <a:gd name="connsiteX2" fmla="*/ 464381 w 2138506"/>
                    <a:gd name="connsiteY2" fmla="*/ 0 h 578489"/>
                    <a:gd name="connsiteX3" fmla="*/ 2137994 w 2138506"/>
                    <a:gd name="connsiteY3" fmla="*/ 307553 h 578489"/>
                    <a:gd name="connsiteX4" fmla="*/ 784304 w 2138506"/>
                    <a:gd name="connsiteY4" fmla="*/ 572119 h 578489"/>
                    <a:gd name="connsiteX5" fmla="*/ 119083 w 2138506"/>
                    <a:gd name="connsiteY5" fmla="*/ 575123 h 578489"/>
                    <a:gd name="connsiteX6" fmla="*/ 0 w 2138506"/>
                    <a:gd name="connsiteY6" fmla="*/ 573343 h 578489"/>
                    <a:gd name="connsiteX7" fmla="*/ 52252 w 2138506"/>
                    <a:gd name="connsiteY7" fmla="*/ 294821 h 578489"/>
                    <a:gd name="connsiteX8" fmla="*/ 93382 w 2138506"/>
                    <a:gd name="connsiteY8" fmla="*/ 13405 h 578489"/>
                    <a:gd name="connsiteX0" fmla="*/ 93382 w 2138506"/>
                    <a:gd name="connsiteY0" fmla="*/ 13405 h 578489"/>
                    <a:gd name="connsiteX1" fmla="*/ 127090 w 2138506"/>
                    <a:gd name="connsiteY1" fmla="*/ 6248 h 578489"/>
                    <a:gd name="connsiteX2" fmla="*/ 464381 w 2138506"/>
                    <a:gd name="connsiteY2" fmla="*/ 0 h 578489"/>
                    <a:gd name="connsiteX3" fmla="*/ 2137994 w 2138506"/>
                    <a:gd name="connsiteY3" fmla="*/ 307553 h 578489"/>
                    <a:gd name="connsiteX4" fmla="*/ 784304 w 2138506"/>
                    <a:gd name="connsiteY4" fmla="*/ 572119 h 578489"/>
                    <a:gd name="connsiteX5" fmla="*/ 119083 w 2138506"/>
                    <a:gd name="connsiteY5" fmla="*/ 575123 h 578489"/>
                    <a:gd name="connsiteX6" fmla="*/ 0 w 2138506"/>
                    <a:gd name="connsiteY6" fmla="*/ 573343 h 578489"/>
                    <a:gd name="connsiteX7" fmla="*/ 93382 w 2138506"/>
                    <a:gd name="connsiteY7" fmla="*/ 13405 h 578489"/>
                    <a:gd name="connsiteX0" fmla="*/ 96623 w 2141747"/>
                    <a:gd name="connsiteY0" fmla="*/ 13405 h 578489"/>
                    <a:gd name="connsiteX1" fmla="*/ 130331 w 2141747"/>
                    <a:gd name="connsiteY1" fmla="*/ 6248 h 578489"/>
                    <a:gd name="connsiteX2" fmla="*/ 467622 w 2141747"/>
                    <a:gd name="connsiteY2" fmla="*/ 0 h 578489"/>
                    <a:gd name="connsiteX3" fmla="*/ 2141235 w 2141747"/>
                    <a:gd name="connsiteY3" fmla="*/ 307553 h 578489"/>
                    <a:gd name="connsiteX4" fmla="*/ 787545 w 2141747"/>
                    <a:gd name="connsiteY4" fmla="*/ 572119 h 578489"/>
                    <a:gd name="connsiteX5" fmla="*/ 122324 w 2141747"/>
                    <a:gd name="connsiteY5" fmla="*/ 575123 h 578489"/>
                    <a:gd name="connsiteX6" fmla="*/ 0 w 2141747"/>
                    <a:gd name="connsiteY6" fmla="*/ 572432 h 578489"/>
                    <a:gd name="connsiteX7" fmla="*/ 96623 w 2141747"/>
                    <a:gd name="connsiteY7" fmla="*/ 13405 h 578489"/>
                    <a:gd name="connsiteX0" fmla="*/ 92470 w 2141747"/>
                    <a:gd name="connsiteY0" fmla="*/ 15735 h 578489"/>
                    <a:gd name="connsiteX1" fmla="*/ 130331 w 2141747"/>
                    <a:gd name="connsiteY1" fmla="*/ 6248 h 578489"/>
                    <a:gd name="connsiteX2" fmla="*/ 467622 w 2141747"/>
                    <a:gd name="connsiteY2" fmla="*/ 0 h 578489"/>
                    <a:gd name="connsiteX3" fmla="*/ 2141235 w 2141747"/>
                    <a:gd name="connsiteY3" fmla="*/ 307553 h 578489"/>
                    <a:gd name="connsiteX4" fmla="*/ 787545 w 2141747"/>
                    <a:gd name="connsiteY4" fmla="*/ 572119 h 578489"/>
                    <a:gd name="connsiteX5" fmla="*/ 122324 w 2141747"/>
                    <a:gd name="connsiteY5" fmla="*/ 575123 h 578489"/>
                    <a:gd name="connsiteX6" fmla="*/ 0 w 2141747"/>
                    <a:gd name="connsiteY6" fmla="*/ 572432 h 578489"/>
                    <a:gd name="connsiteX7" fmla="*/ 92470 w 2141747"/>
                    <a:gd name="connsiteY7" fmla="*/ 15735 h 578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41747" h="578489">
                      <a:moveTo>
                        <a:pt x="92470" y="15735"/>
                      </a:moveTo>
                      <a:lnTo>
                        <a:pt x="130331" y="6248"/>
                      </a:lnTo>
                      <a:cubicBezTo>
                        <a:pt x="239279" y="2151"/>
                        <a:pt x="352083" y="0"/>
                        <a:pt x="467622" y="0"/>
                      </a:cubicBezTo>
                      <a:cubicBezTo>
                        <a:pt x="1391933" y="0"/>
                        <a:pt x="2119618" y="161646"/>
                        <a:pt x="2141235" y="307553"/>
                      </a:cubicBezTo>
                      <a:cubicBezTo>
                        <a:pt x="2162852" y="453460"/>
                        <a:pt x="1497534" y="554521"/>
                        <a:pt x="787545" y="572119"/>
                      </a:cubicBezTo>
                      <a:cubicBezTo>
                        <a:pt x="430257" y="580975"/>
                        <a:pt x="231272" y="579220"/>
                        <a:pt x="122324" y="575123"/>
                      </a:cubicBezTo>
                      <a:lnTo>
                        <a:pt x="0" y="572432"/>
                      </a:lnTo>
                      <a:lnTo>
                        <a:pt x="92470" y="15735"/>
                      </a:lnTo>
                      <a:close/>
                    </a:path>
                  </a:pathLst>
                </a:custGeom>
                <a:gradFill flip="none" rotWithShape="1">
                  <a:gsLst>
                    <a:gs pos="0">
                      <a:srgbClr val="483698"/>
                    </a:gs>
                    <a:gs pos="85000">
                      <a:srgbClr val="A498C6"/>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07" name="Freeform 106"/>
                <p:cNvSpPr/>
                <p:nvPr/>
              </p:nvSpPr>
              <p:spPr>
                <a:xfrm rot="12856638">
                  <a:off x="2910112" y="2335379"/>
                  <a:ext cx="3142228" cy="681749"/>
                </a:xfrm>
                <a:custGeom>
                  <a:avLst/>
                  <a:gdLst>
                    <a:gd name="connsiteX0" fmla="*/ 2747424 w 2822666"/>
                    <a:gd name="connsiteY0" fmla="*/ 399010 h 615106"/>
                    <a:gd name="connsiteX1" fmla="*/ 1149053 w 2822666"/>
                    <a:gd name="connsiteY1" fmla="*/ 615106 h 615106"/>
                    <a:gd name="connsiteX2" fmla="*/ 84480 w 2822666"/>
                    <a:gd name="connsiteY2" fmla="*/ 544876 h 615106"/>
                    <a:gd name="connsiteX3" fmla="*/ 66054 w 2822666"/>
                    <a:gd name="connsiteY3" fmla="*/ 541798 h 615106"/>
                    <a:gd name="connsiteX4" fmla="*/ 45506 w 2822666"/>
                    <a:gd name="connsiteY4" fmla="*/ 429415 h 615106"/>
                    <a:gd name="connsiteX5" fmla="*/ 0 w 2822666"/>
                    <a:gd name="connsiteY5" fmla="*/ 84340 h 615106"/>
                    <a:gd name="connsiteX6" fmla="*/ 84480 w 2822666"/>
                    <a:gd name="connsiteY6" fmla="*/ 70230 h 615106"/>
                    <a:gd name="connsiteX7" fmla="*/ 1149053 w 2822666"/>
                    <a:gd name="connsiteY7" fmla="*/ 0 h 615106"/>
                    <a:gd name="connsiteX8" fmla="*/ 2822666 w 2822666"/>
                    <a:gd name="connsiteY8" fmla="*/ 307553 h 615106"/>
                    <a:gd name="connsiteX9" fmla="*/ 2747424 w 2822666"/>
                    <a:gd name="connsiteY9" fmla="*/ 399010 h 615106"/>
                    <a:gd name="connsiteX0" fmla="*/ 2747424 w 2822666"/>
                    <a:gd name="connsiteY0" fmla="*/ 399010 h 615106"/>
                    <a:gd name="connsiteX1" fmla="*/ 1149053 w 2822666"/>
                    <a:gd name="connsiteY1" fmla="*/ 615106 h 615106"/>
                    <a:gd name="connsiteX2" fmla="*/ 84480 w 2822666"/>
                    <a:gd name="connsiteY2" fmla="*/ 544876 h 615106"/>
                    <a:gd name="connsiteX3" fmla="*/ 66054 w 2822666"/>
                    <a:gd name="connsiteY3" fmla="*/ 541798 h 615106"/>
                    <a:gd name="connsiteX4" fmla="*/ 0 w 2822666"/>
                    <a:gd name="connsiteY4" fmla="*/ 84340 h 615106"/>
                    <a:gd name="connsiteX5" fmla="*/ 84480 w 2822666"/>
                    <a:gd name="connsiteY5" fmla="*/ 70230 h 615106"/>
                    <a:gd name="connsiteX6" fmla="*/ 1149053 w 2822666"/>
                    <a:gd name="connsiteY6" fmla="*/ 0 h 615106"/>
                    <a:gd name="connsiteX7" fmla="*/ 2822666 w 2822666"/>
                    <a:gd name="connsiteY7" fmla="*/ 307553 h 615106"/>
                    <a:gd name="connsiteX8" fmla="*/ 2747424 w 2822666"/>
                    <a:gd name="connsiteY8" fmla="*/ 399010 h 615106"/>
                    <a:gd name="connsiteX0" fmla="*/ 2747424 w 2822666"/>
                    <a:gd name="connsiteY0" fmla="*/ 399010 h 615106"/>
                    <a:gd name="connsiteX1" fmla="*/ 1149053 w 2822666"/>
                    <a:gd name="connsiteY1" fmla="*/ 615106 h 615106"/>
                    <a:gd name="connsiteX2" fmla="*/ 84480 w 2822666"/>
                    <a:gd name="connsiteY2" fmla="*/ 544876 h 615106"/>
                    <a:gd name="connsiteX3" fmla="*/ 55560 w 2822666"/>
                    <a:gd name="connsiteY3" fmla="*/ 548950 h 615106"/>
                    <a:gd name="connsiteX4" fmla="*/ 0 w 2822666"/>
                    <a:gd name="connsiteY4" fmla="*/ 84340 h 615106"/>
                    <a:gd name="connsiteX5" fmla="*/ 84480 w 2822666"/>
                    <a:gd name="connsiteY5" fmla="*/ 70230 h 615106"/>
                    <a:gd name="connsiteX6" fmla="*/ 1149053 w 2822666"/>
                    <a:gd name="connsiteY6" fmla="*/ 0 h 615106"/>
                    <a:gd name="connsiteX7" fmla="*/ 2822666 w 2822666"/>
                    <a:gd name="connsiteY7" fmla="*/ 307553 h 615106"/>
                    <a:gd name="connsiteX8" fmla="*/ 2747424 w 2822666"/>
                    <a:gd name="connsiteY8" fmla="*/ 399010 h 615106"/>
                    <a:gd name="connsiteX0" fmla="*/ 2747424 w 2822666"/>
                    <a:gd name="connsiteY0" fmla="*/ 399010 h 615106"/>
                    <a:gd name="connsiteX1" fmla="*/ 1149053 w 2822666"/>
                    <a:gd name="connsiteY1" fmla="*/ 615106 h 615106"/>
                    <a:gd name="connsiteX2" fmla="*/ 84480 w 2822666"/>
                    <a:gd name="connsiteY2" fmla="*/ 544876 h 615106"/>
                    <a:gd name="connsiteX3" fmla="*/ 55560 w 2822666"/>
                    <a:gd name="connsiteY3" fmla="*/ 548950 h 615106"/>
                    <a:gd name="connsiteX4" fmla="*/ 0 w 2822666"/>
                    <a:gd name="connsiteY4" fmla="*/ 84340 h 615106"/>
                    <a:gd name="connsiteX5" fmla="*/ 84480 w 2822666"/>
                    <a:gd name="connsiteY5" fmla="*/ 70230 h 615106"/>
                    <a:gd name="connsiteX6" fmla="*/ 1149053 w 2822666"/>
                    <a:gd name="connsiteY6" fmla="*/ 0 h 615106"/>
                    <a:gd name="connsiteX7" fmla="*/ 2822666 w 2822666"/>
                    <a:gd name="connsiteY7" fmla="*/ 307553 h 615106"/>
                    <a:gd name="connsiteX8" fmla="*/ 2747424 w 2822666"/>
                    <a:gd name="connsiteY8" fmla="*/ 399010 h 615106"/>
                    <a:gd name="connsiteX0" fmla="*/ 2747425 w 2822667"/>
                    <a:gd name="connsiteY0" fmla="*/ 399010 h 615106"/>
                    <a:gd name="connsiteX1" fmla="*/ 1149054 w 2822667"/>
                    <a:gd name="connsiteY1" fmla="*/ 615106 h 615106"/>
                    <a:gd name="connsiteX2" fmla="*/ 84481 w 2822667"/>
                    <a:gd name="connsiteY2" fmla="*/ 544876 h 615106"/>
                    <a:gd name="connsiteX3" fmla="*/ 55561 w 2822667"/>
                    <a:gd name="connsiteY3" fmla="*/ 548950 h 615106"/>
                    <a:gd name="connsiteX4" fmla="*/ 0 w 2822667"/>
                    <a:gd name="connsiteY4" fmla="*/ 84340 h 615106"/>
                    <a:gd name="connsiteX5" fmla="*/ 84481 w 2822667"/>
                    <a:gd name="connsiteY5" fmla="*/ 70230 h 615106"/>
                    <a:gd name="connsiteX6" fmla="*/ 1149054 w 2822667"/>
                    <a:gd name="connsiteY6" fmla="*/ 0 h 615106"/>
                    <a:gd name="connsiteX7" fmla="*/ 2822667 w 2822667"/>
                    <a:gd name="connsiteY7" fmla="*/ 307553 h 615106"/>
                    <a:gd name="connsiteX8" fmla="*/ 2747425 w 2822667"/>
                    <a:gd name="connsiteY8" fmla="*/ 399010 h 615106"/>
                    <a:gd name="connsiteX0" fmla="*/ 2747425 w 2822667"/>
                    <a:gd name="connsiteY0" fmla="*/ 399010 h 615106"/>
                    <a:gd name="connsiteX1" fmla="*/ 1149054 w 2822667"/>
                    <a:gd name="connsiteY1" fmla="*/ 615106 h 615106"/>
                    <a:gd name="connsiteX2" fmla="*/ 84481 w 2822667"/>
                    <a:gd name="connsiteY2" fmla="*/ 544876 h 615106"/>
                    <a:gd name="connsiteX3" fmla="*/ 45067 w 2822667"/>
                    <a:gd name="connsiteY3" fmla="*/ 556103 h 615106"/>
                    <a:gd name="connsiteX4" fmla="*/ 0 w 2822667"/>
                    <a:gd name="connsiteY4" fmla="*/ 84340 h 615106"/>
                    <a:gd name="connsiteX5" fmla="*/ 84481 w 2822667"/>
                    <a:gd name="connsiteY5" fmla="*/ 70230 h 615106"/>
                    <a:gd name="connsiteX6" fmla="*/ 1149054 w 2822667"/>
                    <a:gd name="connsiteY6" fmla="*/ 0 h 615106"/>
                    <a:gd name="connsiteX7" fmla="*/ 2822667 w 2822667"/>
                    <a:gd name="connsiteY7" fmla="*/ 307553 h 615106"/>
                    <a:gd name="connsiteX8" fmla="*/ 2747425 w 2822667"/>
                    <a:gd name="connsiteY8" fmla="*/ 399010 h 615106"/>
                    <a:gd name="connsiteX0" fmla="*/ 2759824 w 2835066"/>
                    <a:gd name="connsiteY0" fmla="*/ 399010 h 615106"/>
                    <a:gd name="connsiteX1" fmla="*/ 1161453 w 2835066"/>
                    <a:gd name="connsiteY1" fmla="*/ 615106 h 615106"/>
                    <a:gd name="connsiteX2" fmla="*/ 96880 w 2835066"/>
                    <a:gd name="connsiteY2" fmla="*/ 544876 h 615106"/>
                    <a:gd name="connsiteX3" fmla="*/ 57466 w 2835066"/>
                    <a:gd name="connsiteY3" fmla="*/ 556103 h 615106"/>
                    <a:gd name="connsiteX4" fmla="*/ 0 w 2835066"/>
                    <a:gd name="connsiteY4" fmla="*/ 77422 h 615106"/>
                    <a:gd name="connsiteX5" fmla="*/ 96880 w 2835066"/>
                    <a:gd name="connsiteY5" fmla="*/ 70230 h 615106"/>
                    <a:gd name="connsiteX6" fmla="*/ 1161453 w 2835066"/>
                    <a:gd name="connsiteY6" fmla="*/ 0 h 615106"/>
                    <a:gd name="connsiteX7" fmla="*/ 2835066 w 2835066"/>
                    <a:gd name="connsiteY7" fmla="*/ 307553 h 615106"/>
                    <a:gd name="connsiteX8" fmla="*/ 2759824 w 2835066"/>
                    <a:gd name="connsiteY8" fmla="*/ 399010 h 61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35066" h="615106">
                      <a:moveTo>
                        <a:pt x="2759824" y="399010"/>
                      </a:moveTo>
                      <a:cubicBezTo>
                        <a:pt x="2547925" y="524205"/>
                        <a:pt x="1912456" y="615106"/>
                        <a:pt x="1161453" y="615106"/>
                      </a:cubicBezTo>
                      <a:cubicBezTo>
                        <a:pt x="757067" y="615106"/>
                        <a:pt x="386179" y="588750"/>
                        <a:pt x="96880" y="544876"/>
                      </a:cubicBezTo>
                      <a:lnTo>
                        <a:pt x="57466" y="556103"/>
                      </a:lnTo>
                      <a:cubicBezTo>
                        <a:pt x="28452" y="408387"/>
                        <a:pt x="18520" y="232292"/>
                        <a:pt x="0" y="77422"/>
                      </a:cubicBezTo>
                      <a:lnTo>
                        <a:pt x="96880" y="70230"/>
                      </a:lnTo>
                      <a:cubicBezTo>
                        <a:pt x="386179" y="26356"/>
                        <a:pt x="757067" y="0"/>
                        <a:pt x="1161453" y="0"/>
                      </a:cubicBezTo>
                      <a:cubicBezTo>
                        <a:pt x="2085764" y="0"/>
                        <a:pt x="2835066" y="137696"/>
                        <a:pt x="2835066" y="307553"/>
                      </a:cubicBezTo>
                      <a:cubicBezTo>
                        <a:pt x="2835066" y="339401"/>
                        <a:pt x="2808723" y="370119"/>
                        <a:pt x="2759824" y="399010"/>
                      </a:cubicBezTo>
                      <a:close/>
                    </a:path>
                  </a:pathLst>
                </a:custGeom>
                <a:gradFill flip="none" rotWithShape="1">
                  <a:gsLst>
                    <a:gs pos="0">
                      <a:srgbClr val="005EB8"/>
                    </a:gs>
                    <a:gs pos="100000">
                      <a:srgbClr val="80ADD6"/>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08" name="Freeform 107"/>
                <p:cNvSpPr/>
                <p:nvPr/>
              </p:nvSpPr>
              <p:spPr>
                <a:xfrm rot="18013253">
                  <a:off x="4515989" y="2695955"/>
                  <a:ext cx="2220076" cy="687762"/>
                </a:xfrm>
                <a:custGeom>
                  <a:avLst/>
                  <a:gdLst>
                    <a:gd name="connsiteX0" fmla="*/ 2057061 w 2065702"/>
                    <a:gd name="connsiteY0" fmla="*/ 276107 h 615106"/>
                    <a:gd name="connsiteX1" fmla="*/ 2065702 w 2065702"/>
                    <a:gd name="connsiteY1" fmla="*/ 307553 h 615106"/>
                    <a:gd name="connsiteX2" fmla="*/ 392089 w 2065702"/>
                    <a:gd name="connsiteY2" fmla="*/ 615106 h 615106"/>
                    <a:gd name="connsiteX3" fmla="*/ 54798 w 2065702"/>
                    <a:gd name="connsiteY3" fmla="*/ 608858 h 615106"/>
                    <a:gd name="connsiteX4" fmla="*/ 0 w 2065702"/>
                    <a:gd name="connsiteY4" fmla="*/ 605732 h 615106"/>
                    <a:gd name="connsiteX5" fmla="*/ 4348 w 2065702"/>
                    <a:gd name="connsiteY5" fmla="*/ 9126 h 615106"/>
                    <a:gd name="connsiteX6" fmla="*/ 54798 w 2065702"/>
                    <a:gd name="connsiteY6" fmla="*/ 6248 h 615106"/>
                    <a:gd name="connsiteX7" fmla="*/ 392089 w 2065702"/>
                    <a:gd name="connsiteY7" fmla="*/ 0 h 615106"/>
                    <a:gd name="connsiteX8" fmla="*/ 2057061 w 2065702"/>
                    <a:gd name="connsiteY8" fmla="*/ 276107 h 615106"/>
                    <a:gd name="connsiteX0" fmla="*/ 2061515 w 2070156"/>
                    <a:gd name="connsiteY0" fmla="*/ 276107 h 615106"/>
                    <a:gd name="connsiteX1" fmla="*/ 2070156 w 2070156"/>
                    <a:gd name="connsiteY1" fmla="*/ 307553 h 615106"/>
                    <a:gd name="connsiteX2" fmla="*/ 396543 w 2070156"/>
                    <a:gd name="connsiteY2" fmla="*/ 615106 h 615106"/>
                    <a:gd name="connsiteX3" fmla="*/ 59252 w 2070156"/>
                    <a:gd name="connsiteY3" fmla="*/ 608858 h 615106"/>
                    <a:gd name="connsiteX4" fmla="*/ 0 w 2070156"/>
                    <a:gd name="connsiteY4" fmla="*/ 602815 h 615106"/>
                    <a:gd name="connsiteX5" fmla="*/ 8802 w 2070156"/>
                    <a:gd name="connsiteY5" fmla="*/ 9126 h 615106"/>
                    <a:gd name="connsiteX6" fmla="*/ 59252 w 2070156"/>
                    <a:gd name="connsiteY6" fmla="*/ 6248 h 615106"/>
                    <a:gd name="connsiteX7" fmla="*/ 396543 w 2070156"/>
                    <a:gd name="connsiteY7" fmla="*/ 0 h 615106"/>
                    <a:gd name="connsiteX8" fmla="*/ 2061515 w 2070156"/>
                    <a:gd name="connsiteY8" fmla="*/ 276107 h 615106"/>
                    <a:gd name="connsiteX0" fmla="*/ 2061515 w 2070156"/>
                    <a:gd name="connsiteY0" fmla="*/ 276107 h 615106"/>
                    <a:gd name="connsiteX1" fmla="*/ 2070156 w 2070156"/>
                    <a:gd name="connsiteY1" fmla="*/ 307553 h 615106"/>
                    <a:gd name="connsiteX2" fmla="*/ 396543 w 2070156"/>
                    <a:gd name="connsiteY2" fmla="*/ 615106 h 615106"/>
                    <a:gd name="connsiteX3" fmla="*/ 59252 w 2070156"/>
                    <a:gd name="connsiteY3" fmla="*/ 608858 h 615106"/>
                    <a:gd name="connsiteX4" fmla="*/ 0 w 2070156"/>
                    <a:gd name="connsiteY4" fmla="*/ 602815 h 615106"/>
                    <a:gd name="connsiteX5" fmla="*/ 8802 w 2070156"/>
                    <a:gd name="connsiteY5" fmla="*/ 9126 h 615106"/>
                    <a:gd name="connsiteX6" fmla="*/ 396543 w 2070156"/>
                    <a:gd name="connsiteY6" fmla="*/ 0 h 615106"/>
                    <a:gd name="connsiteX7" fmla="*/ 2061515 w 2070156"/>
                    <a:gd name="connsiteY7" fmla="*/ 276107 h 615106"/>
                    <a:gd name="connsiteX0" fmla="*/ 2061515 w 2070156"/>
                    <a:gd name="connsiteY0" fmla="*/ 276107 h 615106"/>
                    <a:gd name="connsiteX1" fmla="*/ 2070156 w 2070156"/>
                    <a:gd name="connsiteY1" fmla="*/ 307553 h 615106"/>
                    <a:gd name="connsiteX2" fmla="*/ 396543 w 2070156"/>
                    <a:gd name="connsiteY2" fmla="*/ 615106 h 615106"/>
                    <a:gd name="connsiteX3" fmla="*/ 59252 w 2070156"/>
                    <a:gd name="connsiteY3" fmla="*/ 608858 h 615106"/>
                    <a:gd name="connsiteX4" fmla="*/ 0 w 2070156"/>
                    <a:gd name="connsiteY4" fmla="*/ 602815 h 615106"/>
                    <a:gd name="connsiteX5" fmla="*/ 134818 w 2070156"/>
                    <a:gd name="connsiteY5" fmla="*/ 8079 h 615106"/>
                    <a:gd name="connsiteX6" fmla="*/ 396543 w 2070156"/>
                    <a:gd name="connsiteY6" fmla="*/ 0 h 615106"/>
                    <a:gd name="connsiteX7" fmla="*/ 2061515 w 2070156"/>
                    <a:gd name="connsiteY7" fmla="*/ 276107 h 615106"/>
                    <a:gd name="connsiteX0" fmla="*/ 2002263 w 2010904"/>
                    <a:gd name="connsiteY0" fmla="*/ 276107 h 615106"/>
                    <a:gd name="connsiteX1" fmla="*/ 2010904 w 2010904"/>
                    <a:gd name="connsiteY1" fmla="*/ 307553 h 615106"/>
                    <a:gd name="connsiteX2" fmla="*/ 337291 w 2010904"/>
                    <a:gd name="connsiteY2" fmla="*/ 615106 h 615106"/>
                    <a:gd name="connsiteX3" fmla="*/ 0 w 2010904"/>
                    <a:gd name="connsiteY3" fmla="*/ 608858 h 615106"/>
                    <a:gd name="connsiteX4" fmla="*/ 44832 w 2010904"/>
                    <a:gd name="connsiteY4" fmla="*/ 587410 h 615106"/>
                    <a:gd name="connsiteX5" fmla="*/ 75566 w 2010904"/>
                    <a:gd name="connsiteY5" fmla="*/ 8079 h 615106"/>
                    <a:gd name="connsiteX6" fmla="*/ 337291 w 2010904"/>
                    <a:gd name="connsiteY6" fmla="*/ 0 h 615106"/>
                    <a:gd name="connsiteX7" fmla="*/ 2002263 w 2010904"/>
                    <a:gd name="connsiteY7" fmla="*/ 276107 h 615106"/>
                    <a:gd name="connsiteX0" fmla="*/ 2002263 w 2010904"/>
                    <a:gd name="connsiteY0" fmla="*/ 276107 h 615106"/>
                    <a:gd name="connsiteX1" fmla="*/ 2010904 w 2010904"/>
                    <a:gd name="connsiteY1" fmla="*/ 307553 h 615106"/>
                    <a:gd name="connsiteX2" fmla="*/ 337291 w 2010904"/>
                    <a:gd name="connsiteY2" fmla="*/ 615106 h 615106"/>
                    <a:gd name="connsiteX3" fmla="*/ 0 w 2010904"/>
                    <a:gd name="connsiteY3" fmla="*/ 608858 h 615106"/>
                    <a:gd name="connsiteX4" fmla="*/ 94332 w 2010904"/>
                    <a:gd name="connsiteY4" fmla="*/ 594754 h 615106"/>
                    <a:gd name="connsiteX5" fmla="*/ 75566 w 2010904"/>
                    <a:gd name="connsiteY5" fmla="*/ 8079 h 615106"/>
                    <a:gd name="connsiteX6" fmla="*/ 337291 w 2010904"/>
                    <a:gd name="connsiteY6" fmla="*/ 0 h 615106"/>
                    <a:gd name="connsiteX7" fmla="*/ 2002263 w 2010904"/>
                    <a:gd name="connsiteY7" fmla="*/ 276107 h 615106"/>
                    <a:gd name="connsiteX0" fmla="*/ 2002263 w 2010904"/>
                    <a:gd name="connsiteY0" fmla="*/ 276107 h 615106"/>
                    <a:gd name="connsiteX1" fmla="*/ 2010904 w 2010904"/>
                    <a:gd name="connsiteY1" fmla="*/ 307553 h 615106"/>
                    <a:gd name="connsiteX2" fmla="*/ 337291 w 2010904"/>
                    <a:gd name="connsiteY2" fmla="*/ 615106 h 615106"/>
                    <a:gd name="connsiteX3" fmla="*/ 0 w 2010904"/>
                    <a:gd name="connsiteY3" fmla="*/ 608858 h 615106"/>
                    <a:gd name="connsiteX4" fmla="*/ 33850 w 2010904"/>
                    <a:gd name="connsiteY4" fmla="*/ 607375 h 615106"/>
                    <a:gd name="connsiteX5" fmla="*/ 75566 w 2010904"/>
                    <a:gd name="connsiteY5" fmla="*/ 8079 h 615106"/>
                    <a:gd name="connsiteX6" fmla="*/ 337291 w 2010904"/>
                    <a:gd name="connsiteY6" fmla="*/ 0 h 615106"/>
                    <a:gd name="connsiteX7" fmla="*/ 2002263 w 2010904"/>
                    <a:gd name="connsiteY7" fmla="*/ 276107 h 615106"/>
                    <a:gd name="connsiteX0" fmla="*/ 1968413 w 1977054"/>
                    <a:gd name="connsiteY0" fmla="*/ 276107 h 668684"/>
                    <a:gd name="connsiteX1" fmla="*/ 1977054 w 1977054"/>
                    <a:gd name="connsiteY1" fmla="*/ 307553 h 668684"/>
                    <a:gd name="connsiteX2" fmla="*/ 303441 w 1977054"/>
                    <a:gd name="connsiteY2" fmla="*/ 615106 h 668684"/>
                    <a:gd name="connsiteX3" fmla="*/ 0 w 1977054"/>
                    <a:gd name="connsiteY3" fmla="*/ 607375 h 668684"/>
                    <a:gd name="connsiteX4" fmla="*/ 41716 w 1977054"/>
                    <a:gd name="connsiteY4" fmla="*/ 8079 h 668684"/>
                    <a:gd name="connsiteX5" fmla="*/ 303441 w 1977054"/>
                    <a:gd name="connsiteY5" fmla="*/ 0 h 668684"/>
                    <a:gd name="connsiteX6" fmla="*/ 1968413 w 1977054"/>
                    <a:gd name="connsiteY6" fmla="*/ 276107 h 668684"/>
                    <a:gd name="connsiteX0" fmla="*/ 1968413 w 1977054"/>
                    <a:gd name="connsiteY0" fmla="*/ 276107 h 643453"/>
                    <a:gd name="connsiteX1" fmla="*/ 1977054 w 1977054"/>
                    <a:gd name="connsiteY1" fmla="*/ 307553 h 643453"/>
                    <a:gd name="connsiteX2" fmla="*/ 303441 w 1977054"/>
                    <a:gd name="connsiteY2" fmla="*/ 615106 h 643453"/>
                    <a:gd name="connsiteX3" fmla="*/ 0 w 1977054"/>
                    <a:gd name="connsiteY3" fmla="*/ 607375 h 643453"/>
                    <a:gd name="connsiteX4" fmla="*/ 41716 w 1977054"/>
                    <a:gd name="connsiteY4" fmla="*/ 8079 h 643453"/>
                    <a:gd name="connsiteX5" fmla="*/ 303441 w 1977054"/>
                    <a:gd name="connsiteY5" fmla="*/ 0 h 643453"/>
                    <a:gd name="connsiteX6" fmla="*/ 1968413 w 1977054"/>
                    <a:gd name="connsiteY6" fmla="*/ 276107 h 643453"/>
                    <a:gd name="connsiteX0" fmla="*/ 1968413 w 1977054"/>
                    <a:gd name="connsiteY0" fmla="*/ 276107 h 638715"/>
                    <a:gd name="connsiteX1" fmla="*/ 1977054 w 1977054"/>
                    <a:gd name="connsiteY1" fmla="*/ 307553 h 638715"/>
                    <a:gd name="connsiteX2" fmla="*/ 303441 w 1977054"/>
                    <a:gd name="connsiteY2" fmla="*/ 615106 h 638715"/>
                    <a:gd name="connsiteX3" fmla="*/ 0 w 1977054"/>
                    <a:gd name="connsiteY3" fmla="*/ 607375 h 638715"/>
                    <a:gd name="connsiteX4" fmla="*/ 41716 w 1977054"/>
                    <a:gd name="connsiteY4" fmla="*/ 8079 h 638715"/>
                    <a:gd name="connsiteX5" fmla="*/ 303441 w 1977054"/>
                    <a:gd name="connsiteY5" fmla="*/ 0 h 638715"/>
                    <a:gd name="connsiteX6" fmla="*/ 1968413 w 1977054"/>
                    <a:gd name="connsiteY6" fmla="*/ 276107 h 638715"/>
                    <a:gd name="connsiteX0" fmla="*/ 1968413 w 1977054"/>
                    <a:gd name="connsiteY0" fmla="*/ 276107 h 620507"/>
                    <a:gd name="connsiteX1" fmla="*/ 1977054 w 1977054"/>
                    <a:gd name="connsiteY1" fmla="*/ 307553 h 620507"/>
                    <a:gd name="connsiteX2" fmla="*/ 303441 w 1977054"/>
                    <a:gd name="connsiteY2" fmla="*/ 615106 h 620507"/>
                    <a:gd name="connsiteX3" fmla="*/ 0 w 1977054"/>
                    <a:gd name="connsiteY3" fmla="*/ 607375 h 620507"/>
                    <a:gd name="connsiteX4" fmla="*/ 41716 w 1977054"/>
                    <a:gd name="connsiteY4" fmla="*/ 8079 h 620507"/>
                    <a:gd name="connsiteX5" fmla="*/ 303441 w 1977054"/>
                    <a:gd name="connsiteY5" fmla="*/ 0 h 620507"/>
                    <a:gd name="connsiteX6" fmla="*/ 1968413 w 1977054"/>
                    <a:gd name="connsiteY6" fmla="*/ 276107 h 620507"/>
                    <a:gd name="connsiteX0" fmla="*/ 1968413 w 1977054"/>
                    <a:gd name="connsiteY0" fmla="*/ 276107 h 616196"/>
                    <a:gd name="connsiteX1" fmla="*/ 1977054 w 1977054"/>
                    <a:gd name="connsiteY1" fmla="*/ 307553 h 616196"/>
                    <a:gd name="connsiteX2" fmla="*/ 303441 w 1977054"/>
                    <a:gd name="connsiteY2" fmla="*/ 615106 h 616196"/>
                    <a:gd name="connsiteX3" fmla="*/ 0 w 1977054"/>
                    <a:gd name="connsiteY3" fmla="*/ 607375 h 616196"/>
                    <a:gd name="connsiteX4" fmla="*/ 41716 w 1977054"/>
                    <a:gd name="connsiteY4" fmla="*/ 8079 h 616196"/>
                    <a:gd name="connsiteX5" fmla="*/ 303441 w 1977054"/>
                    <a:gd name="connsiteY5" fmla="*/ 0 h 616196"/>
                    <a:gd name="connsiteX6" fmla="*/ 1968413 w 1977054"/>
                    <a:gd name="connsiteY6" fmla="*/ 276107 h 616196"/>
                    <a:gd name="connsiteX0" fmla="*/ 1968413 w 1977367"/>
                    <a:gd name="connsiteY0" fmla="*/ 276107 h 616196"/>
                    <a:gd name="connsiteX1" fmla="*/ 1977054 w 1977367"/>
                    <a:gd name="connsiteY1" fmla="*/ 307553 h 616196"/>
                    <a:gd name="connsiteX2" fmla="*/ 303441 w 1977367"/>
                    <a:gd name="connsiteY2" fmla="*/ 615106 h 616196"/>
                    <a:gd name="connsiteX3" fmla="*/ 0 w 1977367"/>
                    <a:gd name="connsiteY3" fmla="*/ 607375 h 616196"/>
                    <a:gd name="connsiteX4" fmla="*/ 41716 w 1977367"/>
                    <a:gd name="connsiteY4" fmla="*/ 8079 h 616196"/>
                    <a:gd name="connsiteX5" fmla="*/ 303441 w 1977367"/>
                    <a:gd name="connsiteY5" fmla="*/ 0 h 616196"/>
                    <a:gd name="connsiteX6" fmla="*/ 1968413 w 1977367"/>
                    <a:gd name="connsiteY6" fmla="*/ 276107 h 616196"/>
                    <a:gd name="connsiteX0" fmla="*/ 1968413 w 1977367"/>
                    <a:gd name="connsiteY0" fmla="*/ 276107 h 615188"/>
                    <a:gd name="connsiteX1" fmla="*/ 1977054 w 1977367"/>
                    <a:gd name="connsiteY1" fmla="*/ 307553 h 615188"/>
                    <a:gd name="connsiteX2" fmla="*/ 303441 w 1977367"/>
                    <a:gd name="connsiteY2" fmla="*/ 615106 h 615188"/>
                    <a:gd name="connsiteX3" fmla="*/ 0 w 1977367"/>
                    <a:gd name="connsiteY3" fmla="*/ 607375 h 615188"/>
                    <a:gd name="connsiteX4" fmla="*/ 41716 w 1977367"/>
                    <a:gd name="connsiteY4" fmla="*/ 8079 h 615188"/>
                    <a:gd name="connsiteX5" fmla="*/ 303441 w 1977367"/>
                    <a:gd name="connsiteY5" fmla="*/ 0 h 615188"/>
                    <a:gd name="connsiteX6" fmla="*/ 1968413 w 1977367"/>
                    <a:gd name="connsiteY6" fmla="*/ 276107 h 615188"/>
                    <a:gd name="connsiteX0" fmla="*/ 1968413 w 1977367"/>
                    <a:gd name="connsiteY0" fmla="*/ 276107 h 615188"/>
                    <a:gd name="connsiteX1" fmla="*/ 1977054 w 1977367"/>
                    <a:gd name="connsiteY1" fmla="*/ 307553 h 615188"/>
                    <a:gd name="connsiteX2" fmla="*/ 303441 w 1977367"/>
                    <a:gd name="connsiteY2" fmla="*/ 615106 h 615188"/>
                    <a:gd name="connsiteX3" fmla="*/ 0 w 1977367"/>
                    <a:gd name="connsiteY3" fmla="*/ 607375 h 615188"/>
                    <a:gd name="connsiteX4" fmla="*/ 37262 w 1977367"/>
                    <a:gd name="connsiteY4" fmla="*/ 5162 h 615188"/>
                    <a:gd name="connsiteX5" fmla="*/ 303441 w 1977367"/>
                    <a:gd name="connsiteY5" fmla="*/ 0 h 615188"/>
                    <a:gd name="connsiteX6" fmla="*/ 1968413 w 1977367"/>
                    <a:gd name="connsiteY6" fmla="*/ 276107 h 615188"/>
                    <a:gd name="connsiteX0" fmla="*/ 1968413 w 1977367"/>
                    <a:gd name="connsiteY0" fmla="*/ 276107 h 615188"/>
                    <a:gd name="connsiteX1" fmla="*/ 1977054 w 1977367"/>
                    <a:gd name="connsiteY1" fmla="*/ 307553 h 615188"/>
                    <a:gd name="connsiteX2" fmla="*/ 303441 w 1977367"/>
                    <a:gd name="connsiteY2" fmla="*/ 615106 h 615188"/>
                    <a:gd name="connsiteX3" fmla="*/ 0 w 1977367"/>
                    <a:gd name="connsiteY3" fmla="*/ 607375 h 615188"/>
                    <a:gd name="connsiteX4" fmla="*/ 34006 w 1977367"/>
                    <a:gd name="connsiteY4" fmla="*/ 4303 h 615188"/>
                    <a:gd name="connsiteX5" fmla="*/ 303441 w 1977367"/>
                    <a:gd name="connsiteY5" fmla="*/ 0 h 615188"/>
                    <a:gd name="connsiteX6" fmla="*/ 1968413 w 1977367"/>
                    <a:gd name="connsiteY6" fmla="*/ 276107 h 615188"/>
                    <a:gd name="connsiteX0" fmla="*/ 1968413 w 1977367"/>
                    <a:gd name="connsiteY0" fmla="*/ 276107 h 615188"/>
                    <a:gd name="connsiteX1" fmla="*/ 1977054 w 1977367"/>
                    <a:gd name="connsiteY1" fmla="*/ 307553 h 615188"/>
                    <a:gd name="connsiteX2" fmla="*/ 303441 w 1977367"/>
                    <a:gd name="connsiteY2" fmla="*/ 615106 h 615188"/>
                    <a:gd name="connsiteX3" fmla="*/ 0 w 1977367"/>
                    <a:gd name="connsiteY3" fmla="*/ 607375 h 615188"/>
                    <a:gd name="connsiteX4" fmla="*/ 29550 w 1977367"/>
                    <a:gd name="connsiteY4" fmla="*/ 1386 h 615188"/>
                    <a:gd name="connsiteX5" fmla="*/ 303441 w 1977367"/>
                    <a:gd name="connsiteY5" fmla="*/ 0 h 615188"/>
                    <a:gd name="connsiteX6" fmla="*/ 1968413 w 1977367"/>
                    <a:gd name="connsiteY6" fmla="*/ 276107 h 615188"/>
                    <a:gd name="connsiteX0" fmla="*/ 1974924 w 1983878"/>
                    <a:gd name="connsiteY0" fmla="*/ 276107 h 635890"/>
                    <a:gd name="connsiteX1" fmla="*/ 1983565 w 1983878"/>
                    <a:gd name="connsiteY1" fmla="*/ 307553 h 635890"/>
                    <a:gd name="connsiteX2" fmla="*/ 309952 w 1983878"/>
                    <a:gd name="connsiteY2" fmla="*/ 615106 h 635890"/>
                    <a:gd name="connsiteX3" fmla="*/ 0 w 1983878"/>
                    <a:gd name="connsiteY3" fmla="*/ 605657 h 635890"/>
                    <a:gd name="connsiteX4" fmla="*/ 36061 w 1983878"/>
                    <a:gd name="connsiteY4" fmla="*/ 1386 h 635890"/>
                    <a:gd name="connsiteX5" fmla="*/ 309952 w 1983878"/>
                    <a:gd name="connsiteY5" fmla="*/ 0 h 635890"/>
                    <a:gd name="connsiteX6" fmla="*/ 1974924 w 1983878"/>
                    <a:gd name="connsiteY6" fmla="*/ 276107 h 635890"/>
                    <a:gd name="connsiteX0" fmla="*/ 1974924 w 1983878"/>
                    <a:gd name="connsiteY0" fmla="*/ 276107 h 615106"/>
                    <a:gd name="connsiteX1" fmla="*/ 1983565 w 1983878"/>
                    <a:gd name="connsiteY1" fmla="*/ 307553 h 615106"/>
                    <a:gd name="connsiteX2" fmla="*/ 309952 w 1983878"/>
                    <a:gd name="connsiteY2" fmla="*/ 615106 h 615106"/>
                    <a:gd name="connsiteX3" fmla="*/ 0 w 1983878"/>
                    <a:gd name="connsiteY3" fmla="*/ 605657 h 615106"/>
                    <a:gd name="connsiteX4" fmla="*/ 36061 w 1983878"/>
                    <a:gd name="connsiteY4" fmla="*/ 1386 h 615106"/>
                    <a:gd name="connsiteX5" fmla="*/ 309952 w 1983878"/>
                    <a:gd name="connsiteY5" fmla="*/ 0 h 615106"/>
                    <a:gd name="connsiteX6" fmla="*/ 1974924 w 1983878"/>
                    <a:gd name="connsiteY6" fmla="*/ 276107 h 615106"/>
                    <a:gd name="connsiteX0" fmla="*/ 1974924 w 1983878"/>
                    <a:gd name="connsiteY0" fmla="*/ 276107 h 615106"/>
                    <a:gd name="connsiteX1" fmla="*/ 1983565 w 1983878"/>
                    <a:gd name="connsiteY1" fmla="*/ 307553 h 615106"/>
                    <a:gd name="connsiteX2" fmla="*/ 309952 w 1983878"/>
                    <a:gd name="connsiteY2" fmla="*/ 615106 h 615106"/>
                    <a:gd name="connsiteX3" fmla="*/ 0 w 1983878"/>
                    <a:gd name="connsiteY3" fmla="*/ 605657 h 615106"/>
                    <a:gd name="connsiteX4" fmla="*/ 36061 w 1983878"/>
                    <a:gd name="connsiteY4" fmla="*/ 1386 h 615106"/>
                    <a:gd name="connsiteX5" fmla="*/ 309952 w 1983878"/>
                    <a:gd name="connsiteY5" fmla="*/ 0 h 615106"/>
                    <a:gd name="connsiteX6" fmla="*/ 1974924 w 1983878"/>
                    <a:gd name="connsiteY6" fmla="*/ 276107 h 615106"/>
                    <a:gd name="connsiteX0" fmla="*/ 1974924 w 1983878"/>
                    <a:gd name="connsiteY0" fmla="*/ 276107 h 615144"/>
                    <a:gd name="connsiteX1" fmla="*/ 1983565 w 1983878"/>
                    <a:gd name="connsiteY1" fmla="*/ 307553 h 615144"/>
                    <a:gd name="connsiteX2" fmla="*/ 309952 w 1983878"/>
                    <a:gd name="connsiteY2" fmla="*/ 615106 h 615144"/>
                    <a:gd name="connsiteX3" fmla="*/ 0 w 1983878"/>
                    <a:gd name="connsiteY3" fmla="*/ 605657 h 615144"/>
                    <a:gd name="connsiteX4" fmla="*/ 36061 w 1983878"/>
                    <a:gd name="connsiteY4" fmla="*/ 1386 h 615144"/>
                    <a:gd name="connsiteX5" fmla="*/ 309952 w 1983878"/>
                    <a:gd name="connsiteY5" fmla="*/ 0 h 615144"/>
                    <a:gd name="connsiteX6" fmla="*/ 1974924 w 1983878"/>
                    <a:gd name="connsiteY6" fmla="*/ 276107 h 615144"/>
                    <a:gd name="connsiteX0" fmla="*/ 1974924 w 1983878"/>
                    <a:gd name="connsiteY0" fmla="*/ 277353 h 616390"/>
                    <a:gd name="connsiteX1" fmla="*/ 1983565 w 1983878"/>
                    <a:gd name="connsiteY1" fmla="*/ 308799 h 616390"/>
                    <a:gd name="connsiteX2" fmla="*/ 309952 w 1983878"/>
                    <a:gd name="connsiteY2" fmla="*/ 616352 h 616390"/>
                    <a:gd name="connsiteX3" fmla="*/ 0 w 1983878"/>
                    <a:gd name="connsiteY3" fmla="*/ 606903 h 616390"/>
                    <a:gd name="connsiteX4" fmla="*/ 32041 w 1983878"/>
                    <a:gd name="connsiteY4" fmla="*/ 0 h 616390"/>
                    <a:gd name="connsiteX5" fmla="*/ 309952 w 1983878"/>
                    <a:gd name="connsiteY5" fmla="*/ 1246 h 616390"/>
                    <a:gd name="connsiteX6" fmla="*/ 1974924 w 1983878"/>
                    <a:gd name="connsiteY6" fmla="*/ 277353 h 616390"/>
                    <a:gd name="connsiteX0" fmla="*/ 1974924 w 1983878"/>
                    <a:gd name="connsiteY0" fmla="*/ 277353 h 616390"/>
                    <a:gd name="connsiteX1" fmla="*/ 1983565 w 1983878"/>
                    <a:gd name="connsiteY1" fmla="*/ 308799 h 616390"/>
                    <a:gd name="connsiteX2" fmla="*/ 309952 w 1983878"/>
                    <a:gd name="connsiteY2" fmla="*/ 616352 h 616390"/>
                    <a:gd name="connsiteX3" fmla="*/ 0 w 1983878"/>
                    <a:gd name="connsiteY3" fmla="*/ 606903 h 616390"/>
                    <a:gd name="connsiteX4" fmla="*/ 32041 w 1983878"/>
                    <a:gd name="connsiteY4" fmla="*/ 0 h 616390"/>
                    <a:gd name="connsiteX5" fmla="*/ 309952 w 1983878"/>
                    <a:gd name="connsiteY5" fmla="*/ 1246 h 616390"/>
                    <a:gd name="connsiteX6" fmla="*/ 1974924 w 1983878"/>
                    <a:gd name="connsiteY6" fmla="*/ 277353 h 616390"/>
                    <a:gd name="connsiteX0" fmla="*/ 1974924 w 1983878"/>
                    <a:gd name="connsiteY0" fmla="*/ 280454 h 619491"/>
                    <a:gd name="connsiteX1" fmla="*/ 1983565 w 1983878"/>
                    <a:gd name="connsiteY1" fmla="*/ 311900 h 619491"/>
                    <a:gd name="connsiteX2" fmla="*/ 309952 w 1983878"/>
                    <a:gd name="connsiteY2" fmla="*/ 619453 h 619491"/>
                    <a:gd name="connsiteX3" fmla="*/ 0 w 1983878"/>
                    <a:gd name="connsiteY3" fmla="*/ 610004 h 619491"/>
                    <a:gd name="connsiteX4" fmla="*/ 20289 w 1983878"/>
                    <a:gd name="connsiteY4" fmla="*/ 0 h 619491"/>
                    <a:gd name="connsiteX5" fmla="*/ 309952 w 1983878"/>
                    <a:gd name="connsiteY5" fmla="*/ 4347 h 619491"/>
                    <a:gd name="connsiteX6" fmla="*/ 1974924 w 1983878"/>
                    <a:gd name="connsiteY6" fmla="*/ 280454 h 619491"/>
                    <a:gd name="connsiteX0" fmla="*/ 1994102 w 2003056"/>
                    <a:gd name="connsiteY0" fmla="*/ 280454 h 640287"/>
                    <a:gd name="connsiteX1" fmla="*/ 2002743 w 2003056"/>
                    <a:gd name="connsiteY1" fmla="*/ 311900 h 640287"/>
                    <a:gd name="connsiteX2" fmla="*/ 329130 w 2003056"/>
                    <a:gd name="connsiteY2" fmla="*/ 619453 h 640287"/>
                    <a:gd name="connsiteX3" fmla="*/ 0 w 2003056"/>
                    <a:gd name="connsiteY3" fmla="*/ 611229 h 640287"/>
                    <a:gd name="connsiteX4" fmla="*/ 39467 w 2003056"/>
                    <a:gd name="connsiteY4" fmla="*/ 0 h 640287"/>
                    <a:gd name="connsiteX5" fmla="*/ 329130 w 2003056"/>
                    <a:gd name="connsiteY5" fmla="*/ 4347 h 640287"/>
                    <a:gd name="connsiteX6" fmla="*/ 1994102 w 2003056"/>
                    <a:gd name="connsiteY6" fmla="*/ 280454 h 640287"/>
                    <a:gd name="connsiteX0" fmla="*/ 1994102 w 2003056"/>
                    <a:gd name="connsiteY0" fmla="*/ 280454 h 627674"/>
                    <a:gd name="connsiteX1" fmla="*/ 2002743 w 2003056"/>
                    <a:gd name="connsiteY1" fmla="*/ 311900 h 627674"/>
                    <a:gd name="connsiteX2" fmla="*/ 329130 w 2003056"/>
                    <a:gd name="connsiteY2" fmla="*/ 619453 h 627674"/>
                    <a:gd name="connsiteX3" fmla="*/ 0 w 2003056"/>
                    <a:gd name="connsiteY3" fmla="*/ 611229 h 627674"/>
                    <a:gd name="connsiteX4" fmla="*/ 39467 w 2003056"/>
                    <a:gd name="connsiteY4" fmla="*/ 0 h 627674"/>
                    <a:gd name="connsiteX5" fmla="*/ 329130 w 2003056"/>
                    <a:gd name="connsiteY5" fmla="*/ 4347 h 627674"/>
                    <a:gd name="connsiteX6" fmla="*/ 1994102 w 2003056"/>
                    <a:gd name="connsiteY6" fmla="*/ 280454 h 627674"/>
                    <a:gd name="connsiteX0" fmla="*/ 1994102 w 2003056"/>
                    <a:gd name="connsiteY0" fmla="*/ 280454 h 619498"/>
                    <a:gd name="connsiteX1" fmla="*/ 2002743 w 2003056"/>
                    <a:gd name="connsiteY1" fmla="*/ 311900 h 619498"/>
                    <a:gd name="connsiteX2" fmla="*/ 329130 w 2003056"/>
                    <a:gd name="connsiteY2" fmla="*/ 619453 h 619498"/>
                    <a:gd name="connsiteX3" fmla="*/ 0 w 2003056"/>
                    <a:gd name="connsiteY3" fmla="*/ 611229 h 619498"/>
                    <a:gd name="connsiteX4" fmla="*/ 39467 w 2003056"/>
                    <a:gd name="connsiteY4" fmla="*/ 0 h 619498"/>
                    <a:gd name="connsiteX5" fmla="*/ 329130 w 2003056"/>
                    <a:gd name="connsiteY5" fmla="*/ 4347 h 619498"/>
                    <a:gd name="connsiteX6" fmla="*/ 1994102 w 2003056"/>
                    <a:gd name="connsiteY6" fmla="*/ 280454 h 619498"/>
                    <a:gd name="connsiteX0" fmla="*/ 1994102 w 2003056"/>
                    <a:gd name="connsiteY0" fmla="*/ 281488 h 620532"/>
                    <a:gd name="connsiteX1" fmla="*/ 2002743 w 2003056"/>
                    <a:gd name="connsiteY1" fmla="*/ 312934 h 620532"/>
                    <a:gd name="connsiteX2" fmla="*/ 329130 w 2003056"/>
                    <a:gd name="connsiteY2" fmla="*/ 620487 h 620532"/>
                    <a:gd name="connsiteX3" fmla="*/ 0 w 2003056"/>
                    <a:gd name="connsiteY3" fmla="*/ 612263 h 620532"/>
                    <a:gd name="connsiteX4" fmla="*/ 35550 w 2003056"/>
                    <a:gd name="connsiteY4" fmla="*/ 0 h 620532"/>
                    <a:gd name="connsiteX5" fmla="*/ 329130 w 2003056"/>
                    <a:gd name="connsiteY5" fmla="*/ 5381 h 620532"/>
                    <a:gd name="connsiteX6" fmla="*/ 1994102 w 2003056"/>
                    <a:gd name="connsiteY6" fmla="*/ 281488 h 620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3056" h="620532">
                      <a:moveTo>
                        <a:pt x="1994102" y="281488"/>
                      </a:moveTo>
                      <a:cubicBezTo>
                        <a:pt x="1999816" y="291828"/>
                        <a:pt x="2004306" y="302434"/>
                        <a:pt x="2002743" y="312934"/>
                      </a:cubicBezTo>
                      <a:cubicBezTo>
                        <a:pt x="1970648" y="528620"/>
                        <a:pt x="666619" y="622913"/>
                        <a:pt x="329130" y="620487"/>
                      </a:cubicBezTo>
                      <a:cubicBezTo>
                        <a:pt x="44653" y="618442"/>
                        <a:pt x="103317" y="615413"/>
                        <a:pt x="0" y="612263"/>
                      </a:cubicBezTo>
                      <a:cubicBezTo>
                        <a:pt x="29858" y="408737"/>
                        <a:pt x="24870" y="202301"/>
                        <a:pt x="35550" y="0"/>
                      </a:cubicBezTo>
                      <a:lnTo>
                        <a:pt x="329130" y="5381"/>
                      </a:lnTo>
                      <a:cubicBezTo>
                        <a:pt x="1195672" y="5381"/>
                        <a:pt x="1908397" y="126403"/>
                        <a:pt x="1994102" y="281488"/>
                      </a:cubicBezTo>
                      <a:close/>
                    </a:path>
                  </a:pathLst>
                </a:custGeom>
                <a:gradFill flip="none" rotWithShape="1">
                  <a:gsLst>
                    <a:gs pos="0">
                      <a:srgbClr val="69BEE9"/>
                    </a:gs>
                    <a:gs pos="100000">
                      <a:srgbClr val="0091DA"/>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09" name="Freeform 108"/>
                <p:cNvSpPr/>
                <p:nvPr/>
              </p:nvSpPr>
              <p:spPr>
                <a:xfrm rot="18300533" flipV="1">
                  <a:off x="1903734" y="3130798"/>
                  <a:ext cx="3311362" cy="1176997"/>
                </a:xfrm>
                <a:custGeom>
                  <a:avLst/>
                  <a:gdLst>
                    <a:gd name="connsiteX0" fmla="*/ 2208282 w 3003933"/>
                    <a:gd name="connsiteY0" fmla="*/ 273284 h 1072497"/>
                    <a:gd name="connsiteX1" fmla="*/ 2212694 w 3003933"/>
                    <a:gd name="connsiteY1" fmla="*/ 7902 h 1072497"/>
                    <a:gd name="connsiteX2" fmla="*/ 2186241 w 3003933"/>
                    <a:gd name="connsiteY2" fmla="*/ 6179 h 1072497"/>
                    <a:gd name="connsiteX3" fmla="*/ 1897300 w 3003933"/>
                    <a:gd name="connsiteY3" fmla="*/ 0 h 1072497"/>
                    <a:gd name="connsiteX4" fmla="*/ 0 w 3003933"/>
                    <a:gd name="connsiteY4" fmla="*/ 536248 h 1072497"/>
                    <a:gd name="connsiteX5" fmla="*/ 1158787 w 3003933"/>
                    <a:gd name="connsiteY5" fmla="*/ 1030357 h 1072497"/>
                    <a:gd name="connsiteX6" fmla="*/ 1488814 w 3003933"/>
                    <a:gd name="connsiteY6" fmla="*/ 1059313 h 1072497"/>
                    <a:gd name="connsiteX7" fmla="*/ 1557129 w 3003933"/>
                    <a:gd name="connsiteY7" fmla="*/ 798320 h 1072497"/>
                    <a:gd name="connsiteX8" fmla="*/ 1263154 w 3003933"/>
                    <a:gd name="connsiteY8" fmla="*/ 783303 h 1072497"/>
                    <a:gd name="connsiteX9" fmla="*/ 268127 w 3003933"/>
                    <a:gd name="connsiteY9" fmla="*/ 536248 h 1072497"/>
                    <a:gd name="connsiteX10" fmla="*/ 1568965 w 3003933"/>
                    <a:gd name="connsiteY10" fmla="*/ 273572 h 1072497"/>
                    <a:gd name="connsiteX11" fmla="*/ 1695033 w 3003933"/>
                    <a:gd name="connsiteY11" fmla="*/ 271480 h 1072497"/>
                    <a:gd name="connsiteX12" fmla="*/ 1695033 w 3003933"/>
                    <a:gd name="connsiteY12" fmla="*/ 271478 h 1072497"/>
                    <a:gd name="connsiteX13" fmla="*/ 1897302 w 3003933"/>
                    <a:gd name="connsiteY13" fmla="*/ 268122 h 1072497"/>
                    <a:gd name="connsiteX14" fmla="*/ 2175740 w 3003933"/>
                    <a:gd name="connsiteY14" fmla="*/ 272741 h 1072497"/>
                    <a:gd name="connsiteX15" fmla="*/ 2181302 w 3003933"/>
                    <a:gd name="connsiteY15" fmla="*/ 251493 h 1072497"/>
                    <a:gd name="connsiteX16" fmla="*/ 2175740 w 3003933"/>
                    <a:gd name="connsiteY16" fmla="*/ 272743 h 1072497"/>
                    <a:gd name="connsiteX17" fmla="*/ 3001662 w 3003933"/>
                    <a:gd name="connsiteY17" fmla="*/ 971708 h 1072497"/>
                    <a:gd name="connsiteX18" fmla="*/ 3000665 w 3003933"/>
                    <a:gd name="connsiteY18" fmla="*/ 900148 h 1072497"/>
                    <a:gd name="connsiteX19" fmla="*/ 3002798 w 3003933"/>
                    <a:gd name="connsiteY19" fmla="*/ 761206 h 1072497"/>
                    <a:gd name="connsiteX20" fmla="*/ 3003933 w 3003933"/>
                    <a:gd name="connsiteY20" fmla="*/ 732373 h 1072497"/>
                    <a:gd name="connsiteX21" fmla="*/ 2933611 w 3003933"/>
                    <a:gd name="connsiteY21" fmla="*/ 743146 h 1072497"/>
                    <a:gd name="connsiteX22" fmla="*/ 2225640 w 3003933"/>
                    <a:gd name="connsiteY22" fmla="*/ 798928 h 1072497"/>
                    <a:gd name="connsiteX23" fmla="*/ 2037188 w 3003933"/>
                    <a:gd name="connsiteY23" fmla="*/ 802052 h 1072497"/>
                    <a:gd name="connsiteX24" fmla="*/ 1897304 w 3003933"/>
                    <a:gd name="connsiteY24" fmla="*/ 804373 h 1072497"/>
                    <a:gd name="connsiteX25" fmla="*/ 1568969 w 3003933"/>
                    <a:gd name="connsiteY25" fmla="*/ 798925 h 1072497"/>
                    <a:gd name="connsiteX26" fmla="*/ 1557131 w 3003933"/>
                    <a:gd name="connsiteY26" fmla="*/ 798320 h 1072497"/>
                    <a:gd name="connsiteX27" fmla="*/ 1488816 w 3003933"/>
                    <a:gd name="connsiteY27" fmla="*/ 1059313 h 1072497"/>
                    <a:gd name="connsiteX28" fmla="*/ 1514932 w 3003933"/>
                    <a:gd name="connsiteY28" fmla="*/ 1061604 h 1072497"/>
                    <a:gd name="connsiteX29" fmla="*/ 1897306 w 3003933"/>
                    <a:gd name="connsiteY29" fmla="*/ 1072497 h 1072497"/>
                    <a:gd name="connsiteX30" fmla="*/ 1966917 w 3003933"/>
                    <a:gd name="connsiteY30" fmla="*/ 1070513 h 1072497"/>
                    <a:gd name="connsiteX31" fmla="*/ 2279674 w 3003933"/>
                    <a:gd name="connsiteY31" fmla="*/ 1061604 h 1072497"/>
                    <a:gd name="connsiteX32" fmla="*/ 2958102 w 3003933"/>
                    <a:gd name="connsiteY32" fmla="*/ 980915 h 1072497"/>
                    <a:gd name="connsiteX0" fmla="*/ 2208282 w 3003933"/>
                    <a:gd name="connsiteY0" fmla="*/ 273284 h 1072497"/>
                    <a:gd name="connsiteX1" fmla="*/ 2212694 w 3003933"/>
                    <a:gd name="connsiteY1" fmla="*/ 7902 h 1072497"/>
                    <a:gd name="connsiteX2" fmla="*/ 2186241 w 3003933"/>
                    <a:gd name="connsiteY2" fmla="*/ 6179 h 1072497"/>
                    <a:gd name="connsiteX3" fmla="*/ 1897300 w 3003933"/>
                    <a:gd name="connsiteY3" fmla="*/ 0 h 1072497"/>
                    <a:gd name="connsiteX4" fmla="*/ 0 w 3003933"/>
                    <a:gd name="connsiteY4" fmla="*/ 536248 h 1072497"/>
                    <a:gd name="connsiteX5" fmla="*/ 1158787 w 3003933"/>
                    <a:gd name="connsiteY5" fmla="*/ 1030357 h 1072497"/>
                    <a:gd name="connsiteX6" fmla="*/ 1488814 w 3003933"/>
                    <a:gd name="connsiteY6" fmla="*/ 1059313 h 1072497"/>
                    <a:gd name="connsiteX7" fmla="*/ 1557129 w 3003933"/>
                    <a:gd name="connsiteY7" fmla="*/ 798320 h 1072497"/>
                    <a:gd name="connsiteX8" fmla="*/ 1263154 w 3003933"/>
                    <a:gd name="connsiteY8" fmla="*/ 783303 h 1072497"/>
                    <a:gd name="connsiteX9" fmla="*/ 268127 w 3003933"/>
                    <a:gd name="connsiteY9" fmla="*/ 536248 h 1072497"/>
                    <a:gd name="connsiteX10" fmla="*/ 1568965 w 3003933"/>
                    <a:gd name="connsiteY10" fmla="*/ 273572 h 1072497"/>
                    <a:gd name="connsiteX11" fmla="*/ 1695033 w 3003933"/>
                    <a:gd name="connsiteY11" fmla="*/ 271480 h 1072497"/>
                    <a:gd name="connsiteX12" fmla="*/ 1695033 w 3003933"/>
                    <a:gd name="connsiteY12" fmla="*/ 271478 h 1072497"/>
                    <a:gd name="connsiteX13" fmla="*/ 1897302 w 3003933"/>
                    <a:gd name="connsiteY13" fmla="*/ 268122 h 1072497"/>
                    <a:gd name="connsiteX14" fmla="*/ 2175740 w 3003933"/>
                    <a:gd name="connsiteY14" fmla="*/ 272741 h 1072497"/>
                    <a:gd name="connsiteX15" fmla="*/ 2181302 w 3003933"/>
                    <a:gd name="connsiteY15" fmla="*/ 251493 h 1072497"/>
                    <a:gd name="connsiteX16" fmla="*/ 2175740 w 3003933"/>
                    <a:gd name="connsiteY16" fmla="*/ 272743 h 1072497"/>
                    <a:gd name="connsiteX17" fmla="*/ 2208282 w 3003933"/>
                    <a:gd name="connsiteY17" fmla="*/ 273284 h 1072497"/>
                    <a:gd name="connsiteX18" fmla="*/ 2958102 w 3003933"/>
                    <a:gd name="connsiteY18" fmla="*/ 980915 h 1072497"/>
                    <a:gd name="connsiteX19" fmla="*/ 3000665 w 3003933"/>
                    <a:gd name="connsiteY19" fmla="*/ 900148 h 1072497"/>
                    <a:gd name="connsiteX20" fmla="*/ 3002798 w 3003933"/>
                    <a:gd name="connsiteY20" fmla="*/ 761206 h 1072497"/>
                    <a:gd name="connsiteX21" fmla="*/ 3003933 w 3003933"/>
                    <a:gd name="connsiteY21" fmla="*/ 732373 h 1072497"/>
                    <a:gd name="connsiteX22" fmla="*/ 2933611 w 3003933"/>
                    <a:gd name="connsiteY22" fmla="*/ 743146 h 1072497"/>
                    <a:gd name="connsiteX23" fmla="*/ 2225640 w 3003933"/>
                    <a:gd name="connsiteY23" fmla="*/ 798928 h 1072497"/>
                    <a:gd name="connsiteX24" fmla="*/ 2037188 w 3003933"/>
                    <a:gd name="connsiteY24" fmla="*/ 802052 h 1072497"/>
                    <a:gd name="connsiteX25" fmla="*/ 1897304 w 3003933"/>
                    <a:gd name="connsiteY25" fmla="*/ 804373 h 1072497"/>
                    <a:gd name="connsiteX26" fmla="*/ 1568969 w 3003933"/>
                    <a:gd name="connsiteY26" fmla="*/ 798925 h 1072497"/>
                    <a:gd name="connsiteX27" fmla="*/ 1557131 w 3003933"/>
                    <a:gd name="connsiteY27" fmla="*/ 798320 h 1072497"/>
                    <a:gd name="connsiteX28" fmla="*/ 1488816 w 3003933"/>
                    <a:gd name="connsiteY28" fmla="*/ 1059313 h 1072497"/>
                    <a:gd name="connsiteX29" fmla="*/ 1514932 w 3003933"/>
                    <a:gd name="connsiteY29" fmla="*/ 1061604 h 1072497"/>
                    <a:gd name="connsiteX30" fmla="*/ 1897306 w 3003933"/>
                    <a:gd name="connsiteY30" fmla="*/ 1072497 h 1072497"/>
                    <a:gd name="connsiteX31" fmla="*/ 1966917 w 3003933"/>
                    <a:gd name="connsiteY31" fmla="*/ 1070513 h 1072497"/>
                    <a:gd name="connsiteX32" fmla="*/ 2279674 w 3003933"/>
                    <a:gd name="connsiteY32" fmla="*/ 1061604 h 1072497"/>
                    <a:gd name="connsiteX33" fmla="*/ 2958102 w 3003933"/>
                    <a:gd name="connsiteY33" fmla="*/ 980915 h 1072497"/>
                    <a:gd name="connsiteX0" fmla="*/ 2208282 w 3003933"/>
                    <a:gd name="connsiteY0" fmla="*/ 273284 h 1072497"/>
                    <a:gd name="connsiteX1" fmla="*/ 2212694 w 3003933"/>
                    <a:gd name="connsiteY1" fmla="*/ 7902 h 1072497"/>
                    <a:gd name="connsiteX2" fmla="*/ 2186241 w 3003933"/>
                    <a:gd name="connsiteY2" fmla="*/ 6179 h 1072497"/>
                    <a:gd name="connsiteX3" fmla="*/ 1897300 w 3003933"/>
                    <a:gd name="connsiteY3" fmla="*/ 0 h 1072497"/>
                    <a:gd name="connsiteX4" fmla="*/ 0 w 3003933"/>
                    <a:gd name="connsiteY4" fmla="*/ 536248 h 1072497"/>
                    <a:gd name="connsiteX5" fmla="*/ 1158787 w 3003933"/>
                    <a:gd name="connsiteY5" fmla="*/ 1030357 h 1072497"/>
                    <a:gd name="connsiteX6" fmla="*/ 1488814 w 3003933"/>
                    <a:gd name="connsiteY6" fmla="*/ 1059313 h 1072497"/>
                    <a:gd name="connsiteX7" fmla="*/ 1557129 w 3003933"/>
                    <a:gd name="connsiteY7" fmla="*/ 798320 h 1072497"/>
                    <a:gd name="connsiteX8" fmla="*/ 1263154 w 3003933"/>
                    <a:gd name="connsiteY8" fmla="*/ 783303 h 1072497"/>
                    <a:gd name="connsiteX9" fmla="*/ 268127 w 3003933"/>
                    <a:gd name="connsiteY9" fmla="*/ 536248 h 1072497"/>
                    <a:gd name="connsiteX10" fmla="*/ 1568965 w 3003933"/>
                    <a:gd name="connsiteY10" fmla="*/ 273572 h 1072497"/>
                    <a:gd name="connsiteX11" fmla="*/ 1695033 w 3003933"/>
                    <a:gd name="connsiteY11" fmla="*/ 271480 h 1072497"/>
                    <a:gd name="connsiteX12" fmla="*/ 1695033 w 3003933"/>
                    <a:gd name="connsiteY12" fmla="*/ 271478 h 1072497"/>
                    <a:gd name="connsiteX13" fmla="*/ 1897302 w 3003933"/>
                    <a:gd name="connsiteY13" fmla="*/ 268122 h 1072497"/>
                    <a:gd name="connsiteX14" fmla="*/ 2175740 w 3003933"/>
                    <a:gd name="connsiteY14" fmla="*/ 272741 h 1072497"/>
                    <a:gd name="connsiteX15" fmla="*/ 2181302 w 3003933"/>
                    <a:gd name="connsiteY15" fmla="*/ 251493 h 1072497"/>
                    <a:gd name="connsiteX16" fmla="*/ 2175740 w 3003933"/>
                    <a:gd name="connsiteY16" fmla="*/ 272743 h 1072497"/>
                    <a:gd name="connsiteX17" fmla="*/ 2208282 w 3003933"/>
                    <a:gd name="connsiteY17" fmla="*/ 273284 h 1072497"/>
                    <a:gd name="connsiteX18" fmla="*/ 2958102 w 3003933"/>
                    <a:gd name="connsiteY18" fmla="*/ 980915 h 1072497"/>
                    <a:gd name="connsiteX19" fmla="*/ 3002798 w 3003933"/>
                    <a:gd name="connsiteY19" fmla="*/ 761206 h 1072497"/>
                    <a:gd name="connsiteX20" fmla="*/ 3003933 w 3003933"/>
                    <a:gd name="connsiteY20" fmla="*/ 732373 h 1072497"/>
                    <a:gd name="connsiteX21" fmla="*/ 2933611 w 3003933"/>
                    <a:gd name="connsiteY21" fmla="*/ 743146 h 1072497"/>
                    <a:gd name="connsiteX22" fmla="*/ 2225640 w 3003933"/>
                    <a:gd name="connsiteY22" fmla="*/ 798928 h 1072497"/>
                    <a:gd name="connsiteX23" fmla="*/ 2037188 w 3003933"/>
                    <a:gd name="connsiteY23" fmla="*/ 802052 h 1072497"/>
                    <a:gd name="connsiteX24" fmla="*/ 1897304 w 3003933"/>
                    <a:gd name="connsiteY24" fmla="*/ 804373 h 1072497"/>
                    <a:gd name="connsiteX25" fmla="*/ 1568969 w 3003933"/>
                    <a:gd name="connsiteY25" fmla="*/ 798925 h 1072497"/>
                    <a:gd name="connsiteX26" fmla="*/ 1557131 w 3003933"/>
                    <a:gd name="connsiteY26" fmla="*/ 798320 h 1072497"/>
                    <a:gd name="connsiteX27" fmla="*/ 1488816 w 3003933"/>
                    <a:gd name="connsiteY27" fmla="*/ 1059313 h 1072497"/>
                    <a:gd name="connsiteX28" fmla="*/ 1514932 w 3003933"/>
                    <a:gd name="connsiteY28" fmla="*/ 1061604 h 1072497"/>
                    <a:gd name="connsiteX29" fmla="*/ 1897306 w 3003933"/>
                    <a:gd name="connsiteY29" fmla="*/ 1072497 h 1072497"/>
                    <a:gd name="connsiteX30" fmla="*/ 1966917 w 3003933"/>
                    <a:gd name="connsiteY30" fmla="*/ 1070513 h 1072497"/>
                    <a:gd name="connsiteX31" fmla="*/ 2279674 w 3003933"/>
                    <a:gd name="connsiteY31" fmla="*/ 1061604 h 1072497"/>
                    <a:gd name="connsiteX32" fmla="*/ 2958102 w 3003933"/>
                    <a:gd name="connsiteY32" fmla="*/ 980915 h 1072497"/>
                    <a:gd name="connsiteX0" fmla="*/ 2208282 w 3003933"/>
                    <a:gd name="connsiteY0" fmla="*/ 273284 h 1072497"/>
                    <a:gd name="connsiteX1" fmla="*/ 2212694 w 3003933"/>
                    <a:gd name="connsiteY1" fmla="*/ 7902 h 1072497"/>
                    <a:gd name="connsiteX2" fmla="*/ 2186241 w 3003933"/>
                    <a:gd name="connsiteY2" fmla="*/ 6179 h 1072497"/>
                    <a:gd name="connsiteX3" fmla="*/ 1897300 w 3003933"/>
                    <a:gd name="connsiteY3" fmla="*/ 0 h 1072497"/>
                    <a:gd name="connsiteX4" fmla="*/ 0 w 3003933"/>
                    <a:gd name="connsiteY4" fmla="*/ 536248 h 1072497"/>
                    <a:gd name="connsiteX5" fmla="*/ 1158787 w 3003933"/>
                    <a:gd name="connsiteY5" fmla="*/ 1030357 h 1072497"/>
                    <a:gd name="connsiteX6" fmla="*/ 1488814 w 3003933"/>
                    <a:gd name="connsiteY6" fmla="*/ 1059313 h 1072497"/>
                    <a:gd name="connsiteX7" fmla="*/ 1557129 w 3003933"/>
                    <a:gd name="connsiteY7" fmla="*/ 798320 h 1072497"/>
                    <a:gd name="connsiteX8" fmla="*/ 1263154 w 3003933"/>
                    <a:gd name="connsiteY8" fmla="*/ 783303 h 1072497"/>
                    <a:gd name="connsiteX9" fmla="*/ 268127 w 3003933"/>
                    <a:gd name="connsiteY9" fmla="*/ 536248 h 1072497"/>
                    <a:gd name="connsiteX10" fmla="*/ 1568965 w 3003933"/>
                    <a:gd name="connsiteY10" fmla="*/ 273572 h 1072497"/>
                    <a:gd name="connsiteX11" fmla="*/ 1695033 w 3003933"/>
                    <a:gd name="connsiteY11" fmla="*/ 271480 h 1072497"/>
                    <a:gd name="connsiteX12" fmla="*/ 1695033 w 3003933"/>
                    <a:gd name="connsiteY12" fmla="*/ 271478 h 1072497"/>
                    <a:gd name="connsiteX13" fmla="*/ 1897302 w 3003933"/>
                    <a:gd name="connsiteY13" fmla="*/ 268122 h 1072497"/>
                    <a:gd name="connsiteX14" fmla="*/ 2175740 w 3003933"/>
                    <a:gd name="connsiteY14" fmla="*/ 272741 h 1072497"/>
                    <a:gd name="connsiteX15" fmla="*/ 2181302 w 3003933"/>
                    <a:gd name="connsiteY15" fmla="*/ 251493 h 1072497"/>
                    <a:gd name="connsiteX16" fmla="*/ 2175740 w 3003933"/>
                    <a:gd name="connsiteY16" fmla="*/ 272743 h 1072497"/>
                    <a:gd name="connsiteX17" fmla="*/ 2208282 w 3003933"/>
                    <a:gd name="connsiteY17" fmla="*/ 273284 h 1072497"/>
                    <a:gd name="connsiteX18" fmla="*/ 2958102 w 3003933"/>
                    <a:gd name="connsiteY18" fmla="*/ 980915 h 1072497"/>
                    <a:gd name="connsiteX19" fmla="*/ 3003933 w 3003933"/>
                    <a:gd name="connsiteY19" fmla="*/ 732373 h 1072497"/>
                    <a:gd name="connsiteX20" fmla="*/ 2933611 w 3003933"/>
                    <a:gd name="connsiteY20" fmla="*/ 743146 h 1072497"/>
                    <a:gd name="connsiteX21" fmla="*/ 2225640 w 3003933"/>
                    <a:gd name="connsiteY21" fmla="*/ 798928 h 1072497"/>
                    <a:gd name="connsiteX22" fmla="*/ 2037188 w 3003933"/>
                    <a:gd name="connsiteY22" fmla="*/ 802052 h 1072497"/>
                    <a:gd name="connsiteX23" fmla="*/ 1897304 w 3003933"/>
                    <a:gd name="connsiteY23" fmla="*/ 804373 h 1072497"/>
                    <a:gd name="connsiteX24" fmla="*/ 1568969 w 3003933"/>
                    <a:gd name="connsiteY24" fmla="*/ 798925 h 1072497"/>
                    <a:gd name="connsiteX25" fmla="*/ 1557131 w 3003933"/>
                    <a:gd name="connsiteY25" fmla="*/ 798320 h 1072497"/>
                    <a:gd name="connsiteX26" fmla="*/ 1488816 w 3003933"/>
                    <a:gd name="connsiteY26" fmla="*/ 1059313 h 1072497"/>
                    <a:gd name="connsiteX27" fmla="*/ 1514932 w 3003933"/>
                    <a:gd name="connsiteY27" fmla="*/ 1061604 h 1072497"/>
                    <a:gd name="connsiteX28" fmla="*/ 1897306 w 3003933"/>
                    <a:gd name="connsiteY28" fmla="*/ 1072497 h 1072497"/>
                    <a:gd name="connsiteX29" fmla="*/ 1966917 w 3003933"/>
                    <a:gd name="connsiteY29" fmla="*/ 1070513 h 1072497"/>
                    <a:gd name="connsiteX30" fmla="*/ 2279674 w 3003933"/>
                    <a:gd name="connsiteY30" fmla="*/ 1061604 h 1072497"/>
                    <a:gd name="connsiteX31" fmla="*/ 2958102 w 3003933"/>
                    <a:gd name="connsiteY31" fmla="*/ 980915 h 1072497"/>
                    <a:gd name="connsiteX0" fmla="*/ 2208282 w 2958102"/>
                    <a:gd name="connsiteY0" fmla="*/ 273284 h 1072497"/>
                    <a:gd name="connsiteX1" fmla="*/ 2212694 w 2958102"/>
                    <a:gd name="connsiteY1" fmla="*/ 7902 h 1072497"/>
                    <a:gd name="connsiteX2" fmla="*/ 2186241 w 2958102"/>
                    <a:gd name="connsiteY2" fmla="*/ 6179 h 1072497"/>
                    <a:gd name="connsiteX3" fmla="*/ 1897300 w 2958102"/>
                    <a:gd name="connsiteY3" fmla="*/ 0 h 1072497"/>
                    <a:gd name="connsiteX4" fmla="*/ 0 w 2958102"/>
                    <a:gd name="connsiteY4" fmla="*/ 536248 h 1072497"/>
                    <a:gd name="connsiteX5" fmla="*/ 1158787 w 2958102"/>
                    <a:gd name="connsiteY5" fmla="*/ 1030357 h 1072497"/>
                    <a:gd name="connsiteX6" fmla="*/ 1488814 w 2958102"/>
                    <a:gd name="connsiteY6" fmla="*/ 1059313 h 1072497"/>
                    <a:gd name="connsiteX7" fmla="*/ 1557129 w 2958102"/>
                    <a:gd name="connsiteY7" fmla="*/ 798320 h 1072497"/>
                    <a:gd name="connsiteX8" fmla="*/ 1263154 w 2958102"/>
                    <a:gd name="connsiteY8" fmla="*/ 783303 h 1072497"/>
                    <a:gd name="connsiteX9" fmla="*/ 268127 w 2958102"/>
                    <a:gd name="connsiteY9" fmla="*/ 536248 h 1072497"/>
                    <a:gd name="connsiteX10" fmla="*/ 1568965 w 2958102"/>
                    <a:gd name="connsiteY10" fmla="*/ 273572 h 1072497"/>
                    <a:gd name="connsiteX11" fmla="*/ 1695033 w 2958102"/>
                    <a:gd name="connsiteY11" fmla="*/ 271480 h 1072497"/>
                    <a:gd name="connsiteX12" fmla="*/ 1695033 w 2958102"/>
                    <a:gd name="connsiteY12" fmla="*/ 271478 h 1072497"/>
                    <a:gd name="connsiteX13" fmla="*/ 1897302 w 2958102"/>
                    <a:gd name="connsiteY13" fmla="*/ 268122 h 1072497"/>
                    <a:gd name="connsiteX14" fmla="*/ 2175740 w 2958102"/>
                    <a:gd name="connsiteY14" fmla="*/ 272741 h 1072497"/>
                    <a:gd name="connsiteX15" fmla="*/ 2181302 w 2958102"/>
                    <a:gd name="connsiteY15" fmla="*/ 251493 h 1072497"/>
                    <a:gd name="connsiteX16" fmla="*/ 2175740 w 2958102"/>
                    <a:gd name="connsiteY16" fmla="*/ 272743 h 1072497"/>
                    <a:gd name="connsiteX17" fmla="*/ 2208282 w 2958102"/>
                    <a:gd name="connsiteY17" fmla="*/ 273284 h 1072497"/>
                    <a:gd name="connsiteX18" fmla="*/ 2958102 w 2958102"/>
                    <a:gd name="connsiteY18" fmla="*/ 980915 h 1072497"/>
                    <a:gd name="connsiteX19" fmla="*/ 2933611 w 2958102"/>
                    <a:gd name="connsiteY19" fmla="*/ 743146 h 1072497"/>
                    <a:gd name="connsiteX20" fmla="*/ 2225640 w 2958102"/>
                    <a:gd name="connsiteY20" fmla="*/ 798928 h 1072497"/>
                    <a:gd name="connsiteX21" fmla="*/ 2037188 w 2958102"/>
                    <a:gd name="connsiteY21" fmla="*/ 802052 h 1072497"/>
                    <a:gd name="connsiteX22" fmla="*/ 1897304 w 2958102"/>
                    <a:gd name="connsiteY22" fmla="*/ 804373 h 1072497"/>
                    <a:gd name="connsiteX23" fmla="*/ 1568969 w 2958102"/>
                    <a:gd name="connsiteY23" fmla="*/ 798925 h 1072497"/>
                    <a:gd name="connsiteX24" fmla="*/ 1557131 w 2958102"/>
                    <a:gd name="connsiteY24" fmla="*/ 798320 h 1072497"/>
                    <a:gd name="connsiteX25" fmla="*/ 1488816 w 2958102"/>
                    <a:gd name="connsiteY25" fmla="*/ 1059313 h 1072497"/>
                    <a:gd name="connsiteX26" fmla="*/ 1514932 w 2958102"/>
                    <a:gd name="connsiteY26" fmla="*/ 1061604 h 1072497"/>
                    <a:gd name="connsiteX27" fmla="*/ 1897306 w 2958102"/>
                    <a:gd name="connsiteY27" fmla="*/ 1072497 h 1072497"/>
                    <a:gd name="connsiteX28" fmla="*/ 1966917 w 2958102"/>
                    <a:gd name="connsiteY28" fmla="*/ 1070513 h 1072497"/>
                    <a:gd name="connsiteX29" fmla="*/ 2279674 w 2958102"/>
                    <a:gd name="connsiteY29" fmla="*/ 1061604 h 1072497"/>
                    <a:gd name="connsiteX30" fmla="*/ 2958102 w 2958102"/>
                    <a:gd name="connsiteY30" fmla="*/ 980915 h 1072497"/>
                    <a:gd name="connsiteX0" fmla="*/ 2208282 w 2968143"/>
                    <a:gd name="connsiteY0" fmla="*/ 273284 h 1072497"/>
                    <a:gd name="connsiteX1" fmla="*/ 2212694 w 2968143"/>
                    <a:gd name="connsiteY1" fmla="*/ 7902 h 1072497"/>
                    <a:gd name="connsiteX2" fmla="*/ 2186241 w 2968143"/>
                    <a:gd name="connsiteY2" fmla="*/ 6179 h 1072497"/>
                    <a:gd name="connsiteX3" fmla="*/ 1897300 w 2968143"/>
                    <a:gd name="connsiteY3" fmla="*/ 0 h 1072497"/>
                    <a:gd name="connsiteX4" fmla="*/ 0 w 2968143"/>
                    <a:gd name="connsiteY4" fmla="*/ 536248 h 1072497"/>
                    <a:gd name="connsiteX5" fmla="*/ 1158787 w 2968143"/>
                    <a:gd name="connsiteY5" fmla="*/ 1030357 h 1072497"/>
                    <a:gd name="connsiteX6" fmla="*/ 1488814 w 2968143"/>
                    <a:gd name="connsiteY6" fmla="*/ 1059313 h 1072497"/>
                    <a:gd name="connsiteX7" fmla="*/ 1557129 w 2968143"/>
                    <a:gd name="connsiteY7" fmla="*/ 798320 h 1072497"/>
                    <a:gd name="connsiteX8" fmla="*/ 1263154 w 2968143"/>
                    <a:gd name="connsiteY8" fmla="*/ 783303 h 1072497"/>
                    <a:gd name="connsiteX9" fmla="*/ 268127 w 2968143"/>
                    <a:gd name="connsiteY9" fmla="*/ 536248 h 1072497"/>
                    <a:gd name="connsiteX10" fmla="*/ 1568965 w 2968143"/>
                    <a:gd name="connsiteY10" fmla="*/ 273572 h 1072497"/>
                    <a:gd name="connsiteX11" fmla="*/ 1695033 w 2968143"/>
                    <a:gd name="connsiteY11" fmla="*/ 271480 h 1072497"/>
                    <a:gd name="connsiteX12" fmla="*/ 1695033 w 2968143"/>
                    <a:gd name="connsiteY12" fmla="*/ 271478 h 1072497"/>
                    <a:gd name="connsiteX13" fmla="*/ 1897302 w 2968143"/>
                    <a:gd name="connsiteY13" fmla="*/ 268122 h 1072497"/>
                    <a:gd name="connsiteX14" fmla="*/ 2175740 w 2968143"/>
                    <a:gd name="connsiteY14" fmla="*/ 272741 h 1072497"/>
                    <a:gd name="connsiteX15" fmla="*/ 2181302 w 2968143"/>
                    <a:gd name="connsiteY15" fmla="*/ 251493 h 1072497"/>
                    <a:gd name="connsiteX16" fmla="*/ 2175740 w 2968143"/>
                    <a:gd name="connsiteY16" fmla="*/ 272743 h 1072497"/>
                    <a:gd name="connsiteX17" fmla="*/ 2208282 w 2968143"/>
                    <a:gd name="connsiteY17" fmla="*/ 273284 h 1072497"/>
                    <a:gd name="connsiteX18" fmla="*/ 2958102 w 2968143"/>
                    <a:gd name="connsiteY18" fmla="*/ 980915 h 1072497"/>
                    <a:gd name="connsiteX19" fmla="*/ 2968143 w 2968143"/>
                    <a:gd name="connsiteY19" fmla="*/ 735352 h 1072497"/>
                    <a:gd name="connsiteX20" fmla="*/ 2225640 w 2968143"/>
                    <a:gd name="connsiteY20" fmla="*/ 798928 h 1072497"/>
                    <a:gd name="connsiteX21" fmla="*/ 2037188 w 2968143"/>
                    <a:gd name="connsiteY21" fmla="*/ 802052 h 1072497"/>
                    <a:gd name="connsiteX22" fmla="*/ 1897304 w 2968143"/>
                    <a:gd name="connsiteY22" fmla="*/ 804373 h 1072497"/>
                    <a:gd name="connsiteX23" fmla="*/ 1568969 w 2968143"/>
                    <a:gd name="connsiteY23" fmla="*/ 798925 h 1072497"/>
                    <a:gd name="connsiteX24" fmla="*/ 1557131 w 2968143"/>
                    <a:gd name="connsiteY24" fmla="*/ 798320 h 1072497"/>
                    <a:gd name="connsiteX25" fmla="*/ 1488816 w 2968143"/>
                    <a:gd name="connsiteY25" fmla="*/ 1059313 h 1072497"/>
                    <a:gd name="connsiteX26" fmla="*/ 1514932 w 2968143"/>
                    <a:gd name="connsiteY26" fmla="*/ 1061604 h 1072497"/>
                    <a:gd name="connsiteX27" fmla="*/ 1897306 w 2968143"/>
                    <a:gd name="connsiteY27" fmla="*/ 1072497 h 1072497"/>
                    <a:gd name="connsiteX28" fmla="*/ 1966917 w 2968143"/>
                    <a:gd name="connsiteY28" fmla="*/ 1070513 h 1072497"/>
                    <a:gd name="connsiteX29" fmla="*/ 2279674 w 2968143"/>
                    <a:gd name="connsiteY29" fmla="*/ 1061604 h 1072497"/>
                    <a:gd name="connsiteX30" fmla="*/ 2958102 w 2968143"/>
                    <a:gd name="connsiteY30" fmla="*/ 980915 h 1072497"/>
                    <a:gd name="connsiteX0" fmla="*/ 2208282 w 2968143"/>
                    <a:gd name="connsiteY0" fmla="*/ 273284 h 1072497"/>
                    <a:gd name="connsiteX1" fmla="*/ 2212694 w 2968143"/>
                    <a:gd name="connsiteY1" fmla="*/ 7902 h 1072497"/>
                    <a:gd name="connsiteX2" fmla="*/ 2186241 w 2968143"/>
                    <a:gd name="connsiteY2" fmla="*/ 6179 h 1072497"/>
                    <a:gd name="connsiteX3" fmla="*/ 1897300 w 2968143"/>
                    <a:gd name="connsiteY3" fmla="*/ 0 h 1072497"/>
                    <a:gd name="connsiteX4" fmla="*/ 0 w 2968143"/>
                    <a:gd name="connsiteY4" fmla="*/ 536248 h 1072497"/>
                    <a:gd name="connsiteX5" fmla="*/ 1158787 w 2968143"/>
                    <a:gd name="connsiteY5" fmla="*/ 1030357 h 1072497"/>
                    <a:gd name="connsiteX6" fmla="*/ 1488814 w 2968143"/>
                    <a:gd name="connsiteY6" fmla="*/ 1059313 h 1072497"/>
                    <a:gd name="connsiteX7" fmla="*/ 1557129 w 2968143"/>
                    <a:gd name="connsiteY7" fmla="*/ 798320 h 1072497"/>
                    <a:gd name="connsiteX8" fmla="*/ 1263154 w 2968143"/>
                    <a:gd name="connsiteY8" fmla="*/ 783303 h 1072497"/>
                    <a:gd name="connsiteX9" fmla="*/ 268127 w 2968143"/>
                    <a:gd name="connsiteY9" fmla="*/ 536248 h 1072497"/>
                    <a:gd name="connsiteX10" fmla="*/ 1568965 w 2968143"/>
                    <a:gd name="connsiteY10" fmla="*/ 273572 h 1072497"/>
                    <a:gd name="connsiteX11" fmla="*/ 1695033 w 2968143"/>
                    <a:gd name="connsiteY11" fmla="*/ 271480 h 1072497"/>
                    <a:gd name="connsiteX12" fmla="*/ 1695033 w 2968143"/>
                    <a:gd name="connsiteY12" fmla="*/ 271478 h 1072497"/>
                    <a:gd name="connsiteX13" fmla="*/ 1897302 w 2968143"/>
                    <a:gd name="connsiteY13" fmla="*/ 268122 h 1072497"/>
                    <a:gd name="connsiteX14" fmla="*/ 2175740 w 2968143"/>
                    <a:gd name="connsiteY14" fmla="*/ 272741 h 1072497"/>
                    <a:gd name="connsiteX15" fmla="*/ 2181302 w 2968143"/>
                    <a:gd name="connsiteY15" fmla="*/ 251493 h 1072497"/>
                    <a:gd name="connsiteX16" fmla="*/ 2175740 w 2968143"/>
                    <a:gd name="connsiteY16" fmla="*/ 272743 h 1072497"/>
                    <a:gd name="connsiteX17" fmla="*/ 2208282 w 2968143"/>
                    <a:gd name="connsiteY17" fmla="*/ 273284 h 1072497"/>
                    <a:gd name="connsiteX18" fmla="*/ 2945034 w 2968143"/>
                    <a:gd name="connsiteY18" fmla="*/ 974669 h 1072497"/>
                    <a:gd name="connsiteX19" fmla="*/ 2968143 w 2968143"/>
                    <a:gd name="connsiteY19" fmla="*/ 735352 h 1072497"/>
                    <a:gd name="connsiteX20" fmla="*/ 2225640 w 2968143"/>
                    <a:gd name="connsiteY20" fmla="*/ 798928 h 1072497"/>
                    <a:gd name="connsiteX21" fmla="*/ 2037188 w 2968143"/>
                    <a:gd name="connsiteY21" fmla="*/ 802052 h 1072497"/>
                    <a:gd name="connsiteX22" fmla="*/ 1897304 w 2968143"/>
                    <a:gd name="connsiteY22" fmla="*/ 804373 h 1072497"/>
                    <a:gd name="connsiteX23" fmla="*/ 1568969 w 2968143"/>
                    <a:gd name="connsiteY23" fmla="*/ 798925 h 1072497"/>
                    <a:gd name="connsiteX24" fmla="*/ 1557131 w 2968143"/>
                    <a:gd name="connsiteY24" fmla="*/ 798320 h 1072497"/>
                    <a:gd name="connsiteX25" fmla="*/ 1488816 w 2968143"/>
                    <a:gd name="connsiteY25" fmla="*/ 1059313 h 1072497"/>
                    <a:gd name="connsiteX26" fmla="*/ 1514932 w 2968143"/>
                    <a:gd name="connsiteY26" fmla="*/ 1061604 h 1072497"/>
                    <a:gd name="connsiteX27" fmla="*/ 1897306 w 2968143"/>
                    <a:gd name="connsiteY27" fmla="*/ 1072497 h 1072497"/>
                    <a:gd name="connsiteX28" fmla="*/ 1966917 w 2968143"/>
                    <a:gd name="connsiteY28" fmla="*/ 1070513 h 1072497"/>
                    <a:gd name="connsiteX29" fmla="*/ 2279674 w 2968143"/>
                    <a:gd name="connsiteY29" fmla="*/ 1061604 h 1072497"/>
                    <a:gd name="connsiteX30" fmla="*/ 2945034 w 2968143"/>
                    <a:gd name="connsiteY30" fmla="*/ 974669 h 1072497"/>
                    <a:gd name="connsiteX0" fmla="*/ 2208282 w 2968143"/>
                    <a:gd name="connsiteY0" fmla="*/ 273284 h 1072497"/>
                    <a:gd name="connsiteX1" fmla="*/ 2212694 w 2968143"/>
                    <a:gd name="connsiteY1" fmla="*/ 7902 h 1072497"/>
                    <a:gd name="connsiteX2" fmla="*/ 2186241 w 2968143"/>
                    <a:gd name="connsiteY2" fmla="*/ 6179 h 1072497"/>
                    <a:gd name="connsiteX3" fmla="*/ 1897300 w 2968143"/>
                    <a:gd name="connsiteY3" fmla="*/ 0 h 1072497"/>
                    <a:gd name="connsiteX4" fmla="*/ 0 w 2968143"/>
                    <a:gd name="connsiteY4" fmla="*/ 536248 h 1072497"/>
                    <a:gd name="connsiteX5" fmla="*/ 1158787 w 2968143"/>
                    <a:gd name="connsiteY5" fmla="*/ 1030357 h 1072497"/>
                    <a:gd name="connsiteX6" fmla="*/ 1488814 w 2968143"/>
                    <a:gd name="connsiteY6" fmla="*/ 1059313 h 1072497"/>
                    <a:gd name="connsiteX7" fmla="*/ 1557129 w 2968143"/>
                    <a:gd name="connsiteY7" fmla="*/ 798320 h 1072497"/>
                    <a:gd name="connsiteX8" fmla="*/ 1263154 w 2968143"/>
                    <a:gd name="connsiteY8" fmla="*/ 783303 h 1072497"/>
                    <a:gd name="connsiteX9" fmla="*/ 268127 w 2968143"/>
                    <a:gd name="connsiteY9" fmla="*/ 536248 h 1072497"/>
                    <a:gd name="connsiteX10" fmla="*/ 1568965 w 2968143"/>
                    <a:gd name="connsiteY10" fmla="*/ 273572 h 1072497"/>
                    <a:gd name="connsiteX11" fmla="*/ 1695033 w 2968143"/>
                    <a:gd name="connsiteY11" fmla="*/ 271480 h 1072497"/>
                    <a:gd name="connsiteX12" fmla="*/ 1695033 w 2968143"/>
                    <a:gd name="connsiteY12" fmla="*/ 271478 h 1072497"/>
                    <a:gd name="connsiteX13" fmla="*/ 1897302 w 2968143"/>
                    <a:gd name="connsiteY13" fmla="*/ 268122 h 1072497"/>
                    <a:gd name="connsiteX14" fmla="*/ 2175740 w 2968143"/>
                    <a:gd name="connsiteY14" fmla="*/ 272741 h 1072497"/>
                    <a:gd name="connsiteX15" fmla="*/ 2181302 w 2968143"/>
                    <a:gd name="connsiteY15" fmla="*/ 251493 h 1072497"/>
                    <a:gd name="connsiteX16" fmla="*/ 2175740 w 2968143"/>
                    <a:gd name="connsiteY16" fmla="*/ 272743 h 1072497"/>
                    <a:gd name="connsiteX17" fmla="*/ 2208282 w 2968143"/>
                    <a:gd name="connsiteY17" fmla="*/ 273284 h 1072497"/>
                    <a:gd name="connsiteX18" fmla="*/ 2953618 w 2968143"/>
                    <a:gd name="connsiteY18" fmla="*/ 974867 h 1072497"/>
                    <a:gd name="connsiteX19" fmla="*/ 2968143 w 2968143"/>
                    <a:gd name="connsiteY19" fmla="*/ 735352 h 1072497"/>
                    <a:gd name="connsiteX20" fmla="*/ 2225640 w 2968143"/>
                    <a:gd name="connsiteY20" fmla="*/ 798928 h 1072497"/>
                    <a:gd name="connsiteX21" fmla="*/ 2037188 w 2968143"/>
                    <a:gd name="connsiteY21" fmla="*/ 802052 h 1072497"/>
                    <a:gd name="connsiteX22" fmla="*/ 1897304 w 2968143"/>
                    <a:gd name="connsiteY22" fmla="*/ 804373 h 1072497"/>
                    <a:gd name="connsiteX23" fmla="*/ 1568969 w 2968143"/>
                    <a:gd name="connsiteY23" fmla="*/ 798925 h 1072497"/>
                    <a:gd name="connsiteX24" fmla="*/ 1557131 w 2968143"/>
                    <a:gd name="connsiteY24" fmla="*/ 798320 h 1072497"/>
                    <a:gd name="connsiteX25" fmla="*/ 1488816 w 2968143"/>
                    <a:gd name="connsiteY25" fmla="*/ 1059313 h 1072497"/>
                    <a:gd name="connsiteX26" fmla="*/ 1514932 w 2968143"/>
                    <a:gd name="connsiteY26" fmla="*/ 1061604 h 1072497"/>
                    <a:gd name="connsiteX27" fmla="*/ 1897306 w 2968143"/>
                    <a:gd name="connsiteY27" fmla="*/ 1072497 h 1072497"/>
                    <a:gd name="connsiteX28" fmla="*/ 1966917 w 2968143"/>
                    <a:gd name="connsiteY28" fmla="*/ 1070513 h 1072497"/>
                    <a:gd name="connsiteX29" fmla="*/ 2279674 w 2968143"/>
                    <a:gd name="connsiteY29" fmla="*/ 1061604 h 1072497"/>
                    <a:gd name="connsiteX30" fmla="*/ 2953618 w 2968143"/>
                    <a:gd name="connsiteY30" fmla="*/ 974867 h 1072497"/>
                    <a:gd name="connsiteX0" fmla="*/ 2208282 w 2971460"/>
                    <a:gd name="connsiteY0" fmla="*/ 273284 h 1072497"/>
                    <a:gd name="connsiteX1" fmla="*/ 2212694 w 2971460"/>
                    <a:gd name="connsiteY1" fmla="*/ 7902 h 1072497"/>
                    <a:gd name="connsiteX2" fmla="*/ 2186241 w 2971460"/>
                    <a:gd name="connsiteY2" fmla="*/ 6179 h 1072497"/>
                    <a:gd name="connsiteX3" fmla="*/ 1897300 w 2971460"/>
                    <a:gd name="connsiteY3" fmla="*/ 0 h 1072497"/>
                    <a:gd name="connsiteX4" fmla="*/ 0 w 2971460"/>
                    <a:gd name="connsiteY4" fmla="*/ 536248 h 1072497"/>
                    <a:gd name="connsiteX5" fmla="*/ 1158787 w 2971460"/>
                    <a:gd name="connsiteY5" fmla="*/ 1030357 h 1072497"/>
                    <a:gd name="connsiteX6" fmla="*/ 1488814 w 2971460"/>
                    <a:gd name="connsiteY6" fmla="*/ 1059313 h 1072497"/>
                    <a:gd name="connsiteX7" fmla="*/ 1557129 w 2971460"/>
                    <a:gd name="connsiteY7" fmla="*/ 798320 h 1072497"/>
                    <a:gd name="connsiteX8" fmla="*/ 1263154 w 2971460"/>
                    <a:gd name="connsiteY8" fmla="*/ 783303 h 1072497"/>
                    <a:gd name="connsiteX9" fmla="*/ 268127 w 2971460"/>
                    <a:gd name="connsiteY9" fmla="*/ 536248 h 1072497"/>
                    <a:gd name="connsiteX10" fmla="*/ 1568965 w 2971460"/>
                    <a:gd name="connsiteY10" fmla="*/ 273572 h 1072497"/>
                    <a:gd name="connsiteX11" fmla="*/ 1695033 w 2971460"/>
                    <a:gd name="connsiteY11" fmla="*/ 271480 h 1072497"/>
                    <a:gd name="connsiteX12" fmla="*/ 1695033 w 2971460"/>
                    <a:gd name="connsiteY12" fmla="*/ 271478 h 1072497"/>
                    <a:gd name="connsiteX13" fmla="*/ 1897302 w 2971460"/>
                    <a:gd name="connsiteY13" fmla="*/ 268122 h 1072497"/>
                    <a:gd name="connsiteX14" fmla="*/ 2175740 w 2971460"/>
                    <a:gd name="connsiteY14" fmla="*/ 272741 h 1072497"/>
                    <a:gd name="connsiteX15" fmla="*/ 2181302 w 2971460"/>
                    <a:gd name="connsiteY15" fmla="*/ 251493 h 1072497"/>
                    <a:gd name="connsiteX16" fmla="*/ 2175740 w 2971460"/>
                    <a:gd name="connsiteY16" fmla="*/ 272743 h 1072497"/>
                    <a:gd name="connsiteX17" fmla="*/ 2208282 w 2971460"/>
                    <a:gd name="connsiteY17" fmla="*/ 273284 h 1072497"/>
                    <a:gd name="connsiteX18" fmla="*/ 2953618 w 2971460"/>
                    <a:gd name="connsiteY18" fmla="*/ 974867 h 1072497"/>
                    <a:gd name="connsiteX19" fmla="*/ 2971460 w 2971460"/>
                    <a:gd name="connsiteY19" fmla="*/ 734768 h 1072497"/>
                    <a:gd name="connsiteX20" fmla="*/ 2225640 w 2971460"/>
                    <a:gd name="connsiteY20" fmla="*/ 798928 h 1072497"/>
                    <a:gd name="connsiteX21" fmla="*/ 2037188 w 2971460"/>
                    <a:gd name="connsiteY21" fmla="*/ 802052 h 1072497"/>
                    <a:gd name="connsiteX22" fmla="*/ 1897304 w 2971460"/>
                    <a:gd name="connsiteY22" fmla="*/ 804373 h 1072497"/>
                    <a:gd name="connsiteX23" fmla="*/ 1568969 w 2971460"/>
                    <a:gd name="connsiteY23" fmla="*/ 798925 h 1072497"/>
                    <a:gd name="connsiteX24" fmla="*/ 1557131 w 2971460"/>
                    <a:gd name="connsiteY24" fmla="*/ 798320 h 1072497"/>
                    <a:gd name="connsiteX25" fmla="*/ 1488816 w 2971460"/>
                    <a:gd name="connsiteY25" fmla="*/ 1059313 h 1072497"/>
                    <a:gd name="connsiteX26" fmla="*/ 1514932 w 2971460"/>
                    <a:gd name="connsiteY26" fmla="*/ 1061604 h 1072497"/>
                    <a:gd name="connsiteX27" fmla="*/ 1897306 w 2971460"/>
                    <a:gd name="connsiteY27" fmla="*/ 1072497 h 1072497"/>
                    <a:gd name="connsiteX28" fmla="*/ 1966917 w 2971460"/>
                    <a:gd name="connsiteY28" fmla="*/ 1070513 h 1072497"/>
                    <a:gd name="connsiteX29" fmla="*/ 2279674 w 2971460"/>
                    <a:gd name="connsiteY29" fmla="*/ 1061604 h 1072497"/>
                    <a:gd name="connsiteX30" fmla="*/ 2953618 w 2971460"/>
                    <a:gd name="connsiteY30" fmla="*/ 974867 h 1072497"/>
                    <a:gd name="connsiteX0" fmla="*/ 2208282 w 2971460"/>
                    <a:gd name="connsiteY0" fmla="*/ 273284 h 1072497"/>
                    <a:gd name="connsiteX1" fmla="*/ 2212694 w 2971460"/>
                    <a:gd name="connsiteY1" fmla="*/ 7902 h 1072497"/>
                    <a:gd name="connsiteX2" fmla="*/ 2186241 w 2971460"/>
                    <a:gd name="connsiteY2" fmla="*/ 6179 h 1072497"/>
                    <a:gd name="connsiteX3" fmla="*/ 1897300 w 2971460"/>
                    <a:gd name="connsiteY3" fmla="*/ 0 h 1072497"/>
                    <a:gd name="connsiteX4" fmla="*/ 0 w 2971460"/>
                    <a:gd name="connsiteY4" fmla="*/ 536248 h 1072497"/>
                    <a:gd name="connsiteX5" fmla="*/ 1158787 w 2971460"/>
                    <a:gd name="connsiteY5" fmla="*/ 1030357 h 1072497"/>
                    <a:gd name="connsiteX6" fmla="*/ 1488814 w 2971460"/>
                    <a:gd name="connsiteY6" fmla="*/ 1059313 h 1072497"/>
                    <a:gd name="connsiteX7" fmla="*/ 1557129 w 2971460"/>
                    <a:gd name="connsiteY7" fmla="*/ 798320 h 1072497"/>
                    <a:gd name="connsiteX8" fmla="*/ 1263154 w 2971460"/>
                    <a:gd name="connsiteY8" fmla="*/ 783303 h 1072497"/>
                    <a:gd name="connsiteX9" fmla="*/ 268127 w 2971460"/>
                    <a:gd name="connsiteY9" fmla="*/ 536248 h 1072497"/>
                    <a:gd name="connsiteX10" fmla="*/ 1568965 w 2971460"/>
                    <a:gd name="connsiteY10" fmla="*/ 273572 h 1072497"/>
                    <a:gd name="connsiteX11" fmla="*/ 1695033 w 2971460"/>
                    <a:gd name="connsiteY11" fmla="*/ 271480 h 1072497"/>
                    <a:gd name="connsiteX12" fmla="*/ 1695033 w 2971460"/>
                    <a:gd name="connsiteY12" fmla="*/ 271478 h 1072497"/>
                    <a:gd name="connsiteX13" fmla="*/ 1897302 w 2971460"/>
                    <a:gd name="connsiteY13" fmla="*/ 268122 h 1072497"/>
                    <a:gd name="connsiteX14" fmla="*/ 2175740 w 2971460"/>
                    <a:gd name="connsiteY14" fmla="*/ 272741 h 1072497"/>
                    <a:gd name="connsiteX15" fmla="*/ 2181302 w 2971460"/>
                    <a:gd name="connsiteY15" fmla="*/ 251493 h 1072497"/>
                    <a:gd name="connsiteX16" fmla="*/ 2175740 w 2971460"/>
                    <a:gd name="connsiteY16" fmla="*/ 272743 h 1072497"/>
                    <a:gd name="connsiteX17" fmla="*/ 2208282 w 2971460"/>
                    <a:gd name="connsiteY17" fmla="*/ 273284 h 1072497"/>
                    <a:gd name="connsiteX18" fmla="*/ 2948936 w 2971460"/>
                    <a:gd name="connsiteY18" fmla="*/ 977401 h 1072497"/>
                    <a:gd name="connsiteX19" fmla="*/ 2971460 w 2971460"/>
                    <a:gd name="connsiteY19" fmla="*/ 734768 h 1072497"/>
                    <a:gd name="connsiteX20" fmla="*/ 2225640 w 2971460"/>
                    <a:gd name="connsiteY20" fmla="*/ 798928 h 1072497"/>
                    <a:gd name="connsiteX21" fmla="*/ 2037188 w 2971460"/>
                    <a:gd name="connsiteY21" fmla="*/ 802052 h 1072497"/>
                    <a:gd name="connsiteX22" fmla="*/ 1897304 w 2971460"/>
                    <a:gd name="connsiteY22" fmla="*/ 804373 h 1072497"/>
                    <a:gd name="connsiteX23" fmla="*/ 1568969 w 2971460"/>
                    <a:gd name="connsiteY23" fmla="*/ 798925 h 1072497"/>
                    <a:gd name="connsiteX24" fmla="*/ 1557131 w 2971460"/>
                    <a:gd name="connsiteY24" fmla="*/ 798320 h 1072497"/>
                    <a:gd name="connsiteX25" fmla="*/ 1488816 w 2971460"/>
                    <a:gd name="connsiteY25" fmla="*/ 1059313 h 1072497"/>
                    <a:gd name="connsiteX26" fmla="*/ 1514932 w 2971460"/>
                    <a:gd name="connsiteY26" fmla="*/ 1061604 h 1072497"/>
                    <a:gd name="connsiteX27" fmla="*/ 1897306 w 2971460"/>
                    <a:gd name="connsiteY27" fmla="*/ 1072497 h 1072497"/>
                    <a:gd name="connsiteX28" fmla="*/ 1966917 w 2971460"/>
                    <a:gd name="connsiteY28" fmla="*/ 1070513 h 1072497"/>
                    <a:gd name="connsiteX29" fmla="*/ 2279674 w 2971460"/>
                    <a:gd name="connsiteY29" fmla="*/ 1061604 h 1072497"/>
                    <a:gd name="connsiteX30" fmla="*/ 2948936 w 2971460"/>
                    <a:gd name="connsiteY30" fmla="*/ 977401 h 1072497"/>
                    <a:gd name="connsiteX0" fmla="*/ 2208282 w 2971460"/>
                    <a:gd name="connsiteY0" fmla="*/ 273284 h 1072497"/>
                    <a:gd name="connsiteX1" fmla="*/ 2198259 w 2971460"/>
                    <a:gd name="connsiteY1" fmla="*/ 3606 h 1072497"/>
                    <a:gd name="connsiteX2" fmla="*/ 2186241 w 2971460"/>
                    <a:gd name="connsiteY2" fmla="*/ 6179 h 1072497"/>
                    <a:gd name="connsiteX3" fmla="*/ 1897300 w 2971460"/>
                    <a:gd name="connsiteY3" fmla="*/ 0 h 1072497"/>
                    <a:gd name="connsiteX4" fmla="*/ 0 w 2971460"/>
                    <a:gd name="connsiteY4" fmla="*/ 536248 h 1072497"/>
                    <a:gd name="connsiteX5" fmla="*/ 1158787 w 2971460"/>
                    <a:gd name="connsiteY5" fmla="*/ 1030357 h 1072497"/>
                    <a:gd name="connsiteX6" fmla="*/ 1488814 w 2971460"/>
                    <a:gd name="connsiteY6" fmla="*/ 1059313 h 1072497"/>
                    <a:gd name="connsiteX7" fmla="*/ 1557129 w 2971460"/>
                    <a:gd name="connsiteY7" fmla="*/ 798320 h 1072497"/>
                    <a:gd name="connsiteX8" fmla="*/ 1263154 w 2971460"/>
                    <a:gd name="connsiteY8" fmla="*/ 783303 h 1072497"/>
                    <a:gd name="connsiteX9" fmla="*/ 268127 w 2971460"/>
                    <a:gd name="connsiteY9" fmla="*/ 536248 h 1072497"/>
                    <a:gd name="connsiteX10" fmla="*/ 1568965 w 2971460"/>
                    <a:gd name="connsiteY10" fmla="*/ 273572 h 1072497"/>
                    <a:gd name="connsiteX11" fmla="*/ 1695033 w 2971460"/>
                    <a:gd name="connsiteY11" fmla="*/ 271480 h 1072497"/>
                    <a:gd name="connsiteX12" fmla="*/ 1695033 w 2971460"/>
                    <a:gd name="connsiteY12" fmla="*/ 271478 h 1072497"/>
                    <a:gd name="connsiteX13" fmla="*/ 1897302 w 2971460"/>
                    <a:gd name="connsiteY13" fmla="*/ 268122 h 1072497"/>
                    <a:gd name="connsiteX14" fmla="*/ 2175740 w 2971460"/>
                    <a:gd name="connsiteY14" fmla="*/ 272741 h 1072497"/>
                    <a:gd name="connsiteX15" fmla="*/ 2181302 w 2971460"/>
                    <a:gd name="connsiteY15" fmla="*/ 251493 h 1072497"/>
                    <a:gd name="connsiteX16" fmla="*/ 2175740 w 2971460"/>
                    <a:gd name="connsiteY16" fmla="*/ 272743 h 1072497"/>
                    <a:gd name="connsiteX17" fmla="*/ 2208282 w 2971460"/>
                    <a:gd name="connsiteY17" fmla="*/ 273284 h 1072497"/>
                    <a:gd name="connsiteX18" fmla="*/ 2948936 w 2971460"/>
                    <a:gd name="connsiteY18" fmla="*/ 977401 h 1072497"/>
                    <a:gd name="connsiteX19" fmla="*/ 2971460 w 2971460"/>
                    <a:gd name="connsiteY19" fmla="*/ 734768 h 1072497"/>
                    <a:gd name="connsiteX20" fmla="*/ 2225640 w 2971460"/>
                    <a:gd name="connsiteY20" fmla="*/ 798928 h 1072497"/>
                    <a:gd name="connsiteX21" fmla="*/ 2037188 w 2971460"/>
                    <a:gd name="connsiteY21" fmla="*/ 802052 h 1072497"/>
                    <a:gd name="connsiteX22" fmla="*/ 1897304 w 2971460"/>
                    <a:gd name="connsiteY22" fmla="*/ 804373 h 1072497"/>
                    <a:gd name="connsiteX23" fmla="*/ 1568969 w 2971460"/>
                    <a:gd name="connsiteY23" fmla="*/ 798925 h 1072497"/>
                    <a:gd name="connsiteX24" fmla="*/ 1557131 w 2971460"/>
                    <a:gd name="connsiteY24" fmla="*/ 798320 h 1072497"/>
                    <a:gd name="connsiteX25" fmla="*/ 1488816 w 2971460"/>
                    <a:gd name="connsiteY25" fmla="*/ 1059313 h 1072497"/>
                    <a:gd name="connsiteX26" fmla="*/ 1514932 w 2971460"/>
                    <a:gd name="connsiteY26" fmla="*/ 1061604 h 1072497"/>
                    <a:gd name="connsiteX27" fmla="*/ 1897306 w 2971460"/>
                    <a:gd name="connsiteY27" fmla="*/ 1072497 h 1072497"/>
                    <a:gd name="connsiteX28" fmla="*/ 1966917 w 2971460"/>
                    <a:gd name="connsiteY28" fmla="*/ 1070513 h 1072497"/>
                    <a:gd name="connsiteX29" fmla="*/ 2279674 w 2971460"/>
                    <a:gd name="connsiteY29" fmla="*/ 1061604 h 1072497"/>
                    <a:gd name="connsiteX30" fmla="*/ 2948936 w 2971460"/>
                    <a:gd name="connsiteY30" fmla="*/ 977401 h 1072497"/>
                    <a:gd name="connsiteX0" fmla="*/ 2208282 w 2971460"/>
                    <a:gd name="connsiteY0" fmla="*/ 273284 h 1072497"/>
                    <a:gd name="connsiteX1" fmla="*/ 2198259 w 2971460"/>
                    <a:gd name="connsiteY1" fmla="*/ 3606 h 1072497"/>
                    <a:gd name="connsiteX2" fmla="*/ 1897300 w 2971460"/>
                    <a:gd name="connsiteY2" fmla="*/ 0 h 1072497"/>
                    <a:gd name="connsiteX3" fmla="*/ 0 w 2971460"/>
                    <a:gd name="connsiteY3" fmla="*/ 536248 h 1072497"/>
                    <a:gd name="connsiteX4" fmla="*/ 1158787 w 2971460"/>
                    <a:gd name="connsiteY4" fmla="*/ 1030357 h 1072497"/>
                    <a:gd name="connsiteX5" fmla="*/ 1488814 w 2971460"/>
                    <a:gd name="connsiteY5" fmla="*/ 1059313 h 1072497"/>
                    <a:gd name="connsiteX6" fmla="*/ 1557129 w 2971460"/>
                    <a:gd name="connsiteY6" fmla="*/ 798320 h 1072497"/>
                    <a:gd name="connsiteX7" fmla="*/ 1263154 w 2971460"/>
                    <a:gd name="connsiteY7" fmla="*/ 783303 h 1072497"/>
                    <a:gd name="connsiteX8" fmla="*/ 268127 w 2971460"/>
                    <a:gd name="connsiteY8" fmla="*/ 536248 h 1072497"/>
                    <a:gd name="connsiteX9" fmla="*/ 1568965 w 2971460"/>
                    <a:gd name="connsiteY9" fmla="*/ 273572 h 1072497"/>
                    <a:gd name="connsiteX10" fmla="*/ 1695033 w 2971460"/>
                    <a:gd name="connsiteY10" fmla="*/ 271480 h 1072497"/>
                    <a:gd name="connsiteX11" fmla="*/ 1695033 w 2971460"/>
                    <a:gd name="connsiteY11" fmla="*/ 271478 h 1072497"/>
                    <a:gd name="connsiteX12" fmla="*/ 1897302 w 2971460"/>
                    <a:gd name="connsiteY12" fmla="*/ 268122 h 1072497"/>
                    <a:gd name="connsiteX13" fmla="*/ 2175740 w 2971460"/>
                    <a:gd name="connsiteY13" fmla="*/ 272741 h 1072497"/>
                    <a:gd name="connsiteX14" fmla="*/ 2181302 w 2971460"/>
                    <a:gd name="connsiteY14" fmla="*/ 251493 h 1072497"/>
                    <a:gd name="connsiteX15" fmla="*/ 2175740 w 2971460"/>
                    <a:gd name="connsiteY15" fmla="*/ 272743 h 1072497"/>
                    <a:gd name="connsiteX16" fmla="*/ 2208282 w 2971460"/>
                    <a:gd name="connsiteY16" fmla="*/ 273284 h 1072497"/>
                    <a:gd name="connsiteX17" fmla="*/ 2948936 w 2971460"/>
                    <a:gd name="connsiteY17" fmla="*/ 977401 h 1072497"/>
                    <a:gd name="connsiteX18" fmla="*/ 2971460 w 2971460"/>
                    <a:gd name="connsiteY18" fmla="*/ 734768 h 1072497"/>
                    <a:gd name="connsiteX19" fmla="*/ 2225640 w 2971460"/>
                    <a:gd name="connsiteY19" fmla="*/ 798928 h 1072497"/>
                    <a:gd name="connsiteX20" fmla="*/ 2037188 w 2971460"/>
                    <a:gd name="connsiteY20" fmla="*/ 802052 h 1072497"/>
                    <a:gd name="connsiteX21" fmla="*/ 1897304 w 2971460"/>
                    <a:gd name="connsiteY21" fmla="*/ 804373 h 1072497"/>
                    <a:gd name="connsiteX22" fmla="*/ 1568969 w 2971460"/>
                    <a:gd name="connsiteY22" fmla="*/ 798925 h 1072497"/>
                    <a:gd name="connsiteX23" fmla="*/ 1557131 w 2971460"/>
                    <a:gd name="connsiteY23" fmla="*/ 798320 h 1072497"/>
                    <a:gd name="connsiteX24" fmla="*/ 1488816 w 2971460"/>
                    <a:gd name="connsiteY24" fmla="*/ 1059313 h 1072497"/>
                    <a:gd name="connsiteX25" fmla="*/ 1514932 w 2971460"/>
                    <a:gd name="connsiteY25" fmla="*/ 1061604 h 1072497"/>
                    <a:gd name="connsiteX26" fmla="*/ 1897306 w 2971460"/>
                    <a:gd name="connsiteY26" fmla="*/ 1072497 h 1072497"/>
                    <a:gd name="connsiteX27" fmla="*/ 1966917 w 2971460"/>
                    <a:gd name="connsiteY27" fmla="*/ 1070513 h 1072497"/>
                    <a:gd name="connsiteX28" fmla="*/ 2279674 w 2971460"/>
                    <a:gd name="connsiteY28" fmla="*/ 1061604 h 1072497"/>
                    <a:gd name="connsiteX29" fmla="*/ 2948936 w 2971460"/>
                    <a:gd name="connsiteY29" fmla="*/ 977401 h 1072497"/>
                    <a:gd name="connsiteX0" fmla="*/ 2189163 w 2971460"/>
                    <a:gd name="connsiteY0" fmla="*/ 271523 h 1072497"/>
                    <a:gd name="connsiteX1" fmla="*/ 2198259 w 2971460"/>
                    <a:gd name="connsiteY1" fmla="*/ 3606 h 1072497"/>
                    <a:gd name="connsiteX2" fmla="*/ 1897300 w 2971460"/>
                    <a:gd name="connsiteY2" fmla="*/ 0 h 1072497"/>
                    <a:gd name="connsiteX3" fmla="*/ 0 w 2971460"/>
                    <a:gd name="connsiteY3" fmla="*/ 536248 h 1072497"/>
                    <a:gd name="connsiteX4" fmla="*/ 1158787 w 2971460"/>
                    <a:gd name="connsiteY4" fmla="*/ 1030357 h 1072497"/>
                    <a:gd name="connsiteX5" fmla="*/ 1488814 w 2971460"/>
                    <a:gd name="connsiteY5" fmla="*/ 1059313 h 1072497"/>
                    <a:gd name="connsiteX6" fmla="*/ 1557129 w 2971460"/>
                    <a:gd name="connsiteY6" fmla="*/ 798320 h 1072497"/>
                    <a:gd name="connsiteX7" fmla="*/ 1263154 w 2971460"/>
                    <a:gd name="connsiteY7" fmla="*/ 783303 h 1072497"/>
                    <a:gd name="connsiteX8" fmla="*/ 268127 w 2971460"/>
                    <a:gd name="connsiteY8" fmla="*/ 536248 h 1072497"/>
                    <a:gd name="connsiteX9" fmla="*/ 1568965 w 2971460"/>
                    <a:gd name="connsiteY9" fmla="*/ 273572 h 1072497"/>
                    <a:gd name="connsiteX10" fmla="*/ 1695033 w 2971460"/>
                    <a:gd name="connsiteY10" fmla="*/ 271480 h 1072497"/>
                    <a:gd name="connsiteX11" fmla="*/ 1695033 w 2971460"/>
                    <a:gd name="connsiteY11" fmla="*/ 271478 h 1072497"/>
                    <a:gd name="connsiteX12" fmla="*/ 1897302 w 2971460"/>
                    <a:gd name="connsiteY12" fmla="*/ 268122 h 1072497"/>
                    <a:gd name="connsiteX13" fmla="*/ 2175740 w 2971460"/>
                    <a:gd name="connsiteY13" fmla="*/ 272741 h 1072497"/>
                    <a:gd name="connsiteX14" fmla="*/ 2181302 w 2971460"/>
                    <a:gd name="connsiteY14" fmla="*/ 251493 h 1072497"/>
                    <a:gd name="connsiteX15" fmla="*/ 2175740 w 2971460"/>
                    <a:gd name="connsiteY15" fmla="*/ 272743 h 1072497"/>
                    <a:gd name="connsiteX16" fmla="*/ 2189163 w 2971460"/>
                    <a:gd name="connsiteY16" fmla="*/ 271523 h 1072497"/>
                    <a:gd name="connsiteX17" fmla="*/ 2948936 w 2971460"/>
                    <a:gd name="connsiteY17" fmla="*/ 977401 h 1072497"/>
                    <a:gd name="connsiteX18" fmla="*/ 2971460 w 2971460"/>
                    <a:gd name="connsiteY18" fmla="*/ 734768 h 1072497"/>
                    <a:gd name="connsiteX19" fmla="*/ 2225640 w 2971460"/>
                    <a:gd name="connsiteY19" fmla="*/ 798928 h 1072497"/>
                    <a:gd name="connsiteX20" fmla="*/ 2037188 w 2971460"/>
                    <a:gd name="connsiteY20" fmla="*/ 802052 h 1072497"/>
                    <a:gd name="connsiteX21" fmla="*/ 1897304 w 2971460"/>
                    <a:gd name="connsiteY21" fmla="*/ 804373 h 1072497"/>
                    <a:gd name="connsiteX22" fmla="*/ 1568969 w 2971460"/>
                    <a:gd name="connsiteY22" fmla="*/ 798925 h 1072497"/>
                    <a:gd name="connsiteX23" fmla="*/ 1557131 w 2971460"/>
                    <a:gd name="connsiteY23" fmla="*/ 798320 h 1072497"/>
                    <a:gd name="connsiteX24" fmla="*/ 1488816 w 2971460"/>
                    <a:gd name="connsiteY24" fmla="*/ 1059313 h 1072497"/>
                    <a:gd name="connsiteX25" fmla="*/ 1514932 w 2971460"/>
                    <a:gd name="connsiteY25" fmla="*/ 1061604 h 1072497"/>
                    <a:gd name="connsiteX26" fmla="*/ 1897306 w 2971460"/>
                    <a:gd name="connsiteY26" fmla="*/ 1072497 h 1072497"/>
                    <a:gd name="connsiteX27" fmla="*/ 1966917 w 2971460"/>
                    <a:gd name="connsiteY27" fmla="*/ 1070513 h 1072497"/>
                    <a:gd name="connsiteX28" fmla="*/ 2279674 w 2971460"/>
                    <a:gd name="connsiteY28" fmla="*/ 1061604 h 1072497"/>
                    <a:gd name="connsiteX29" fmla="*/ 2948936 w 2971460"/>
                    <a:gd name="connsiteY29" fmla="*/ 977401 h 1072497"/>
                    <a:gd name="connsiteX0" fmla="*/ 2191113 w 2971460"/>
                    <a:gd name="connsiteY0" fmla="*/ 272889 h 1072497"/>
                    <a:gd name="connsiteX1" fmla="*/ 2198259 w 2971460"/>
                    <a:gd name="connsiteY1" fmla="*/ 3606 h 1072497"/>
                    <a:gd name="connsiteX2" fmla="*/ 1897300 w 2971460"/>
                    <a:gd name="connsiteY2" fmla="*/ 0 h 1072497"/>
                    <a:gd name="connsiteX3" fmla="*/ 0 w 2971460"/>
                    <a:gd name="connsiteY3" fmla="*/ 536248 h 1072497"/>
                    <a:gd name="connsiteX4" fmla="*/ 1158787 w 2971460"/>
                    <a:gd name="connsiteY4" fmla="*/ 1030357 h 1072497"/>
                    <a:gd name="connsiteX5" fmla="*/ 1488814 w 2971460"/>
                    <a:gd name="connsiteY5" fmla="*/ 1059313 h 1072497"/>
                    <a:gd name="connsiteX6" fmla="*/ 1557129 w 2971460"/>
                    <a:gd name="connsiteY6" fmla="*/ 798320 h 1072497"/>
                    <a:gd name="connsiteX7" fmla="*/ 1263154 w 2971460"/>
                    <a:gd name="connsiteY7" fmla="*/ 783303 h 1072497"/>
                    <a:gd name="connsiteX8" fmla="*/ 268127 w 2971460"/>
                    <a:gd name="connsiteY8" fmla="*/ 536248 h 1072497"/>
                    <a:gd name="connsiteX9" fmla="*/ 1568965 w 2971460"/>
                    <a:gd name="connsiteY9" fmla="*/ 273572 h 1072497"/>
                    <a:gd name="connsiteX10" fmla="*/ 1695033 w 2971460"/>
                    <a:gd name="connsiteY10" fmla="*/ 271480 h 1072497"/>
                    <a:gd name="connsiteX11" fmla="*/ 1695033 w 2971460"/>
                    <a:gd name="connsiteY11" fmla="*/ 271478 h 1072497"/>
                    <a:gd name="connsiteX12" fmla="*/ 1897302 w 2971460"/>
                    <a:gd name="connsiteY12" fmla="*/ 268122 h 1072497"/>
                    <a:gd name="connsiteX13" fmla="*/ 2175740 w 2971460"/>
                    <a:gd name="connsiteY13" fmla="*/ 272741 h 1072497"/>
                    <a:gd name="connsiteX14" fmla="*/ 2181302 w 2971460"/>
                    <a:gd name="connsiteY14" fmla="*/ 251493 h 1072497"/>
                    <a:gd name="connsiteX15" fmla="*/ 2175740 w 2971460"/>
                    <a:gd name="connsiteY15" fmla="*/ 272743 h 1072497"/>
                    <a:gd name="connsiteX16" fmla="*/ 2191113 w 2971460"/>
                    <a:gd name="connsiteY16" fmla="*/ 272889 h 1072497"/>
                    <a:gd name="connsiteX17" fmla="*/ 2948936 w 2971460"/>
                    <a:gd name="connsiteY17" fmla="*/ 977401 h 1072497"/>
                    <a:gd name="connsiteX18" fmla="*/ 2971460 w 2971460"/>
                    <a:gd name="connsiteY18" fmla="*/ 734768 h 1072497"/>
                    <a:gd name="connsiteX19" fmla="*/ 2225640 w 2971460"/>
                    <a:gd name="connsiteY19" fmla="*/ 798928 h 1072497"/>
                    <a:gd name="connsiteX20" fmla="*/ 2037188 w 2971460"/>
                    <a:gd name="connsiteY20" fmla="*/ 802052 h 1072497"/>
                    <a:gd name="connsiteX21" fmla="*/ 1897304 w 2971460"/>
                    <a:gd name="connsiteY21" fmla="*/ 804373 h 1072497"/>
                    <a:gd name="connsiteX22" fmla="*/ 1568969 w 2971460"/>
                    <a:gd name="connsiteY22" fmla="*/ 798925 h 1072497"/>
                    <a:gd name="connsiteX23" fmla="*/ 1557131 w 2971460"/>
                    <a:gd name="connsiteY23" fmla="*/ 798320 h 1072497"/>
                    <a:gd name="connsiteX24" fmla="*/ 1488816 w 2971460"/>
                    <a:gd name="connsiteY24" fmla="*/ 1059313 h 1072497"/>
                    <a:gd name="connsiteX25" fmla="*/ 1514932 w 2971460"/>
                    <a:gd name="connsiteY25" fmla="*/ 1061604 h 1072497"/>
                    <a:gd name="connsiteX26" fmla="*/ 1897306 w 2971460"/>
                    <a:gd name="connsiteY26" fmla="*/ 1072497 h 1072497"/>
                    <a:gd name="connsiteX27" fmla="*/ 1966917 w 2971460"/>
                    <a:gd name="connsiteY27" fmla="*/ 1070513 h 1072497"/>
                    <a:gd name="connsiteX28" fmla="*/ 2279674 w 2971460"/>
                    <a:gd name="connsiteY28" fmla="*/ 1061604 h 1072497"/>
                    <a:gd name="connsiteX29" fmla="*/ 2948936 w 2971460"/>
                    <a:gd name="connsiteY29" fmla="*/ 977401 h 1072497"/>
                    <a:gd name="connsiteX0" fmla="*/ 2191113 w 2971460"/>
                    <a:gd name="connsiteY0" fmla="*/ 272889 h 1072497"/>
                    <a:gd name="connsiteX1" fmla="*/ 2198259 w 2971460"/>
                    <a:gd name="connsiteY1" fmla="*/ 3606 h 1072497"/>
                    <a:gd name="connsiteX2" fmla="*/ 1897300 w 2971460"/>
                    <a:gd name="connsiteY2" fmla="*/ 0 h 1072497"/>
                    <a:gd name="connsiteX3" fmla="*/ 0 w 2971460"/>
                    <a:gd name="connsiteY3" fmla="*/ 536248 h 1072497"/>
                    <a:gd name="connsiteX4" fmla="*/ 1158787 w 2971460"/>
                    <a:gd name="connsiteY4" fmla="*/ 1030357 h 1072497"/>
                    <a:gd name="connsiteX5" fmla="*/ 1488814 w 2971460"/>
                    <a:gd name="connsiteY5" fmla="*/ 1059313 h 1072497"/>
                    <a:gd name="connsiteX6" fmla="*/ 1557129 w 2971460"/>
                    <a:gd name="connsiteY6" fmla="*/ 798320 h 1072497"/>
                    <a:gd name="connsiteX7" fmla="*/ 1263154 w 2971460"/>
                    <a:gd name="connsiteY7" fmla="*/ 783303 h 1072497"/>
                    <a:gd name="connsiteX8" fmla="*/ 268127 w 2971460"/>
                    <a:gd name="connsiteY8" fmla="*/ 536248 h 1072497"/>
                    <a:gd name="connsiteX9" fmla="*/ 1568965 w 2971460"/>
                    <a:gd name="connsiteY9" fmla="*/ 273572 h 1072497"/>
                    <a:gd name="connsiteX10" fmla="*/ 1695033 w 2971460"/>
                    <a:gd name="connsiteY10" fmla="*/ 271480 h 1072497"/>
                    <a:gd name="connsiteX11" fmla="*/ 1695033 w 2971460"/>
                    <a:gd name="connsiteY11" fmla="*/ 271478 h 1072497"/>
                    <a:gd name="connsiteX12" fmla="*/ 1897302 w 2971460"/>
                    <a:gd name="connsiteY12" fmla="*/ 268122 h 1072497"/>
                    <a:gd name="connsiteX13" fmla="*/ 2175740 w 2971460"/>
                    <a:gd name="connsiteY13" fmla="*/ 272741 h 1072497"/>
                    <a:gd name="connsiteX14" fmla="*/ 2181302 w 2971460"/>
                    <a:gd name="connsiteY14" fmla="*/ 251493 h 1072497"/>
                    <a:gd name="connsiteX15" fmla="*/ 2175740 w 2971460"/>
                    <a:gd name="connsiteY15" fmla="*/ 272743 h 1072497"/>
                    <a:gd name="connsiteX16" fmla="*/ 2191113 w 2971460"/>
                    <a:gd name="connsiteY16" fmla="*/ 272889 h 1072497"/>
                    <a:gd name="connsiteX17" fmla="*/ 2960836 w 2971460"/>
                    <a:gd name="connsiteY17" fmla="*/ 977015 h 1072497"/>
                    <a:gd name="connsiteX18" fmla="*/ 2971460 w 2971460"/>
                    <a:gd name="connsiteY18" fmla="*/ 734768 h 1072497"/>
                    <a:gd name="connsiteX19" fmla="*/ 2225640 w 2971460"/>
                    <a:gd name="connsiteY19" fmla="*/ 798928 h 1072497"/>
                    <a:gd name="connsiteX20" fmla="*/ 2037188 w 2971460"/>
                    <a:gd name="connsiteY20" fmla="*/ 802052 h 1072497"/>
                    <a:gd name="connsiteX21" fmla="*/ 1897304 w 2971460"/>
                    <a:gd name="connsiteY21" fmla="*/ 804373 h 1072497"/>
                    <a:gd name="connsiteX22" fmla="*/ 1568969 w 2971460"/>
                    <a:gd name="connsiteY22" fmla="*/ 798925 h 1072497"/>
                    <a:gd name="connsiteX23" fmla="*/ 1557131 w 2971460"/>
                    <a:gd name="connsiteY23" fmla="*/ 798320 h 1072497"/>
                    <a:gd name="connsiteX24" fmla="*/ 1488816 w 2971460"/>
                    <a:gd name="connsiteY24" fmla="*/ 1059313 h 1072497"/>
                    <a:gd name="connsiteX25" fmla="*/ 1514932 w 2971460"/>
                    <a:gd name="connsiteY25" fmla="*/ 1061604 h 1072497"/>
                    <a:gd name="connsiteX26" fmla="*/ 1897306 w 2971460"/>
                    <a:gd name="connsiteY26" fmla="*/ 1072497 h 1072497"/>
                    <a:gd name="connsiteX27" fmla="*/ 1966917 w 2971460"/>
                    <a:gd name="connsiteY27" fmla="*/ 1070513 h 1072497"/>
                    <a:gd name="connsiteX28" fmla="*/ 2279674 w 2971460"/>
                    <a:gd name="connsiteY28" fmla="*/ 1061604 h 1072497"/>
                    <a:gd name="connsiteX29" fmla="*/ 2960836 w 2971460"/>
                    <a:gd name="connsiteY29" fmla="*/ 977015 h 1072497"/>
                    <a:gd name="connsiteX0" fmla="*/ 2191113 w 2983360"/>
                    <a:gd name="connsiteY0" fmla="*/ 272889 h 1072497"/>
                    <a:gd name="connsiteX1" fmla="*/ 2198259 w 2983360"/>
                    <a:gd name="connsiteY1" fmla="*/ 3606 h 1072497"/>
                    <a:gd name="connsiteX2" fmla="*/ 1897300 w 2983360"/>
                    <a:gd name="connsiteY2" fmla="*/ 0 h 1072497"/>
                    <a:gd name="connsiteX3" fmla="*/ 0 w 2983360"/>
                    <a:gd name="connsiteY3" fmla="*/ 536248 h 1072497"/>
                    <a:gd name="connsiteX4" fmla="*/ 1158787 w 2983360"/>
                    <a:gd name="connsiteY4" fmla="*/ 1030357 h 1072497"/>
                    <a:gd name="connsiteX5" fmla="*/ 1488814 w 2983360"/>
                    <a:gd name="connsiteY5" fmla="*/ 1059313 h 1072497"/>
                    <a:gd name="connsiteX6" fmla="*/ 1557129 w 2983360"/>
                    <a:gd name="connsiteY6" fmla="*/ 798320 h 1072497"/>
                    <a:gd name="connsiteX7" fmla="*/ 1263154 w 2983360"/>
                    <a:gd name="connsiteY7" fmla="*/ 783303 h 1072497"/>
                    <a:gd name="connsiteX8" fmla="*/ 268127 w 2983360"/>
                    <a:gd name="connsiteY8" fmla="*/ 536248 h 1072497"/>
                    <a:gd name="connsiteX9" fmla="*/ 1568965 w 2983360"/>
                    <a:gd name="connsiteY9" fmla="*/ 273572 h 1072497"/>
                    <a:gd name="connsiteX10" fmla="*/ 1695033 w 2983360"/>
                    <a:gd name="connsiteY10" fmla="*/ 271480 h 1072497"/>
                    <a:gd name="connsiteX11" fmla="*/ 1695033 w 2983360"/>
                    <a:gd name="connsiteY11" fmla="*/ 271478 h 1072497"/>
                    <a:gd name="connsiteX12" fmla="*/ 1897302 w 2983360"/>
                    <a:gd name="connsiteY12" fmla="*/ 268122 h 1072497"/>
                    <a:gd name="connsiteX13" fmla="*/ 2175740 w 2983360"/>
                    <a:gd name="connsiteY13" fmla="*/ 272741 h 1072497"/>
                    <a:gd name="connsiteX14" fmla="*/ 2181302 w 2983360"/>
                    <a:gd name="connsiteY14" fmla="*/ 251493 h 1072497"/>
                    <a:gd name="connsiteX15" fmla="*/ 2175740 w 2983360"/>
                    <a:gd name="connsiteY15" fmla="*/ 272743 h 1072497"/>
                    <a:gd name="connsiteX16" fmla="*/ 2191113 w 2983360"/>
                    <a:gd name="connsiteY16" fmla="*/ 272889 h 1072497"/>
                    <a:gd name="connsiteX17" fmla="*/ 2960836 w 2983360"/>
                    <a:gd name="connsiteY17" fmla="*/ 977015 h 1072497"/>
                    <a:gd name="connsiteX18" fmla="*/ 2983360 w 2983360"/>
                    <a:gd name="connsiteY18" fmla="*/ 734381 h 1072497"/>
                    <a:gd name="connsiteX19" fmla="*/ 2225640 w 2983360"/>
                    <a:gd name="connsiteY19" fmla="*/ 798928 h 1072497"/>
                    <a:gd name="connsiteX20" fmla="*/ 2037188 w 2983360"/>
                    <a:gd name="connsiteY20" fmla="*/ 802052 h 1072497"/>
                    <a:gd name="connsiteX21" fmla="*/ 1897304 w 2983360"/>
                    <a:gd name="connsiteY21" fmla="*/ 804373 h 1072497"/>
                    <a:gd name="connsiteX22" fmla="*/ 1568969 w 2983360"/>
                    <a:gd name="connsiteY22" fmla="*/ 798925 h 1072497"/>
                    <a:gd name="connsiteX23" fmla="*/ 1557131 w 2983360"/>
                    <a:gd name="connsiteY23" fmla="*/ 798320 h 1072497"/>
                    <a:gd name="connsiteX24" fmla="*/ 1488816 w 2983360"/>
                    <a:gd name="connsiteY24" fmla="*/ 1059313 h 1072497"/>
                    <a:gd name="connsiteX25" fmla="*/ 1514932 w 2983360"/>
                    <a:gd name="connsiteY25" fmla="*/ 1061604 h 1072497"/>
                    <a:gd name="connsiteX26" fmla="*/ 1897306 w 2983360"/>
                    <a:gd name="connsiteY26" fmla="*/ 1072497 h 1072497"/>
                    <a:gd name="connsiteX27" fmla="*/ 1966917 w 2983360"/>
                    <a:gd name="connsiteY27" fmla="*/ 1070513 h 1072497"/>
                    <a:gd name="connsiteX28" fmla="*/ 2279674 w 2983360"/>
                    <a:gd name="connsiteY28" fmla="*/ 1061604 h 1072497"/>
                    <a:gd name="connsiteX29" fmla="*/ 2960836 w 2983360"/>
                    <a:gd name="connsiteY29" fmla="*/ 977015 h 1072497"/>
                    <a:gd name="connsiteX0" fmla="*/ 2191113 w 2986092"/>
                    <a:gd name="connsiteY0" fmla="*/ 272889 h 1072497"/>
                    <a:gd name="connsiteX1" fmla="*/ 2198259 w 2986092"/>
                    <a:gd name="connsiteY1" fmla="*/ 3606 h 1072497"/>
                    <a:gd name="connsiteX2" fmla="*/ 1897300 w 2986092"/>
                    <a:gd name="connsiteY2" fmla="*/ 0 h 1072497"/>
                    <a:gd name="connsiteX3" fmla="*/ 0 w 2986092"/>
                    <a:gd name="connsiteY3" fmla="*/ 536248 h 1072497"/>
                    <a:gd name="connsiteX4" fmla="*/ 1158787 w 2986092"/>
                    <a:gd name="connsiteY4" fmla="*/ 1030357 h 1072497"/>
                    <a:gd name="connsiteX5" fmla="*/ 1488814 w 2986092"/>
                    <a:gd name="connsiteY5" fmla="*/ 1059313 h 1072497"/>
                    <a:gd name="connsiteX6" fmla="*/ 1557129 w 2986092"/>
                    <a:gd name="connsiteY6" fmla="*/ 798320 h 1072497"/>
                    <a:gd name="connsiteX7" fmla="*/ 1263154 w 2986092"/>
                    <a:gd name="connsiteY7" fmla="*/ 783303 h 1072497"/>
                    <a:gd name="connsiteX8" fmla="*/ 268127 w 2986092"/>
                    <a:gd name="connsiteY8" fmla="*/ 536248 h 1072497"/>
                    <a:gd name="connsiteX9" fmla="*/ 1568965 w 2986092"/>
                    <a:gd name="connsiteY9" fmla="*/ 273572 h 1072497"/>
                    <a:gd name="connsiteX10" fmla="*/ 1695033 w 2986092"/>
                    <a:gd name="connsiteY10" fmla="*/ 271480 h 1072497"/>
                    <a:gd name="connsiteX11" fmla="*/ 1695033 w 2986092"/>
                    <a:gd name="connsiteY11" fmla="*/ 271478 h 1072497"/>
                    <a:gd name="connsiteX12" fmla="*/ 1897302 w 2986092"/>
                    <a:gd name="connsiteY12" fmla="*/ 268122 h 1072497"/>
                    <a:gd name="connsiteX13" fmla="*/ 2175740 w 2986092"/>
                    <a:gd name="connsiteY13" fmla="*/ 272741 h 1072497"/>
                    <a:gd name="connsiteX14" fmla="*/ 2181302 w 2986092"/>
                    <a:gd name="connsiteY14" fmla="*/ 251493 h 1072497"/>
                    <a:gd name="connsiteX15" fmla="*/ 2175740 w 2986092"/>
                    <a:gd name="connsiteY15" fmla="*/ 272743 h 1072497"/>
                    <a:gd name="connsiteX16" fmla="*/ 2191113 w 2986092"/>
                    <a:gd name="connsiteY16" fmla="*/ 272889 h 1072497"/>
                    <a:gd name="connsiteX17" fmla="*/ 2960836 w 2986092"/>
                    <a:gd name="connsiteY17" fmla="*/ 977015 h 1072497"/>
                    <a:gd name="connsiteX18" fmla="*/ 2986092 w 2986092"/>
                    <a:gd name="connsiteY18" fmla="*/ 730481 h 1072497"/>
                    <a:gd name="connsiteX19" fmla="*/ 2225640 w 2986092"/>
                    <a:gd name="connsiteY19" fmla="*/ 798928 h 1072497"/>
                    <a:gd name="connsiteX20" fmla="*/ 2037188 w 2986092"/>
                    <a:gd name="connsiteY20" fmla="*/ 802052 h 1072497"/>
                    <a:gd name="connsiteX21" fmla="*/ 1897304 w 2986092"/>
                    <a:gd name="connsiteY21" fmla="*/ 804373 h 1072497"/>
                    <a:gd name="connsiteX22" fmla="*/ 1568969 w 2986092"/>
                    <a:gd name="connsiteY22" fmla="*/ 798925 h 1072497"/>
                    <a:gd name="connsiteX23" fmla="*/ 1557131 w 2986092"/>
                    <a:gd name="connsiteY23" fmla="*/ 798320 h 1072497"/>
                    <a:gd name="connsiteX24" fmla="*/ 1488816 w 2986092"/>
                    <a:gd name="connsiteY24" fmla="*/ 1059313 h 1072497"/>
                    <a:gd name="connsiteX25" fmla="*/ 1514932 w 2986092"/>
                    <a:gd name="connsiteY25" fmla="*/ 1061604 h 1072497"/>
                    <a:gd name="connsiteX26" fmla="*/ 1897306 w 2986092"/>
                    <a:gd name="connsiteY26" fmla="*/ 1072497 h 1072497"/>
                    <a:gd name="connsiteX27" fmla="*/ 1966917 w 2986092"/>
                    <a:gd name="connsiteY27" fmla="*/ 1070513 h 1072497"/>
                    <a:gd name="connsiteX28" fmla="*/ 2279674 w 2986092"/>
                    <a:gd name="connsiteY28" fmla="*/ 1061604 h 1072497"/>
                    <a:gd name="connsiteX29" fmla="*/ 2960836 w 2986092"/>
                    <a:gd name="connsiteY29" fmla="*/ 977015 h 1072497"/>
                    <a:gd name="connsiteX0" fmla="*/ 2191113 w 2986092"/>
                    <a:gd name="connsiteY0" fmla="*/ 272889 h 1072497"/>
                    <a:gd name="connsiteX1" fmla="*/ 2198259 w 2986092"/>
                    <a:gd name="connsiteY1" fmla="*/ 3606 h 1072497"/>
                    <a:gd name="connsiteX2" fmla="*/ 1897300 w 2986092"/>
                    <a:gd name="connsiteY2" fmla="*/ 0 h 1072497"/>
                    <a:gd name="connsiteX3" fmla="*/ 0 w 2986092"/>
                    <a:gd name="connsiteY3" fmla="*/ 536248 h 1072497"/>
                    <a:gd name="connsiteX4" fmla="*/ 1158787 w 2986092"/>
                    <a:gd name="connsiteY4" fmla="*/ 1030357 h 1072497"/>
                    <a:gd name="connsiteX5" fmla="*/ 1488814 w 2986092"/>
                    <a:gd name="connsiteY5" fmla="*/ 1059313 h 1072497"/>
                    <a:gd name="connsiteX6" fmla="*/ 1557129 w 2986092"/>
                    <a:gd name="connsiteY6" fmla="*/ 798320 h 1072497"/>
                    <a:gd name="connsiteX7" fmla="*/ 1263154 w 2986092"/>
                    <a:gd name="connsiteY7" fmla="*/ 783303 h 1072497"/>
                    <a:gd name="connsiteX8" fmla="*/ 268127 w 2986092"/>
                    <a:gd name="connsiteY8" fmla="*/ 536248 h 1072497"/>
                    <a:gd name="connsiteX9" fmla="*/ 1568965 w 2986092"/>
                    <a:gd name="connsiteY9" fmla="*/ 273572 h 1072497"/>
                    <a:gd name="connsiteX10" fmla="*/ 1695033 w 2986092"/>
                    <a:gd name="connsiteY10" fmla="*/ 271480 h 1072497"/>
                    <a:gd name="connsiteX11" fmla="*/ 1695033 w 2986092"/>
                    <a:gd name="connsiteY11" fmla="*/ 271478 h 1072497"/>
                    <a:gd name="connsiteX12" fmla="*/ 1897302 w 2986092"/>
                    <a:gd name="connsiteY12" fmla="*/ 268122 h 1072497"/>
                    <a:gd name="connsiteX13" fmla="*/ 2175740 w 2986092"/>
                    <a:gd name="connsiteY13" fmla="*/ 272741 h 1072497"/>
                    <a:gd name="connsiteX14" fmla="*/ 2181302 w 2986092"/>
                    <a:gd name="connsiteY14" fmla="*/ 251493 h 1072497"/>
                    <a:gd name="connsiteX15" fmla="*/ 2175740 w 2986092"/>
                    <a:gd name="connsiteY15" fmla="*/ 272743 h 1072497"/>
                    <a:gd name="connsiteX16" fmla="*/ 2191113 w 2986092"/>
                    <a:gd name="connsiteY16" fmla="*/ 272889 h 1072497"/>
                    <a:gd name="connsiteX17" fmla="*/ 2964153 w 2986092"/>
                    <a:gd name="connsiteY17" fmla="*/ 976430 h 1072497"/>
                    <a:gd name="connsiteX18" fmla="*/ 2986092 w 2986092"/>
                    <a:gd name="connsiteY18" fmla="*/ 730481 h 1072497"/>
                    <a:gd name="connsiteX19" fmla="*/ 2225640 w 2986092"/>
                    <a:gd name="connsiteY19" fmla="*/ 798928 h 1072497"/>
                    <a:gd name="connsiteX20" fmla="*/ 2037188 w 2986092"/>
                    <a:gd name="connsiteY20" fmla="*/ 802052 h 1072497"/>
                    <a:gd name="connsiteX21" fmla="*/ 1897304 w 2986092"/>
                    <a:gd name="connsiteY21" fmla="*/ 804373 h 1072497"/>
                    <a:gd name="connsiteX22" fmla="*/ 1568969 w 2986092"/>
                    <a:gd name="connsiteY22" fmla="*/ 798925 h 1072497"/>
                    <a:gd name="connsiteX23" fmla="*/ 1557131 w 2986092"/>
                    <a:gd name="connsiteY23" fmla="*/ 798320 h 1072497"/>
                    <a:gd name="connsiteX24" fmla="*/ 1488816 w 2986092"/>
                    <a:gd name="connsiteY24" fmla="*/ 1059313 h 1072497"/>
                    <a:gd name="connsiteX25" fmla="*/ 1514932 w 2986092"/>
                    <a:gd name="connsiteY25" fmla="*/ 1061604 h 1072497"/>
                    <a:gd name="connsiteX26" fmla="*/ 1897306 w 2986092"/>
                    <a:gd name="connsiteY26" fmla="*/ 1072497 h 1072497"/>
                    <a:gd name="connsiteX27" fmla="*/ 1966917 w 2986092"/>
                    <a:gd name="connsiteY27" fmla="*/ 1070513 h 1072497"/>
                    <a:gd name="connsiteX28" fmla="*/ 2279674 w 2986092"/>
                    <a:gd name="connsiteY28" fmla="*/ 1061604 h 1072497"/>
                    <a:gd name="connsiteX29" fmla="*/ 2964153 w 2986092"/>
                    <a:gd name="connsiteY29" fmla="*/ 976430 h 1072497"/>
                    <a:gd name="connsiteX0" fmla="*/ 2191113 w 2986092"/>
                    <a:gd name="connsiteY0" fmla="*/ 272889 h 1072497"/>
                    <a:gd name="connsiteX1" fmla="*/ 2198259 w 2986092"/>
                    <a:gd name="connsiteY1" fmla="*/ 3606 h 1072497"/>
                    <a:gd name="connsiteX2" fmla="*/ 1897300 w 2986092"/>
                    <a:gd name="connsiteY2" fmla="*/ 0 h 1072497"/>
                    <a:gd name="connsiteX3" fmla="*/ 0 w 2986092"/>
                    <a:gd name="connsiteY3" fmla="*/ 536248 h 1072497"/>
                    <a:gd name="connsiteX4" fmla="*/ 1158787 w 2986092"/>
                    <a:gd name="connsiteY4" fmla="*/ 1030357 h 1072497"/>
                    <a:gd name="connsiteX5" fmla="*/ 1488814 w 2986092"/>
                    <a:gd name="connsiteY5" fmla="*/ 1059313 h 1072497"/>
                    <a:gd name="connsiteX6" fmla="*/ 1557129 w 2986092"/>
                    <a:gd name="connsiteY6" fmla="*/ 798320 h 1072497"/>
                    <a:gd name="connsiteX7" fmla="*/ 1263154 w 2986092"/>
                    <a:gd name="connsiteY7" fmla="*/ 783303 h 1072497"/>
                    <a:gd name="connsiteX8" fmla="*/ 268127 w 2986092"/>
                    <a:gd name="connsiteY8" fmla="*/ 536248 h 1072497"/>
                    <a:gd name="connsiteX9" fmla="*/ 1568965 w 2986092"/>
                    <a:gd name="connsiteY9" fmla="*/ 273572 h 1072497"/>
                    <a:gd name="connsiteX10" fmla="*/ 1695033 w 2986092"/>
                    <a:gd name="connsiteY10" fmla="*/ 271480 h 1072497"/>
                    <a:gd name="connsiteX11" fmla="*/ 1695033 w 2986092"/>
                    <a:gd name="connsiteY11" fmla="*/ 271478 h 1072497"/>
                    <a:gd name="connsiteX12" fmla="*/ 1897302 w 2986092"/>
                    <a:gd name="connsiteY12" fmla="*/ 268122 h 1072497"/>
                    <a:gd name="connsiteX13" fmla="*/ 2175740 w 2986092"/>
                    <a:gd name="connsiteY13" fmla="*/ 272741 h 1072497"/>
                    <a:gd name="connsiteX14" fmla="*/ 2181302 w 2986092"/>
                    <a:gd name="connsiteY14" fmla="*/ 251493 h 1072497"/>
                    <a:gd name="connsiteX15" fmla="*/ 2175740 w 2986092"/>
                    <a:gd name="connsiteY15" fmla="*/ 272743 h 1072497"/>
                    <a:gd name="connsiteX16" fmla="*/ 2191113 w 2986092"/>
                    <a:gd name="connsiteY16" fmla="*/ 272889 h 1072497"/>
                    <a:gd name="connsiteX17" fmla="*/ 2962203 w 2986092"/>
                    <a:gd name="connsiteY17" fmla="*/ 975064 h 1072497"/>
                    <a:gd name="connsiteX18" fmla="*/ 2986092 w 2986092"/>
                    <a:gd name="connsiteY18" fmla="*/ 730481 h 1072497"/>
                    <a:gd name="connsiteX19" fmla="*/ 2225640 w 2986092"/>
                    <a:gd name="connsiteY19" fmla="*/ 798928 h 1072497"/>
                    <a:gd name="connsiteX20" fmla="*/ 2037188 w 2986092"/>
                    <a:gd name="connsiteY20" fmla="*/ 802052 h 1072497"/>
                    <a:gd name="connsiteX21" fmla="*/ 1897304 w 2986092"/>
                    <a:gd name="connsiteY21" fmla="*/ 804373 h 1072497"/>
                    <a:gd name="connsiteX22" fmla="*/ 1568969 w 2986092"/>
                    <a:gd name="connsiteY22" fmla="*/ 798925 h 1072497"/>
                    <a:gd name="connsiteX23" fmla="*/ 1557131 w 2986092"/>
                    <a:gd name="connsiteY23" fmla="*/ 798320 h 1072497"/>
                    <a:gd name="connsiteX24" fmla="*/ 1488816 w 2986092"/>
                    <a:gd name="connsiteY24" fmla="*/ 1059313 h 1072497"/>
                    <a:gd name="connsiteX25" fmla="*/ 1514932 w 2986092"/>
                    <a:gd name="connsiteY25" fmla="*/ 1061604 h 1072497"/>
                    <a:gd name="connsiteX26" fmla="*/ 1897306 w 2986092"/>
                    <a:gd name="connsiteY26" fmla="*/ 1072497 h 1072497"/>
                    <a:gd name="connsiteX27" fmla="*/ 1966917 w 2986092"/>
                    <a:gd name="connsiteY27" fmla="*/ 1070513 h 1072497"/>
                    <a:gd name="connsiteX28" fmla="*/ 2279674 w 2986092"/>
                    <a:gd name="connsiteY28" fmla="*/ 1061604 h 1072497"/>
                    <a:gd name="connsiteX29" fmla="*/ 2962203 w 2986092"/>
                    <a:gd name="connsiteY29" fmla="*/ 975064 h 1072497"/>
                    <a:gd name="connsiteX0" fmla="*/ 2191113 w 2981409"/>
                    <a:gd name="connsiteY0" fmla="*/ 272889 h 1072497"/>
                    <a:gd name="connsiteX1" fmla="*/ 2198259 w 2981409"/>
                    <a:gd name="connsiteY1" fmla="*/ 3606 h 1072497"/>
                    <a:gd name="connsiteX2" fmla="*/ 1897300 w 2981409"/>
                    <a:gd name="connsiteY2" fmla="*/ 0 h 1072497"/>
                    <a:gd name="connsiteX3" fmla="*/ 0 w 2981409"/>
                    <a:gd name="connsiteY3" fmla="*/ 536248 h 1072497"/>
                    <a:gd name="connsiteX4" fmla="*/ 1158787 w 2981409"/>
                    <a:gd name="connsiteY4" fmla="*/ 1030357 h 1072497"/>
                    <a:gd name="connsiteX5" fmla="*/ 1488814 w 2981409"/>
                    <a:gd name="connsiteY5" fmla="*/ 1059313 h 1072497"/>
                    <a:gd name="connsiteX6" fmla="*/ 1557129 w 2981409"/>
                    <a:gd name="connsiteY6" fmla="*/ 798320 h 1072497"/>
                    <a:gd name="connsiteX7" fmla="*/ 1263154 w 2981409"/>
                    <a:gd name="connsiteY7" fmla="*/ 783303 h 1072497"/>
                    <a:gd name="connsiteX8" fmla="*/ 268127 w 2981409"/>
                    <a:gd name="connsiteY8" fmla="*/ 536248 h 1072497"/>
                    <a:gd name="connsiteX9" fmla="*/ 1568965 w 2981409"/>
                    <a:gd name="connsiteY9" fmla="*/ 273572 h 1072497"/>
                    <a:gd name="connsiteX10" fmla="*/ 1695033 w 2981409"/>
                    <a:gd name="connsiteY10" fmla="*/ 271480 h 1072497"/>
                    <a:gd name="connsiteX11" fmla="*/ 1695033 w 2981409"/>
                    <a:gd name="connsiteY11" fmla="*/ 271478 h 1072497"/>
                    <a:gd name="connsiteX12" fmla="*/ 1897302 w 2981409"/>
                    <a:gd name="connsiteY12" fmla="*/ 268122 h 1072497"/>
                    <a:gd name="connsiteX13" fmla="*/ 2175740 w 2981409"/>
                    <a:gd name="connsiteY13" fmla="*/ 272741 h 1072497"/>
                    <a:gd name="connsiteX14" fmla="*/ 2181302 w 2981409"/>
                    <a:gd name="connsiteY14" fmla="*/ 251493 h 1072497"/>
                    <a:gd name="connsiteX15" fmla="*/ 2175740 w 2981409"/>
                    <a:gd name="connsiteY15" fmla="*/ 272743 h 1072497"/>
                    <a:gd name="connsiteX16" fmla="*/ 2191113 w 2981409"/>
                    <a:gd name="connsiteY16" fmla="*/ 272889 h 1072497"/>
                    <a:gd name="connsiteX17" fmla="*/ 2962203 w 2981409"/>
                    <a:gd name="connsiteY17" fmla="*/ 975064 h 1072497"/>
                    <a:gd name="connsiteX18" fmla="*/ 2981409 w 2981409"/>
                    <a:gd name="connsiteY18" fmla="*/ 733016 h 1072497"/>
                    <a:gd name="connsiteX19" fmla="*/ 2225640 w 2981409"/>
                    <a:gd name="connsiteY19" fmla="*/ 798928 h 1072497"/>
                    <a:gd name="connsiteX20" fmla="*/ 2037188 w 2981409"/>
                    <a:gd name="connsiteY20" fmla="*/ 802052 h 1072497"/>
                    <a:gd name="connsiteX21" fmla="*/ 1897304 w 2981409"/>
                    <a:gd name="connsiteY21" fmla="*/ 804373 h 1072497"/>
                    <a:gd name="connsiteX22" fmla="*/ 1568969 w 2981409"/>
                    <a:gd name="connsiteY22" fmla="*/ 798925 h 1072497"/>
                    <a:gd name="connsiteX23" fmla="*/ 1557131 w 2981409"/>
                    <a:gd name="connsiteY23" fmla="*/ 798320 h 1072497"/>
                    <a:gd name="connsiteX24" fmla="*/ 1488816 w 2981409"/>
                    <a:gd name="connsiteY24" fmla="*/ 1059313 h 1072497"/>
                    <a:gd name="connsiteX25" fmla="*/ 1514932 w 2981409"/>
                    <a:gd name="connsiteY25" fmla="*/ 1061604 h 1072497"/>
                    <a:gd name="connsiteX26" fmla="*/ 1897306 w 2981409"/>
                    <a:gd name="connsiteY26" fmla="*/ 1072497 h 1072497"/>
                    <a:gd name="connsiteX27" fmla="*/ 1966917 w 2981409"/>
                    <a:gd name="connsiteY27" fmla="*/ 1070513 h 1072497"/>
                    <a:gd name="connsiteX28" fmla="*/ 2279674 w 2981409"/>
                    <a:gd name="connsiteY28" fmla="*/ 1061604 h 1072497"/>
                    <a:gd name="connsiteX29" fmla="*/ 2962203 w 2981409"/>
                    <a:gd name="connsiteY29" fmla="*/ 975064 h 1072497"/>
                    <a:gd name="connsiteX0" fmla="*/ 2191113 w 2984726"/>
                    <a:gd name="connsiteY0" fmla="*/ 272889 h 1072497"/>
                    <a:gd name="connsiteX1" fmla="*/ 2198259 w 2984726"/>
                    <a:gd name="connsiteY1" fmla="*/ 3606 h 1072497"/>
                    <a:gd name="connsiteX2" fmla="*/ 1897300 w 2984726"/>
                    <a:gd name="connsiteY2" fmla="*/ 0 h 1072497"/>
                    <a:gd name="connsiteX3" fmla="*/ 0 w 2984726"/>
                    <a:gd name="connsiteY3" fmla="*/ 536248 h 1072497"/>
                    <a:gd name="connsiteX4" fmla="*/ 1158787 w 2984726"/>
                    <a:gd name="connsiteY4" fmla="*/ 1030357 h 1072497"/>
                    <a:gd name="connsiteX5" fmla="*/ 1488814 w 2984726"/>
                    <a:gd name="connsiteY5" fmla="*/ 1059313 h 1072497"/>
                    <a:gd name="connsiteX6" fmla="*/ 1557129 w 2984726"/>
                    <a:gd name="connsiteY6" fmla="*/ 798320 h 1072497"/>
                    <a:gd name="connsiteX7" fmla="*/ 1263154 w 2984726"/>
                    <a:gd name="connsiteY7" fmla="*/ 783303 h 1072497"/>
                    <a:gd name="connsiteX8" fmla="*/ 268127 w 2984726"/>
                    <a:gd name="connsiteY8" fmla="*/ 536248 h 1072497"/>
                    <a:gd name="connsiteX9" fmla="*/ 1568965 w 2984726"/>
                    <a:gd name="connsiteY9" fmla="*/ 273572 h 1072497"/>
                    <a:gd name="connsiteX10" fmla="*/ 1695033 w 2984726"/>
                    <a:gd name="connsiteY10" fmla="*/ 271480 h 1072497"/>
                    <a:gd name="connsiteX11" fmla="*/ 1695033 w 2984726"/>
                    <a:gd name="connsiteY11" fmla="*/ 271478 h 1072497"/>
                    <a:gd name="connsiteX12" fmla="*/ 1897302 w 2984726"/>
                    <a:gd name="connsiteY12" fmla="*/ 268122 h 1072497"/>
                    <a:gd name="connsiteX13" fmla="*/ 2175740 w 2984726"/>
                    <a:gd name="connsiteY13" fmla="*/ 272741 h 1072497"/>
                    <a:gd name="connsiteX14" fmla="*/ 2181302 w 2984726"/>
                    <a:gd name="connsiteY14" fmla="*/ 251493 h 1072497"/>
                    <a:gd name="connsiteX15" fmla="*/ 2175740 w 2984726"/>
                    <a:gd name="connsiteY15" fmla="*/ 272743 h 1072497"/>
                    <a:gd name="connsiteX16" fmla="*/ 2191113 w 2984726"/>
                    <a:gd name="connsiteY16" fmla="*/ 272889 h 1072497"/>
                    <a:gd name="connsiteX17" fmla="*/ 2962203 w 2984726"/>
                    <a:gd name="connsiteY17" fmla="*/ 975064 h 1072497"/>
                    <a:gd name="connsiteX18" fmla="*/ 2984726 w 2984726"/>
                    <a:gd name="connsiteY18" fmla="*/ 732431 h 1072497"/>
                    <a:gd name="connsiteX19" fmla="*/ 2225640 w 2984726"/>
                    <a:gd name="connsiteY19" fmla="*/ 798928 h 1072497"/>
                    <a:gd name="connsiteX20" fmla="*/ 2037188 w 2984726"/>
                    <a:gd name="connsiteY20" fmla="*/ 802052 h 1072497"/>
                    <a:gd name="connsiteX21" fmla="*/ 1897304 w 2984726"/>
                    <a:gd name="connsiteY21" fmla="*/ 804373 h 1072497"/>
                    <a:gd name="connsiteX22" fmla="*/ 1568969 w 2984726"/>
                    <a:gd name="connsiteY22" fmla="*/ 798925 h 1072497"/>
                    <a:gd name="connsiteX23" fmla="*/ 1557131 w 2984726"/>
                    <a:gd name="connsiteY23" fmla="*/ 798320 h 1072497"/>
                    <a:gd name="connsiteX24" fmla="*/ 1488816 w 2984726"/>
                    <a:gd name="connsiteY24" fmla="*/ 1059313 h 1072497"/>
                    <a:gd name="connsiteX25" fmla="*/ 1514932 w 2984726"/>
                    <a:gd name="connsiteY25" fmla="*/ 1061604 h 1072497"/>
                    <a:gd name="connsiteX26" fmla="*/ 1897306 w 2984726"/>
                    <a:gd name="connsiteY26" fmla="*/ 1072497 h 1072497"/>
                    <a:gd name="connsiteX27" fmla="*/ 1966917 w 2984726"/>
                    <a:gd name="connsiteY27" fmla="*/ 1070513 h 1072497"/>
                    <a:gd name="connsiteX28" fmla="*/ 2279674 w 2984726"/>
                    <a:gd name="connsiteY28" fmla="*/ 1061604 h 1072497"/>
                    <a:gd name="connsiteX29" fmla="*/ 2962203 w 2984726"/>
                    <a:gd name="connsiteY29" fmla="*/ 975064 h 1072497"/>
                    <a:gd name="connsiteX0" fmla="*/ 2191113 w 2986676"/>
                    <a:gd name="connsiteY0" fmla="*/ 272889 h 1072497"/>
                    <a:gd name="connsiteX1" fmla="*/ 2198259 w 2986676"/>
                    <a:gd name="connsiteY1" fmla="*/ 3606 h 1072497"/>
                    <a:gd name="connsiteX2" fmla="*/ 1897300 w 2986676"/>
                    <a:gd name="connsiteY2" fmla="*/ 0 h 1072497"/>
                    <a:gd name="connsiteX3" fmla="*/ 0 w 2986676"/>
                    <a:gd name="connsiteY3" fmla="*/ 536248 h 1072497"/>
                    <a:gd name="connsiteX4" fmla="*/ 1158787 w 2986676"/>
                    <a:gd name="connsiteY4" fmla="*/ 1030357 h 1072497"/>
                    <a:gd name="connsiteX5" fmla="*/ 1488814 w 2986676"/>
                    <a:gd name="connsiteY5" fmla="*/ 1059313 h 1072497"/>
                    <a:gd name="connsiteX6" fmla="*/ 1557129 w 2986676"/>
                    <a:gd name="connsiteY6" fmla="*/ 798320 h 1072497"/>
                    <a:gd name="connsiteX7" fmla="*/ 1263154 w 2986676"/>
                    <a:gd name="connsiteY7" fmla="*/ 783303 h 1072497"/>
                    <a:gd name="connsiteX8" fmla="*/ 268127 w 2986676"/>
                    <a:gd name="connsiteY8" fmla="*/ 536248 h 1072497"/>
                    <a:gd name="connsiteX9" fmla="*/ 1568965 w 2986676"/>
                    <a:gd name="connsiteY9" fmla="*/ 273572 h 1072497"/>
                    <a:gd name="connsiteX10" fmla="*/ 1695033 w 2986676"/>
                    <a:gd name="connsiteY10" fmla="*/ 271480 h 1072497"/>
                    <a:gd name="connsiteX11" fmla="*/ 1695033 w 2986676"/>
                    <a:gd name="connsiteY11" fmla="*/ 271478 h 1072497"/>
                    <a:gd name="connsiteX12" fmla="*/ 1897302 w 2986676"/>
                    <a:gd name="connsiteY12" fmla="*/ 268122 h 1072497"/>
                    <a:gd name="connsiteX13" fmla="*/ 2175740 w 2986676"/>
                    <a:gd name="connsiteY13" fmla="*/ 272741 h 1072497"/>
                    <a:gd name="connsiteX14" fmla="*/ 2181302 w 2986676"/>
                    <a:gd name="connsiteY14" fmla="*/ 251493 h 1072497"/>
                    <a:gd name="connsiteX15" fmla="*/ 2175740 w 2986676"/>
                    <a:gd name="connsiteY15" fmla="*/ 272743 h 1072497"/>
                    <a:gd name="connsiteX16" fmla="*/ 2191113 w 2986676"/>
                    <a:gd name="connsiteY16" fmla="*/ 272889 h 1072497"/>
                    <a:gd name="connsiteX17" fmla="*/ 2962203 w 2986676"/>
                    <a:gd name="connsiteY17" fmla="*/ 975064 h 1072497"/>
                    <a:gd name="connsiteX18" fmla="*/ 2986676 w 2986676"/>
                    <a:gd name="connsiteY18" fmla="*/ 733797 h 1072497"/>
                    <a:gd name="connsiteX19" fmla="*/ 2225640 w 2986676"/>
                    <a:gd name="connsiteY19" fmla="*/ 798928 h 1072497"/>
                    <a:gd name="connsiteX20" fmla="*/ 2037188 w 2986676"/>
                    <a:gd name="connsiteY20" fmla="*/ 802052 h 1072497"/>
                    <a:gd name="connsiteX21" fmla="*/ 1897304 w 2986676"/>
                    <a:gd name="connsiteY21" fmla="*/ 804373 h 1072497"/>
                    <a:gd name="connsiteX22" fmla="*/ 1568969 w 2986676"/>
                    <a:gd name="connsiteY22" fmla="*/ 798925 h 1072497"/>
                    <a:gd name="connsiteX23" fmla="*/ 1557131 w 2986676"/>
                    <a:gd name="connsiteY23" fmla="*/ 798320 h 1072497"/>
                    <a:gd name="connsiteX24" fmla="*/ 1488816 w 2986676"/>
                    <a:gd name="connsiteY24" fmla="*/ 1059313 h 1072497"/>
                    <a:gd name="connsiteX25" fmla="*/ 1514932 w 2986676"/>
                    <a:gd name="connsiteY25" fmla="*/ 1061604 h 1072497"/>
                    <a:gd name="connsiteX26" fmla="*/ 1897306 w 2986676"/>
                    <a:gd name="connsiteY26" fmla="*/ 1072497 h 1072497"/>
                    <a:gd name="connsiteX27" fmla="*/ 1966917 w 2986676"/>
                    <a:gd name="connsiteY27" fmla="*/ 1070513 h 1072497"/>
                    <a:gd name="connsiteX28" fmla="*/ 2279674 w 2986676"/>
                    <a:gd name="connsiteY28" fmla="*/ 1061604 h 1072497"/>
                    <a:gd name="connsiteX29" fmla="*/ 2962203 w 2986676"/>
                    <a:gd name="connsiteY29" fmla="*/ 975064 h 1072497"/>
                    <a:gd name="connsiteX0" fmla="*/ 2213547 w 2986676"/>
                    <a:gd name="connsiteY0" fmla="*/ 274067 h 1072497"/>
                    <a:gd name="connsiteX1" fmla="*/ 2198259 w 2986676"/>
                    <a:gd name="connsiteY1" fmla="*/ 3606 h 1072497"/>
                    <a:gd name="connsiteX2" fmla="*/ 1897300 w 2986676"/>
                    <a:gd name="connsiteY2" fmla="*/ 0 h 1072497"/>
                    <a:gd name="connsiteX3" fmla="*/ 0 w 2986676"/>
                    <a:gd name="connsiteY3" fmla="*/ 536248 h 1072497"/>
                    <a:gd name="connsiteX4" fmla="*/ 1158787 w 2986676"/>
                    <a:gd name="connsiteY4" fmla="*/ 1030357 h 1072497"/>
                    <a:gd name="connsiteX5" fmla="*/ 1488814 w 2986676"/>
                    <a:gd name="connsiteY5" fmla="*/ 1059313 h 1072497"/>
                    <a:gd name="connsiteX6" fmla="*/ 1557129 w 2986676"/>
                    <a:gd name="connsiteY6" fmla="*/ 798320 h 1072497"/>
                    <a:gd name="connsiteX7" fmla="*/ 1263154 w 2986676"/>
                    <a:gd name="connsiteY7" fmla="*/ 783303 h 1072497"/>
                    <a:gd name="connsiteX8" fmla="*/ 268127 w 2986676"/>
                    <a:gd name="connsiteY8" fmla="*/ 536248 h 1072497"/>
                    <a:gd name="connsiteX9" fmla="*/ 1568965 w 2986676"/>
                    <a:gd name="connsiteY9" fmla="*/ 273572 h 1072497"/>
                    <a:gd name="connsiteX10" fmla="*/ 1695033 w 2986676"/>
                    <a:gd name="connsiteY10" fmla="*/ 271480 h 1072497"/>
                    <a:gd name="connsiteX11" fmla="*/ 1695033 w 2986676"/>
                    <a:gd name="connsiteY11" fmla="*/ 271478 h 1072497"/>
                    <a:gd name="connsiteX12" fmla="*/ 1897302 w 2986676"/>
                    <a:gd name="connsiteY12" fmla="*/ 268122 h 1072497"/>
                    <a:gd name="connsiteX13" fmla="*/ 2175740 w 2986676"/>
                    <a:gd name="connsiteY13" fmla="*/ 272741 h 1072497"/>
                    <a:gd name="connsiteX14" fmla="*/ 2181302 w 2986676"/>
                    <a:gd name="connsiteY14" fmla="*/ 251493 h 1072497"/>
                    <a:gd name="connsiteX15" fmla="*/ 2175740 w 2986676"/>
                    <a:gd name="connsiteY15" fmla="*/ 272743 h 1072497"/>
                    <a:gd name="connsiteX16" fmla="*/ 2213547 w 2986676"/>
                    <a:gd name="connsiteY16" fmla="*/ 274067 h 1072497"/>
                    <a:gd name="connsiteX17" fmla="*/ 2962203 w 2986676"/>
                    <a:gd name="connsiteY17" fmla="*/ 975064 h 1072497"/>
                    <a:gd name="connsiteX18" fmla="*/ 2986676 w 2986676"/>
                    <a:gd name="connsiteY18" fmla="*/ 733797 h 1072497"/>
                    <a:gd name="connsiteX19" fmla="*/ 2225640 w 2986676"/>
                    <a:gd name="connsiteY19" fmla="*/ 798928 h 1072497"/>
                    <a:gd name="connsiteX20" fmla="*/ 2037188 w 2986676"/>
                    <a:gd name="connsiteY20" fmla="*/ 802052 h 1072497"/>
                    <a:gd name="connsiteX21" fmla="*/ 1897304 w 2986676"/>
                    <a:gd name="connsiteY21" fmla="*/ 804373 h 1072497"/>
                    <a:gd name="connsiteX22" fmla="*/ 1568969 w 2986676"/>
                    <a:gd name="connsiteY22" fmla="*/ 798925 h 1072497"/>
                    <a:gd name="connsiteX23" fmla="*/ 1557131 w 2986676"/>
                    <a:gd name="connsiteY23" fmla="*/ 798320 h 1072497"/>
                    <a:gd name="connsiteX24" fmla="*/ 1488816 w 2986676"/>
                    <a:gd name="connsiteY24" fmla="*/ 1059313 h 1072497"/>
                    <a:gd name="connsiteX25" fmla="*/ 1514932 w 2986676"/>
                    <a:gd name="connsiteY25" fmla="*/ 1061604 h 1072497"/>
                    <a:gd name="connsiteX26" fmla="*/ 1897306 w 2986676"/>
                    <a:gd name="connsiteY26" fmla="*/ 1072497 h 1072497"/>
                    <a:gd name="connsiteX27" fmla="*/ 1966917 w 2986676"/>
                    <a:gd name="connsiteY27" fmla="*/ 1070513 h 1072497"/>
                    <a:gd name="connsiteX28" fmla="*/ 2279674 w 2986676"/>
                    <a:gd name="connsiteY28" fmla="*/ 1061604 h 1072497"/>
                    <a:gd name="connsiteX29" fmla="*/ 2962203 w 2986676"/>
                    <a:gd name="connsiteY29" fmla="*/ 975064 h 1072497"/>
                    <a:gd name="connsiteX0" fmla="*/ 2207695 w 2986676"/>
                    <a:gd name="connsiteY0" fmla="*/ 269968 h 1072497"/>
                    <a:gd name="connsiteX1" fmla="*/ 2198259 w 2986676"/>
                    <a:gd name="connsiteY1" fmla="*/ 3606 h 1072497"/>
                    <a:gd name="connsiteX2" fmla="*/ 1897300 w 2986676"/>
                    <a:gd name="connsiteY2" fmla="*/ 0 h 1072497"/>
                    <a:gd name="connsiteX3" fmla="*/ 0 w 2986676"/>
                    <a:gd name="connsiteY3" fmla="*/ 536248 h 1072497"/>
                    <a:gd name="connsiteX4" fmla="*/ 1158787 w 2986676"/>
                    <a:gd name="connsiteY4" fmla="*/ 1030357 h 1072497"/>
                    <a:gd name="connsiteX5" fmla="*/ 1488814 w 2986676"/>
                    <a:gd name="connsiteY5" fmla="*/ 1059313 h 1072497"/>
                    <a:gd name="connsiteX6" fmla="*/ 1557129 w 2986676"/>
                    <a:gd name="connsiteY6" fmla="*/ 798320 h 1072497"/>
                    <a:gd name="connsiteX7" fmla="*/ 1263154 w 2986676"/>
                    <a:gd name="connsiteY7" fmla="*/ 783303 h 1072497"/>
                    <a:gd name="connsiteX8" fmla="*/ 268127 w 2986676"/>
                    <a:gd name="connsiteY8" fmla="*/ 536248 h 1072497"/>
                    <a:gd name="connsiteX9" fmla="*/ 1568965 w 2986676"/>
                    <a:gd name="connsiteY9" fmla="*/ 273572 h 1072497"/>
                    <a:gd name="connsiteX10" fmla="*/ 1695033 w 2986676"/>
                    <a:gd name="connsiteY10" fmla="*/ 271480 h 1072497"/>
                    <a:gd name="connsiteX11" fmla="*/ 1695033 w 2986676"/>
                    <a:gd name="connsiteY11" fmla="*/ 271478 h 1072497"/>
                    <a:gd name="connsiteX12" fmla="*/ 1897302 w 2986676"/>
                    <a:gd name="connsiteY12" fmla="*/ 268122 h 1072497"/>
                    <a:gd name="connsiteX13" fmla="*/ 2175740 w 2986676"/>
                    <a:gd name="connsiteY13" fmla="*/ 272741 h 1072497"/>
                    <a:gd name="connsiteX14" fmla="*/ 2181302 w 2986676"/>
                    <a:gd name="connsiteY14" fmla="*/ 251493 h 1072497"/>
                    <a:gd name="connsiteX15" fmla="*/ 2175740 w 2986676"/>
                    <a:gd name="connsiteY15" fmla="*/ 272743 h 1072497"/>
                    <a:gd name="connsiteX16" fmla="*/ 2207695 w 2986676"/>
                    <a:gd name="connsiteY16" fmla="*/ 269968 h 1072497"/>
                    <a:gd name="connsiteX17" fmla="*/ 2962203 w 2986676"/>
                    <a:gd name="connsiteY17" fmla="*/ 975064 h 1072497"/>
                    <a:gd name="connsiteX18" fmla="*/ 2986676 w 2986676"/>
                    <a:gd name="connsiteY18" fmla="*/ 733797 h 1072497"/>
                    <a:gd name="connsiteX19" fmla="*/ 2225640 w 2986676"/>
                    <a:gd name="connsiteY19" fmla="*/ 798928 h 1072497"/>
                    <a:gd name="connsiteX20" fmla="*/ 2037188 w 2986676"/>
                    <a:gd name="connsiteY20" fmla="*/ 802052 h 1072497"/>
                    <a:gd name="connsiteX21" fmla="*/ 1897304 w 2986676"/>
                    <a:gd name="connsiteY21" fmla="*/ 804373 h 1072497"/>
                    <a:gd name="connsiteX22" fmla="*/ 1568969 w 2986676"/>
                    <a:gd name="connsiteY22" fmla="*/ 798925 h 1072497"/>
                    <a:gd name="connsiteX23" fmla="*/ 1557131 w 2986676"/>
                    <a:gd name="connsiteY23" fmla="*/ 798320 h 1072497"/>
                    <a:gd name="connsiteX24" fmla="*/ 1488816 w 2986676"/>
                    <a:gd name="connsiteY24" fmla="*/ 1059313 h 1072497"/>
                    <a:gd name="connsiteX25" fmla="*/ 1514932 w 2986676"/>
                    <a:gd name="connsiteY25" fmla="*/ 1061604 h 1072497"/>
                    <a:gd name="connsiteX26" fmla="*/ 1897306 w 2986676"/>
                    <a:gd name="connsiteY26" fmla="*/ 1072497 h 1072497"/>
                    <a:gd name="connsiteX27" fmla="*/ 1966917 w 2986676"/>
                    <a:gd name="connsiteY27" fmla="*/ 1070513 h 1072497"/>
                    <a:gd name="connsiteX28" fmla="*/ 2279674 w 2986676"/>
                    <a:gd name="connsiteY28" fmla="*/ 1061604 h 1072497"/>
                    <a:gd name="connsiteX29" fmla="*/ 2962203 w 2986676"/>
                    <a:gd name="connsiteY29" fmla="*/ 975064 h 1072497"/>
                    <a:gd name="connsiteX0" fmla="*/ 2207695 w 2986676"/>
                    <a:gd name="connsiteY0" fmla="*/ 306707 h 1109236"/>
                    <a:gd name="connsiteX1" fmla="*/ 2218545 w 2986676"/>
                    <a:gd name="connsiteY1" fmla="*/ 48739 h 1109236"/>
                    <a:gd name="connsiteX2" fmla="*/ 1897300 w 2986676"/>
                    <a:gd name="connsiteY2" fmla="*/ 36739 h 1109236"/>
                    <a:gd name="connsiteX3" fmla="*/ 0 w 2986676"/>
                    <a:gd name="connsiteY3" fmla="*/ 572987 h 1109236"/>
                    <a:gd name="connsiteX4" fmla="*/ 1158787 w 2986676"/>
                    <a:gd name="connsiteY4" fmla="*/ 1067096 h 1109236"/>
                    <a:gd name="connsiteX5" fmla="*/ 1488814 w 2986676"/>
                    <a:gd name="connsiteY5" fmla="*/ 1096052 h 1109236"/>
                    <a:gd name="connsiteX6" fmla="*/ 1557129 w 2986676"/>
                    <a:gd name="connsiteY6" fmla="*/ 835059 h 1109236"/>
                    <a:gd name="connsiteX7" fmla="*/ 1263154 w 2986676"/>
                    <a:gd name="connsiteY7" fmla="*/ 820042 h 1109236"/>
                    <a:gd name="connsiteX8" fmla="*/ 268127 w 2986676"/>
                    <a:gd name="connsiteY8" fmla="*/ 572987 h 1109236"/>
                    <a:gd name="connsiteX9" fmla="*/ 1568965 w 2986676"/>
                    <a:gd name="connsiteY9" fmla="*/ 310311 h 1109236"/>
                    <a:gd name="connsiteX10" fmla="*/ 1695033 w 2986676"/>
                    <a:gd name="connsiteY10" fmla="*/ 308219 h 1109236"/>
                    <a:gd name="connsiteX11" fmla="*/ 1695033 w 2986676"/>
                    <a:gd name="connsiteY11" fmla="*/ 308217 h 1109236"/>
                    <a:gd name="connsiteX12" fmla="*/ 1897302 w 2986676"/>
                    <a:gd name="connsiteY12" fmla="*/ 304861 h 1109236"/>
                    <a:gd name="connsiteX13" fmla="*/ 2175740 w 2986676"/>
                    <a:gd name="connsiteY13" fmla="*/ 309480 h 1109236"/>
                    <a:gd name="connsiteX14" fmla="*/ 2181302 w 2986676"/>
                    <a:gd name="connsiteY14" fmla="*/ 288232 h 1109236"/>
                    <a:gd name="connsiteX15" fmla="*/ 2175740 w 2986676"/>
                    <a:gd name="connsiteY15" fmla="*/ 309482 h 1109236"/>
                    <a:gd name="connsiteX16" fmla="*/ 2207695 w 2986676"/>
                    <a:gd name="connsiteY16" fmla="*/ 306707 h 1109236"/>
                    <a:gd name="connsiteX17" fmla="*/ 2962203 w 2986676"/>
                    <a:gd name="connsiteY17" fmla="*/ 1011803 h 1109236"/>
                    <a:gd name="connsiteX18" fmla="*/ 2986676 w 2986676"/>
                    <a:gd name="connsiteY18" fmla="*/ 770536 h 1109236"/>
                    <a:gd name="connsiteX19" fmla="*/ 2225640 w 2986676"/>
                    <a:gd name="connsiteY19" fmla="*/ 835667 h 1109236"/>
                    <a:gd name="connsiteX20" fmla="*/ 2037188 w 2986676"/>
                    <a:gd name="connsiteY20" fmla="*/ 838791 h 1109236"/>
                    <a:gd name="connsiteX21" fmla="*/ 1897304 w 2986676"/>
                    <a:gd name="connsiteY21" fmla="*/ 841112 h 1109236"/>
                    <a:gd name="connsiteX22" fmla="*/ 1568969 w 2986676"/>
                    <a:gd name="connsiteY22" fmla="*/ 835664 h 1109236"/>
                    <a:gd name="connsiteX23" fmla="*/ 1557131 w 2986676"/>
                    <a:gd name="connsiteY23" fmla="*/ 835059 h 1109236"/>
                    <a:gd name="connsiteX24" fmla="*/ 1488816 w 2986676"/>
                    <a:gd name="connsiteY24" fmla="*/ 1096052 h 1109236"/>
                    <a:gd name="connsiteX25" fmla="*/ 1514932 w 2986676"/>
                    <a:gd name="connsiteY25" fmla="*/ 1098343 h 1109236"/>
                    <a:gd name="connsiteX26" fmla="*/ 1897306 w 2986676"/>
                    <a:gd name="connsiteY26" fmla="*/ 1109236 h 1109236"/>
                    <a:gd name="connsiteX27" fmla="*/ 1966917 w 2986676"/>
                    <a:gd name="connsiteY27" fmla="*/ 1107252 h 1109236"/>
                    <a:gd name="connsiteX28" fmla="*/ 2279674 w 2986676"/>
                    <a:gd name="connsiteY28" fmla="*/ 1098343 h 1109236"/>
                    <a:gd name="connsiteX29" fmla="*/ 2962203 w 2986676"/>
                    <a:gd name="connsiteY29" fmla="*/ 1011803 h 1109236"/>
                    <a:gd name="connsiteX0" fmla="*/ 2207695 w 2986676"/>
                    <a:gd name="connsiteY0" fmla="*/ 271773 h 1074302"/>
                    <a:gd name="connsiteX1" fmla="*/ 2218545 w 2986676"/>
                    <a:gd name="connsiteY1" fmla="*/ 13805 h 1074302"/>
                    <a:gd name="connsiteX2" fmla="*/ 1897300 w 2986676"/>
                    <a:gd name="connsiteY2" fmla="*/ 1805 h 1074302"/>
                    <a:gd name="connsiteX3" fmla="*/ 0 w 2986676"/>
                    <a:gd name="connsiteY3" fmla="*/ 538053 h 1074302"/>
                    <a:gd name="connsiteX4" fmla="*/ 1158787 w 2986676"/>
                    <a:gd name="connsiteY4" fmla="*/ 1032162 h 1074302"/>
                    <a:gd name="connsiteX5" fmla="*/ 1488814 w 2986676"/>
                    <a:gd name="connsiteY5" fmla="*/ 1061118 h 1074302"/>
                    <a:gd name="connsiteX6" fmla="*/ 1557129 w 2986676"/>
                    <a:gd name="connsiteY6" fmla="*/ 800125 h 1074302"/>
                    <a:gd name="connsiteX7" fmla="*/ 1263154 w 2986676"/>
                    <a:gd name="connsiteY7" fmla="*/ 785108 h 1074302"/>
                    <a:gd name="connsiteX8" fmla="*/ 268127 w 2986676"/>
                    <a:gd name="connsiteY8" fmla="*/ 538053 h 1074302"/>
                    <a:gd name="connsiteX9" fmla="*/ 1568965 w 2986676"/>
                    <a:gd name="connsiteY9" fmla="*/ 275377 h 1074302"/>
                    <a:gd name="connsiteX10" fmla="*/ 1695033 w 2986676"/>
                    <a:gd name="connsiteY10" fmla="*/ 273285 h 1074302"/>
                    <a:gd name="connsiteX11" fmla="*/ 1695033 w 2986676"/>
                    <a:gd name="connsiteY11" fmla="*/ 273283 h 1074302"/>
                    <a:gd name="connsiteX12" fmla="*/ 1897302 w 2986676"/>
                    <a:gd name="connsiteY12" fmla="*/ 269927 h 1074302"/>
                    <a:gd name="connsiteX13" fmla="*/ 2175740 w 2986676"/>
                    <a:gd name="connsiteY13" fmla="*/ 274546 h 1074302"/>
                    <a:gd name="connsiteX14" fmla="*/ 2181302 w 2986676"/>
                    <a:gd name="connsiteY14" fmla="*/ 253298 h 1074302"/>
                    <a:gd name="connsiteX15" fmla="*/ 2175740 w 2986676"/>
                    <a:gd name="connsiteY15" fmla="*/ 274548 h 1074302"/>
                    <a:gd name="connsiteX16" fmla="*/ 2207695 w 2986676"/>
                    <a:gd name="connsiteY16" fmla="*/ 271773 h 1074302"/>
                    <a:gd name="connsiteX17" fmla="*/ 2962203 w 2986676"/>
                    <a:gd name="connsiteY17" fmla="*/ 976869 h 1074302"/>
                    <a:gd name="connsiteX18" fmla="*/ 2986676 w 2986676"/>
                    <a:gd name="connsiteY18" fmla="*/ 735602 h 1074302"/>
                    <a:gd name="connsiteX19" fmla="*/ 2225640 w 2986676"/>
                    <a:gd name="connsiteY19" fmla="*/ 800733 h 1074302"/>
                    <a:gd name="connsiteX20" fmla="*/ 2037188 w 2986676"/>
                    <a:gd name="connsiteY20" fmla="*/ 803857 h 1074302"/>
                    <a:gd name="connsiteX21" fmla="*/ 1897304 w 2986676"/>
                    <a:gd name="connsiteY21" fmla="*/ 806178 h 1074302"/>
                    <a:gd name="connsiteX22" fmla="*/ 1568969 w 2986676"/>
                    <a:gd name="connsiteY22" fmla="*/ 800730 h 1074302"/>
                    <a:gd name="connsiteX23" fmla="*/ 1557131 w 2986676"/>
                    <a:gd name="connsiteY23" fmla="*/ 800125 h 1074302"/>
                    <a:gd name="connsiteX24" fmla="*/ 1488816 w 2986676"/>
                    <a:gd name="connsiteY24" fmla="*/ 1061118 h 1074302"/>
                    <a:gd name="connsiteX25" fmla="*/ 1514932 w 2986676"/>
                    <a:gd name="connsiteY25" fmla="*/ 1063409 h 1074302"/>
                    <a:gd name="connsiteX26" fmla="*/ 1897306 w 2986676"/>
                    <a:gd name="connsiteY26" fmla="*/ 1074302 h 1074302"/>
                    <a:gd name="connsiteX27" fmla="*/ 1966917 w 2986676"/>
                    <a:gd name="connsiteY27" fmla="*/ 1072318 h 1074302"/>
                    <a:gd name="connsiteX28" fmla="*/ 2279674 w 2986676"/>
                    <a:gd name="connsiteY28" fmla="*/ 1063409 h 1074302"/>
                    <a:gd name="connsiteX29" fmla="*/ 2962203 w 2986676"/>
                    <a:gd name="connsiteY29" fmla="*/ 976869 h 1074302"/>
                    <a:gd name="connsiteX0" fmla="*/ 2207695 w 2986676"/>
                    <a:gd name="connsiteY0" fmla="*/ 270029 h 1072558"/>
                    <a:gd name="connsiteX1" fmla="*/ 2218545 w 2986676"/>
                    <a:gd name="connsiteY1" fmla="*/ 12061 h 1072558"/>
                    <a:gd name="connsiteX2" fmla="*/ 1897300 w 2986676"/>
                    <a:gd name="connsiteY2" fmla="*/ 61 h 1072558"/>
                    <a:gd name="connsiteX3" fmla="*/ 0 w 2986676"/>
                    <a:gd name="connsiteY3" fmla="*/ 536309 h 1072558"/>
                    <a:gd name="connsiteX4" fmla="*/ 1158787 w 2986676"/>
                    <a:gd name="connsiteY4" fmla="*/ 1030418 h 1072558"/>
                    <a:gd name="connsiteX5" fmla="*/ 1488814 w 2986676"/>
                    <a:gd name="connsiteY5" fmla="*/ 1059374 h 1072558"/>
                    <a:gd name="connsiteX6" fmla="*/ 1557129 w 2986676"/>
                    <a:gd name="connsiteY6" fmla="*/ 798381 h 1072558"/>
                    <a:gd name="connsiteX7" fmla="*/ 1263154 w 2986676"/>
                    <a:gd name="connsiteY7" fmla="*/ 783364 h 1072558"/>
                    <a:gd name="connsiteX8" fmla="*/ 268127 w 2986676"/>
                    <a:gd name="connsiteY8" fmla="*/ 536309 h 1072558"/>
                    <a:gd name="connsiteX9" fmla="*/ 1568965 w 2986676"/>
                    <a:gd name="connsiteY9" fmla="*/ 273633 h 1072558"/>
                    <a:gd name="connsiteX10" fmla="*/ 1695033 w 2986676"/>
                    <a:gd name="connsiteY10" fmla="*/ 271541 h 1072558"/>
                    <a:gd name="connsiteX11" fmla="*/ 1695033 w 2986676"/>
                    <a:gd name="connsiteY11" fmla="*/ 271539 h 1072558"/>
                    <a:gd name="connsiteX12" fmla="*/ 1897302 w 2986676"/>
                    <a:gd name="connsiteY12" fmla="*/ 268183 h 1072558"/>
                    <a:gd name="connsiteX13" fmla="*/ 2175740 w 2986676"/>
                    <a:gd name="connsiteY13" fmla="*/ 272802 h 1072558"/>
                    <a:gd name="connsiteX14" fmla="*/ 2181302 w 2986676"/>
                    <a:gd name="connsiteY14" fmla="*/ 251554 h 1072558"/>
                    <a:gd name="connsiteX15" fmla="*/ 2175740 w 2986676"/>
                    <a:gd name="connsiteY15" fmla="*/ 272804 h 1072558"/>
                    <a:gd name="connsiteX16" fmla="*/ 2207695 w 2986676"/>
                    <a:gd name="connsiteY16" fmla="*/ 270029 h 1072558"/>
                    <a:gd name="connsiteX17" fmla="*/ 2962203 w 2986676"/>
                    <a:gd name="connsiteY17" fmla="*/ 975125 h 1072558"/>
                    <a:gd name="connsiteX18" fmla="*/ 2986676 w 2986676"/>
                    <a:gd name="connsiteY18" fmla="*/ 733858 h 1072558"/>
                    <a:gd name="connsiteX19" fmla="*/ 2225640 w 2986676"/>
                    <a:gd name="connsiteY19" fmla="*/ 798989 h 1072558"/>
                    <a:gd name="connsiteX20" fmla="*/ 2037188 w 2986676"/>
                    <a:gd name="connsiteY20" fmla="*/ 802113 h 1072558"/>
                    <a:gd name="connsiteX21" fmla="*/ 1897304 w 2986676"/>
                    <a:gd name="connsiteY21" fmla="*/ 804434 h 1072558"/>
                    <a:gd name="connsiteX22" fmla="*/ 1568969 w 2986676"/>
                    <a:gd name="connsiteY22" fmla="*/ 798986 h 1072558"/>
                    <a:gd name="connsiteX23" fmla="*/ 1557131 w 2986676"/>
                    <a:gd name="connsiteY23" fmla="*/ 798381 h 1072558"/>
                    <a:gd name="connsiteX24" fmla="*/ 1488816 w 2986676"/>
                    <a:gd name="connsiteY24" fmla="*/ 1059374 h 1072558"/>
                    <a:gd name="connsiteX25" fmla="*/ 1514932 w 2986676"/>
                    <a:gd name="connsiteY25" fmla="*/ 1061665 h 1072558"/>
                    <a:gd name="connsiteX26" fmla="*/ 1897306 w 2986676"/>
                    <a:gd name="connsiteY26" fmla="*/ 1072558 h 1072558"/>
                    <a:gd name="connsiteX27" fmla="*/ 1966917 w 2986676"/>
                    <a:gd name="connsiteY27" fmla="*/ 1070574 h 1072558"/>
                    <a:gd name="connsiteX28" fmla="*/ 2279674 w 2986676"/>
                    <a:gd name="connsiteY28" fmla="*/ 1061665 h 1072558"/>
                    <a:gd name="connsiteX29" fmla="*/ 2962203 w 2986676"/>
                    <a:gd name="connsiteY29" fmla="*/ 975125 h 1072558"/>
                    <a:gd name="connsiteX0" fmla="*/ 2207978 w 2986959"/>
                    <a:gd name="connsiteY0" fmla="*/ 270058 h 1072587"/>
                    <a:gd name="connsiteX1" fmla="*/ 2218828 w 2986959"/>
                    <a:gd name="connsiteY1" fmla="*/ 12090 h 1072587"/>
                    <a:gd name="connsiteX2" fmla="*/ 1897583 w 2986959"/>
                    <a:gd name="connsiteY2" fmla="*/ 90 h 1072587"/>
                    <a:gd name="connsiteX3" fmla="*/ 283 w 2986959"/>
                    <a:gd name="connsiteY3" fmla="*/ 536338 h 1072587"/>
                    <a:gd name="connsiteX4" fmla="*/ 1159070 w 2986959"/>
                    <a:gd name="connsiteY4" fmla="*/ 1030447 h 1072587"/>
                    <a:gd name="connsiteX5" fmla="*/ 1489097 w 2986959"/>
                    <a:gd name="connsiteY5" fmla="*/ 1059403 h 1072587"/>
                    <a:gd name="connsiteX6" fmla="*/ 1557412 w 2986959"/>
                    <a:gd name="connsiteY6" fmla="*/ 798410 h 1072587"/>
                    <a:gd name="connsiteX7" fmla="*/ 1263437 w 2986959"/>
                    <a:gd name="connsiteY7" fmla="*/ 783393 h 1072587"/>
                    <a:gd name="connsiteX8" fmla="*/ 268410 w 2986959"/>
                    <a:gd name="connsiteY8" fmla="*/ 536338 h 1072587"/>
                    <a:gd name="connsiteX9" fmla="*/ 1569248 w 2986959"/>
                    <a:gd name="connsiteY9" fmla="*/ 273662 h 1072587"/>
                    <a:gd name="connsiteX10" fmla="*/ 1695316 w 2986959"/>
                    <a:gd name="connsiteY10" fmla="*/ 271570 h 1072587"/>
                    <a:gd name="connsiteX11" fmla="*/ 1695316 w 2986959"/>
                    <a:gd name="connsiteY11" fmla="*/ 271568 h 1072587"/>
                    <a:gd name="connsiteX12" fmla="*/ 1897585 w 2986959"/>
                    <a:gd name="connsiteY12" fmla="*/ 268212 h 1072587"/>
                    <a:gd name="connsiteX13" fmla="*/ 2176023 w 2986959"/>
                    <a:gd name="connsiteY13" fmla="*/ 272831 h 1072587"/>
                    <a:gd name="connsiteX14" fmla="*/ 2181585 w 2986959"/>
                    <a:gd name="connsiteY14" fmla="*/ 251583 h 1072587"/>
                    <a:gd name="connsiteX15" fmla="*/ 2176023 w 2986959"/>
                    <a:gd name="connsiteY15" fmla="*/ 272833 h 1072587"/>
                    <a:gd name="connsiteX16" fmla="*/ 2207978 w 2986959"/>
                    <a:gd name="connsiteY16" fmla="*/ 270058 h 1072587"/>
                    <a:gd name="connsiteX17" fmla="*/ 2962486 w 2986959"/>
                    <a:gd name="connsiteY17" fmla="*/ 975154 h 1072587"/>
                    <a:gd name="connsiteX18" fmla="*/ 2986959 w 2986959"/>
                    <a:gd name="connsiteY18" fmla="*/ 733887 h 1072587"/>
                    <a:gd name="connsiteX19" fmla="*/ 2225923 w 2986959"/>
                    <a:gd name="connsiteY19" fmla="*/ 799018 h 1072587"/>
                    <a:gd name="connsiteX20" fmla="*/ 2037471 w 2986959"/>
                    <a:gd name="connsiteY20" fmla="*/ 802142 h 1072587"/>
                    <a:gd name="connsiteX21" fmla="*/ 1897587 w 2986959"/>
                    <a:gd name="connsiteY21" fmla="*/ 804463 h 1072587"/>
                    <a:gd name="connsiteX22" fmla="*/ 1569252 w 2986959"/>
                    <a:gd name="connsiteY22" fmla="*/ 799015 h 1072587"/>
                    <a:gd name="connsiteX23" fmla="*/ 1557414 w 2986959"/>
                    <a:gd name="connsiteY23" fmla="*/ 798410 h 1072587"/>
                    <a:gd name="connsiteX24" fmla="*/ 1489099 w 2986959"/>
                    <a:gd name="connsiteY24" fmla="*/ 1059403 h 1072587"/>
                    <a:gd name="connsiteX25" fmla="*/ 1515215 w 2986959"/>
                    <a:gd name="connsiteY25" fmla="*/ 1061694 h 1072587"/>
                    <a:gd name="connsiteX26" fmla="*/ 1897589 w 2986959"/>
                    <a:gd name="connsiteY26" fmla="*/ 1072587 h 1072587"/>
                    <a:gd name="connsiteX27" fmla="*/ 1967200 w 2986959"/>
                    <a:gd name="connsiteY27" fmla="*/ 1070603 h 1072587"/>
                    <a:gd name="connsiteX28" fmla="*/ 2279957 w 2986959"/>
                    <a:gd name="connsiteY28" fmla="*/ 1061694 h 1072587"/>
                    <a:gd name="connsiteX29" fmla="*/ 2962486 w 2986959"/>
                    <a:gd name="connsiteY29" fmla="*/ 975154 h 1072587"/>
                    <a:gd name="connsiteX0" fmla="*/ 2207919 w 2986900"/>
                    <a:gd name="connsiteY0" fmla="*/ 270072 h 1072601"/>
                    <a:gd name="connsiteX1" fmla="*/ 2218769 w 2986900"/>
                    <a:gd name="connsiteY1" fmla="*/ 12104 h 1072601"/>
                    <a:gd name="connsiteX2" fmla="*/ 1897524 w 2986900"/>
                    <a:gd name="connsiteY2" fmla="*/ 104 h 1072601"/>
                    <a:gd name="connsiteX3" fmla="*/ 224 w 2986900"/>
                    <a:gd name="connsiteY3" fmla="*/ 536352 h 1072601"/>
                    <a:gd name="connsiteX4" fmla="*/ 1159011 w 2986900"/>
                    <a:gd name="connsiteY4" fmla="*/ 1030461 h 1072601"/>
                    <a:gd name="connsiteX5" fmla="*/ 1489038 w 2986900"/>
                    <a:gd name="connsiteY5" fmla="*/ 1059417 h 1072601"/>
                    <a:gd name="connsiteX6" fmla="*/ 1557353 w 2986900"/>
                    <a:gd name="connsiteY6" fmla="*/ 798424 h 1072601"/>
                    <a:gd name="connsiteX7" fmla="*/ 1263378 w 2986900"/>
                    <a:gd name="connsiteY7" fmla="*/ 783407 h 1072601"/>
                    <a:gd name="connsiteX8" fmla="*/ 268351 w 2986900"/>
                    <a:gd name="connsiteY8" fmla="*/ 536352 h 1072601"/>
                    <a:gd name="connsiteX9" fmla="*/ 1569189 w 2986900"/>
                    <a:gd name="connsiteY9" fmla="*/ 273676 h 1072601"/>
                    <a:gd name="connsiteX10" fmla="*/ 1695257 w 2986900"/>
                    <a:gd name="connsiteY10" fmla="*/ 271584 h 1072601"/>
                    <a:gd name="connsiteX11" fmla="*/ 1695257 w 2986900"/>
                    <a:gd name="connsiteY11" fmla="*/ 271582 h 1072601"/>
                    <a:gd name="connsiteX12" fmla="*/ 1897526 w 2986900"/>
                    <a:gd name="connsiteY12" fmla="*/ 268226 h 1072601"/>
                    <a:gd name="connsiteX13" fmla="*/ 2175964 w 2986900"/>
                    <a:gd name="connsiteY13" fmla="*/ 272845 h 1072601"/>
                    <a:gd name="connsiteX14" fmla="*/ 2181526 w 2986900"/>
                    <a:gd name="connsiteY14" fmla="*/ 251597 h 1072601"/>
                    <a:gd name="connsiteX15" fmla="*/ 2175964 w 2986900"/>
                    <a:gd name="connsiteY15" fmla="*/ 272847 h 1072601"/>
                    <a:gd name="connsiteX16" fmla="*/ 2207919 w 2986900"/>
                    <a:gd name="connsiteY16" fmla="*/ 270072 h 1072601"/>
                    <a:gd name="connsiteX17" fmla="*/ 2962427 w 2986900"/>
                    <a:gd name="connsiteY17" fmla="*/ 975168 h 1072601"/>
                    <a:gd name="connsiteX18" fmla="*/ 2986900 w 2986900"/>
                    <a:gd name="connsiteY18" fmla="*/ 733901 h 1072601"/>
                    <a:gd name="connsiteX19" fmla="*/ 2225864 w 2986900"/>
                    <a:gd name="connsiteY19" fmla="*/ 799032 h 1072601"/>
                    <a:gd name="connsiteX20" fmla="*/ 2037412 w 2986900"/>
                    <a:gd name="connsiteY20" fmla="*/ 802156 h 1072601"/>
                    <a:gd name="connsiteX21" fmla="*/ 1897528 w 2986900"/>
                    <a:gd name="connsiteY21" fmla="*/ 804477 h 1072601"/>
                    <a:gd name="connsiteX22" fmla="*/ 1569193 w 2986900"/>
                    <a:gd name="connsiteY22" fmla="*/ 799029 h 1072601"/>
                    <a:gd name="connsiteX23" fmla="*/ 1557355 w 2986900"/>
                    <a:gd name="connsiteY23" fmla="*/ 798424 h 1072601"/>
                    <a:gd name="connsiteX24" fmla="*/ 1489040 w 2986900"/>
                    <a:gd name="connsiteY24" fmla="*/ 1059417 h 1072601"/>
                    <a:gd name="connsiteX25" fmla="*/ 1515156 w 2986900"/>
                    <a:gd name="connsiteY25" fmla="*/ 1061708 h 1072601"/>
                    <a:gd name="connsiteX26" fmla="*/ 1897530 w 2986900"/>
                    <a:gd name="connsiteY26" fmla="*/ 1072601 h 1072601"/>
                    <a:gd name="connsiteX27" fmla="*/ 1967141 w 2986900"/>
                    <a:gd name="connsiteY27" fmla="*/ 1070617 h 1072601"/>
                    <a:gd name="connsiteX28" fmla="*/ 2279898 w 2986900"/>
                    <a:gd name="connsiteY28" fmla="*/ 1061708 h 1072601"/>
                    <a:gd name="connsiteX29" fmla="*/ 2962427 w 2986900"/>
                    <a:gd name="connsiteY29" fmla="*/ 975168 h 1072601"/>
                    <a:gd name="connsiteX0" fmla="*/ 2207705 w 2986686"/>
                    <a:gd name="connsiteY0" fmla="*/ 270081 h 1072610"/>
                    <a:gd name="connsiteX1" fmla="*/ 2218555 w 2986686"/>
                    <a:gd name="connsiteY1" fmla="*/ 12113 h 1072610"/>
                    <a:gd name="connsiteX2" fmla="*/ 1897310 w 2986686"/>
                    <a:gd name="connsiteY2" fmla="*/ 113 h 1072610"/>
                    <a:gd name="connsiteX3" fmla="*/ 10 w 2986686"/>
                    <a:gd name="connsiteY3" fmla="*/ 536361 h 1072610"/>
                    <a:gd name="connsiteX4" fmla="*/ 1158797 w 2986686"/>
                    <a:gd name="connsiteY4" fmla="*/ 1030470 h 1072610"/>
                    <a:gd name="connsiteX5" fmla="*/ 1488824 w 2986686"/>
                    <a:gd name="connsiteY5" fmla="*/ 1059426 h 1072610"/>
                    <a:gd name="connsiteX6" fmla="*/ 1557139 w 2986686"/>
                    <a:gd name="connsiteY6" fmla="*/ 798433 h 1072610"/>
                    <a:gd name="connsiteX7" fmla="*/ 1263164 w 2986686"/>
                    <a:gd name="connsiteY7" fmla="*/ 783416 h 1072610"/>
                    <a:gd name="connsiteX8" fmla="*/ 268137 w 2986686"/>
                    <a:gd name="connsiteY8" fmla="*/ 536361 h 1072610"/>
                    <a:gd name="connsiteX9" fmla="*/ 1568975 w 2986686"/>
                    <a:gd name="connsiteY9" fmla="*/ 273685 h 1072610"/>
                    <a:gd name="connsiteX10" fmla="*/ 1695043 w 2986686"/>
                    <a:gd name="connsiteY10" fmla="*/ 271593 h 1072610"/>
                    <a:gd name="connsiteX11" fmla="*/ 1695043 w 2986686"/>
                    <a:gd name="connsiteY11" fmla="*/ 271591 h 1072610"/>
                    <a:gd name="connsiteX12" fmla="*/ 1897312 w 2986686"/>
                    <a:gd name="connsiteY12" fmla="*/ 268235 h 1072610"/>
                    <a:gd name="connsiteX13" fmla="*/ 2175750 w 2986686"/>
                    <a:gd name="connsiteY13" fmla="*/ 272854 h 1072610"/>
                    <a:gd name="connsiteX14" fmla="*/ 2181312 w 2986686"/>
                    <a:gd name="connsiteY14" fmla="*/ 251606 h 1072610"/>
                    <a:gd name="connsiteX15" fmla="*/ 2175750 w 2986686"/>
                    <a:gd name="connsiteY15" fmla="*/ 272856 h 1072610"/>
                    <a:gd name="connsiteX16" fmla="*/ 2207705 w 2986686"/>
                    <a:gd name="connsiteY16" fmla="*/ 270081 h 1072610"/>
                    <a:gd name="connsiteX17" fmla="*/ 2962213 w 2986686"/>
                    <a:gd name="connsiteY17" fmla="*/ 975177 h 1072610"/>
                    <a:gd name="connsiteX18" fmla="*/ 2986686 w 2986686"/>
                    <a:gd name="connsiteY18" fmla="*/ 733910 h 1072610"/>
                    <a:gd name="connsiteX19" fmla="*/ 2225650 w 2986686"/>
                    <a:gd name="connsiteY19" fmla="*/ 799041 h 1072610"/>
                    <a:gd name="connsiteX20" fmla="*/ 2037198 w 2986686"/>
                    <a:gd name="connsiteY20" fmla="*/ 802165 h 1072610"/>
                    <a:gd name="connsiteX21" fmla="*/ 1897314 w 2986686"/>
                    <a:gd name="connsiteY21" fmla="*/ 804486 h 1072610"/>
                    <a:gd name="connsiteX22" fmla="*/ 1568979 w 2986686"/>
                    <a:gd name="connsiteY22" fmla="*/ 799038 h 1072610"/>
                    <a:gd name="connsiteX23" fmla="*/ 1557141 w 2986686"/>
                    <a:gd name="connsiteY23" fmla="*/ 798433 h 1072610"/>
                    <a:gd name="connsiteX24" fmla="*/ 1488826 w 2986686"/>
                    <a:gd name="connsiteY24" fmla="*/ 1059426 h 1072610"/>
                    <a:gd name="connsiteX25" fmla="*/ 1514942 w 2986686"/>
                    <a:gd name="connsiteY25" fmla="*/ 1061717 h 1072610"/>
                    <a:gd name="connsiteX26" fmla="*/ 1897316 w 2986686"/>
                    <a:gd name="connsiteY26" fmla="*/ 1072610 h 1072610"/>
                    <a:gd name="connsiteX27" fmla="*/ 1966927 w 2986686"/>
                    <a:gd name="connsiteY27" fmla="*/ 1070626 h 1072610"/>
                    <a:gd name="connsiteX28" fmla="*/ 2279684 w 2986686"/>
                    <a:gd name="connsiteY28" fmla="*/ 1061717 h 1072610"/>
                    <a:gd name="connsiteX29" fmla="*/ 2962213 w 2986686"/>
                    <a:gd name="connsiteY29" fmla="*/ 975177 h 1072610"/>
                    <a:gd name="connsiteX0" fmla="*/ 2223691 w 3002672"/>
                    <a:gd name="connsiteY0" fmla="*/ 259658 h 1062187"/>
                    <a:gd name="connsiteX1" fmla="*/ 2234541 w 3002672"/>
                    <a:gd name="connsiteY1" fmla="*/ 1690 h 1062187"/>
                    <a:gd name="connsiteX2" fmla="*/ 1910087 w 3002672"/>
                    <a:gd name="connsiteY2" fmla="*/ 474 h 1062187"/>
                    <a:gd name="connsiteX3" fmla="*/ 15996 w 3002672"/>
                    <a:gd name="connsiteY3" fmla="*/ 525938 h 1062187"/>
                    <a:gd name="connsiteX4" fmla="*/ 1174783 w 3002672"/>
                    <a:gd name="connsiteY4" fmla="*/ 1020047 h 1062187"/>
                    <a:gd name="connsiteX5" fmla="*/ 1504810 w 3002672"/>
                    <a:gd name="connsiteY5" fmla="*/ 1049003 h 1062187"/>
                    <a:gd name="connsiteX6" fmla="*/ 1573125 w 3002672"/>
                    <a:gd name="connsiteY6" fmla="*/ 788010 h 1062187"/>
                    <a:gd name="connsiteX7" fmla="*/ 1279150 w 3002672"/>
                    <a:gd name="connsiteY7" fmla="*/ 772993 h 1062187"/>
                    <a:gd name="connsiteX8" fmla="*/ 284123 w 3002672"/>
                    <a:gd name="connsiteY8" fmla="*/ 525938 h 1062187"/>
                    <a:gd name="connsiteX9" fmla="*/ 1584961 w 3002672"/>
                    <a:gd name="connsiteY9" fmla="*/ 263262 h 1062187"/>
                    <a:gd name="connsiteX10" fmla="*/ 1711029 w 3002672"/>
                    <a:gd name="connsiteY10" fmla="*/ 261170 h 1062187"/>
                    <a:gd name="connsiteX11" fmla="*/ 1711029 w 3002672"/>
                    <a:gd name="connsiteY11" fmla="*/ 261168 h 1062187"/>
                    <a:gd name="connsiteX12" fmla="*/ 1913298 w 3002672"/>
                    <a:gd name="connsiteY12" fmla="*/ 257812 h 1062187"/>
                    <a:gd name="connsiteX13" fmla="*/ 2191736 w 3002672"/>
                    <a:gd name="connsiteY13" fmla="*/ 262431 h 1062187"/>
                    <a:gd name="connsiteX14" fmla="*/ 2197298 w 3002672"/>
                    <a:gd name="connsiteY14" fmla="*/ 241183 h 1062187"/>
                    <a:gd name="connsiteX15" fmla="*/ 2191736 w 3002672"/>
                    <a:gd name="connsiteY15" fmla="*/ 262433 h 1062187"/>
                    <a:gd name="connsiteX16" fmla="*/ 2223691 w 3002672"/>
                    <a:gd name="connsiteY16" fmla="*/ 259658 h 1062187"/>
                    <a:gd name="connsiteX17" fmla="*/ 2978199 w 3002672"/>
                    <a:gd name="connsiteY17" fmla="*/ 964754 h 1062187"/>
                    <a:gd name="connsiteX18" fmla="*/ 3002672 w 3002672"/>
                    <a:gd name="connsiteY18" fmla="*/ 723487 h 1062187"/>
                    <a:gd name="connsiteX19" fmla="*/ 2241636 w 3002672"/>
                    <a:gd name="connsiteY19" fmla="*/ 788618 h 1062187"/>
                    <a:gd name="connsiteX20" fmla="*/ 2053184 w 3002672"/>
                    <a:gd name="connsiteY20" fmla="*/ 791742 h 1062187"/>
                    <a:gd name="connsiteX21" fmla="*/ 1913300 w 3002672"/>
                    <a:gd name="connsiteY21" fmla="*/ 794063 h 1062187"/>
                    <a:gd name="connsiteX22" fmla="*/ 1584965 w 3002672"/>
                    <a:gd name="connsiteY22" fmla="*/ 788615 h 1062187"/>
                    <a:gd name="connsiteX23" fmla="*/ 1573127 w 3002672"/>
                    <a:gd name="connsiteY23" fmla="*/ 788010 h 1062187"/>
                    <a:gd name="connsiteX24" fmla="*/ 1504812 w 3002672"/>
                    <a:gd name="connsiteY24" fmla="*/ 1049003 h 1062187"/>
                    <a:gd name="connsiteX25" fmla="*/ 1530928 w 3002672"/>
                    <a:gd name="connsiteY25" fmla="*/ 1051294 h 1062187"/>
                    <a:gd name="connsiteX26" fmla="*/ 1913302 w 3002672"/>
                    <a:gd name="connsiteY26" fmla="*/ 1062187 h 1062187"/>
                    <a:gd name="connsiteX27" fmla="*/ 1982913 w 3002672"/>
                    <a:gd name="connsiteY27" fmla="*/ 1060203 h 1062187"/>
                    <a:gd name="connsiteX28" fmla="*/ 2295670 w 3002672"/>
                    <a:gd name="connsiteY28" fmla="*/ 1051294 h 1062187"/>
                    <a:gd name="connsiteX29" fmla="*/ 2978199 w 3002672"/>
                    <a:gd name="connsiteY29" fmla="*/ 964754 h 1062187"/>
                    <a:gd name="connsiteX0" fmla="*/ 2213182 w 2992163"/>
                    <a:gd name="connsiteY0" fmla="*/ 259658 h 1062187"/>
                    <a:gd name="connsiteX1" fmla="*/ 2224032 w 2992163"/>
                    <a:gd name="connsiteY1" fmla="*/ 1690 h 1062187"/>
                    <a:gd name="connsiteX2" fmla="*/ 1899578 w 2992163"/>
                    <a:gd name="connsiteY2" fmla="*/ 474 h 1062187"/>
                    <a:gd name="connsiteX3" fmla="*/ 5487 w 2992163"/>
                    <a:gd name="connsiteY3" fmla="*/ 525938 h 1062187"/>
                    <a:gd name="connsiteX4" fmla="*/ 1164274 w 2992163"/>
                    <a:gd name="connsiteY4" fmla="*/ 1020047 h 1062187"/>
                    <a:gd name="connsiteX5" fmla="*/ 1494301 w 2992163"/>
                    <a:gd name="connsiteY5" fmla="*/ 1049003 h 1062187"/>
                    <a:gd name="connsiteX6" fmla="*/ 1562616 w 2992163"/>
                    <a:gd name="connsiteY6" fmla="*/ 788010 h 1062187"/>
                    <a:gd name="connsiteX7" fmla="*/ 1268641 w 2992163"/>
                    <a:gd name="connsiteY7" fmla="*/ 772993 h 1062187"/>
                    <a:gd name="connsiteX8" fmla="*/ 273614 w 2992163"/>
                    <a:gd name="connsiteY8" fmla="*/ 525938 h 1062187"/>
                    <a:gd name="connsiteX9" fmla="*/ 1574452 w 2992163"/>
                    <a:gd name="connsiteY9" fmla="*/ 263262 h 1062187"/>
                    <a:gd name="connsiteX10" fmla="*/ 1700520 w 2992163"/>
                    <a:gd name="connsiteY10" fmla="*/ 261170 h 1062187"/>
                    <a:gd name="connsiteX11" fmla="*/ 1700520 w 2992163"/>
                    <a:gd name="connsiteY11" fmla="*/ 261168 h 1062187"/>
                    <a:gd name="connsiteX12" fmla="*/ 1902789 w 2992163"/>
                    <a:gd name="connsiteY12" fmla="*/ 257812 h 1062187"/>
                    <a:gd name="connsiteX13" fmla="*/ 2181227 w 2992163"/>
                    <a:gd name="connsiteY13" fmla="*/ 262431 h 1062187"/>
                    <a:gd name="connsiteX14" fmla="*/ 2186789 w 2992163"/>
                    <a:gd name="connsiteY14" fmla="*/ 241183 h 1062187"/>
                    <a:gd name="connsiteX15" fmla="*/ 2181227 w 2992163"/>
                    <a:gd name="connsiteY15" fmla="*/ 262433 h 1062187"/>
                    <a:gd name="connsiteX16" fmla="*/ 2213182 w 2992163"/>
                    <a:gd name="connsiteY16" fmla="*/ 259658 h 1062187"/>
                    <a:gd name="connsiteX17" fmla="*/ 2967690 w 2992163"/>
                    <a:gd name="connsiteY17" fmla="*/ 964754 h 1062187"/>
                    <a:gd name="connsiteX18" fmla="*/ 2992163 w 2992163"/>
                    <a:gd name="connsiteY18" fmla="*/ 723487 h 1062187"/>
                    <a:gd name="connsiteX19" fmla="*/ 2231127 w 2992163"/>
                    <a:gd name="connsiteY19" fmla="*/ 788618 h 1062187"/>
                    <a:gd name="connsiteX20" fmla="*/ 2042675 w 2992163"/>
                    <a:gd name="connsiteY20" fmla="*/ 791742 h 1062187"/>
                    <a:gd name="connsiteX21" fmla="*/ 1902791 w 2992163"/>
                    <a:gd name="connsiteY21" fmla="*/ 794063 h 1062187"/>
                    <a:gd name="connsiteX22" fmla="*/ 1574456 w 2992163"/>
                    <a:gd name="connsiteY22" fmla="*/ 788615 h 1062187"/>
                    <a:gd name="connsiteX23" fmla="*/ 1562618 w 2992163"/>
                    <a:gd name="connsiteY23" fmla="*/ 788010 h 1062187"/>
                    <a:gd name="connsiteX24" fmla="*/ 1494303 w 2992163"/>
                    <a:gd name="connsiteY24" fmla="*/ 1049003 h 1062187"/>
                    <a:gd name="connsiteX25" fmla="*/ 1520419 w 2992163"/>
                    <a:gd name="connsiteY25" fmla="*/ 1051294 h 1062187"/>
                    <a:gd name="connsiteX26" fmla="*/ 1902793 w 2992163"/>
                    <a:gd name="connsiteY26" fmla="*/ 1062187 h 1062187"/>
                    <a:gd name="connsiteX27" fmla="*/ 1972404 w 2992163"/>
                    <a:gd name="connsiteY27" fmla="*/ 1060203 h 1062187"/>
                    <a:gd name="connsiteX28" fmla="*/ 2285161 w 2992163"/>
                    <a:gd name="connsiteY28" fmla="*/ 1051294 h 1062187"/>
                    <a:gd name="connsiteX29" fmla="*/ 2967690 w 2992163"/>
                    <a:gd name="connsiteY29" fmla="*/ 964754 h 1062187"/>
                    <a:gd name="connsiteX0" fmla="*/ 2211459 w 2990440"/>
                    <a:gd name="connsiteY0" fmla="*/ 259658 h 1062187"/>
                    <a:gd name="connsiteX1" fmla="*/ 2222309 w 2990440"/>
                    <a:gd name="connsiteY1" fmla="*/ 1690 h 1062187"/>
                    <a:gd name="connsiteX2" fmla="*/ 1897855 w 2990440"/>
                    <a:gd name="connsiteY2" fmla="*/ 474 h 1062187"/>
                    <a:gd name="connsiteX3" fmla="*/ 3764 w 2990440"/>
                    <a:gd name="connsiteY3" fmla="*/ 525938 h 1062187"/>
                    <a:gd name="connsiteX4" fmla="*/ 1162551 w 2990440"/>
                    <a:gd name="connsiteY4" fmla="*/ 1020047 h 1062187"/>
                    <a:gd name="connsiteX5" fmla="*/ 1492578 w 2990440"/>
                    <a:gd name="connsiteY5" fmla="*/ 1049003 h 1062187"/>
                    <a:gd name="connsiteX6" fmla="*/ 1560893 w 2990440"/>
                    <a:gd name="connsiteY6" fmla="*/ 788010 h 1062187"/>
                    <a:gd name="connsiteX7" fmla="*/ 1266918 w 2990440"/>
                    <a:gd name="connsiteY7" fmla="*/ 772993 h 1062187"/>
                    <a:gd name="connsiteX8" fmla="*/ 271891 w 2990440"/>
                    <a:gd name="connsiteY8" fmla="*/ 525938 h 1062187"/>
                    <a:gd name="connsiteX9" fmla="*/ 1572729 w 2990440"/>
                    <a:gd name="connsiteY9" fmla="*/ 263262 h 1062187"/>
                    <a:gd name="connsiteX10" fmla="*/ 1698797 w 2990440"/>
                    <a:gd name="connsiteY10" fmla="*/ 261170 h 1062187"/>
                    <a:gd name="connsiteX11" fmla="*/ 1698797 w 2990440"/>
                    <a:gd name="connsiteY11" fmla="*/ 261168 h 1062187"/>
                    <a:gd name="connsiteX12" fmla="*/ 1901066 w 2990440"/>
                    <a:gd name="connsiteY12" fmla="*/ 257812 h 1062187"/>
                    <a:gd name="connsiteX13" fmla="*/ 2179504 w 2990440"/>
                    <a:gd name="connsiteY13" fmla="*/ 262431 h 1062187"/>
                    <a:gd name="connsiteX14" fmla="*/ 2185066 w 2990440"/>
                    <a:gd name="connsiteY14" fmla="*/ 241183 h 1062187"/>
                    <a:gd name="connsiteX15" fmla="*/ 2179504 w 2990440"/>
                    <a:gd name="connsiteY15" fmla="*/ 262433 h 1062187"/>
                    <a:gd name="connsiteX16" fmla="*/ 2211459 w 2990440"/>
                    <a:gd name="connsiteY16" fmla="*/ 259658 h 1062187"/>
                    <a:gd name="connsiteX17" fmla="*/ 2965967 w 2990440"/>
                    <a:gd name="connsiteY17" fmla="*/ 964754 h 1062187"/>
                    <a:gd name="connsiteX18" fmla="*/ 2990440 w 2990440"/>
                    <a:gd name="connsiteY18" fmla="*/ 723487 h 1062187"/>
                    <a:gd name="connsiteX19" fmla="*/ 2229404 w 2990440"/>
                    <a:gd name="connsiteY19" fmla="*/ 788618 h 1062187"/>
                    <a:gd name="connsiteX20" fmla="*/ 2040952 w 2990440"/>
                    <a:gd name="connsiteY20" fmla="*/ 791742 h 1062187"/>
                    <a:gd name="connsiteX21" fmla="*/ 1901068 w 2990440"/>
                    <a:gd name="connsiteY21" fmla="*/ 794063 h 1062187"/>
                    <a:gd name="connsiteX22" fmla="*/ 1572733 w 2990440"/>
                    <a:gd name="connsiteY22" fmla="*/ 788615 h 1062187"/>
                    <a:gd name="connsiteX23" fmla="*/ 1560895 w 2990440"/>
                    <a:gd name="connsiteY23" fmla="*/ 788010 h 1062187"/>
                    <a:gd name="connsiteX24" fmla="*/ 1492580 w 2990440"/>
                    <a:gd name="connsiteY24" fmla="*/ 1049003 h 1062187"/>
                    <a:gd name="connsiteX25" fmla="*/ 1518696 w 2990440"/>
                    <a:gd name="connsiteY25" fmla="*/ 1051294 h 1062187"/>
                    <a:gd name="connsiteX26" fmla="*/ 1901070 w 2990440"/>
                    <a:gd name="connsiteY26" fmla="*/ 1062187 h 1062187"/>
                    <a:gd name="connsiteX27" fmla="*/ 1970681 w 2990440"/>
                    <a:gd name="connsiteY27" fmla="*/ 1060203 h 1062187"/>
                    <a:gd name="connsiteX28" fmla="*/ 2283438 w 2990440"/>
                    <a:gd name="connsiteY28" fmla="*/ 1051294 h 1062187"/>
                    <a:gd name="connsiteX29" fmla="*/ 2965967 w 2990440"/>
                    <a:gd name="connsiteY29" fmla="*/ 964754 h 1062187"/>
                    <a:gd name="connsiteX0" fmla="*/ 2209279 w 2988260"/>
                    <a:gd name="connsiteY0" fmla="*/ 259658 h 1062187"/>
                    <a:gd name="connsiteX1" fmla="*/ 2220129 w 2988260"/>
                    <a:gd name="connsiteY1" fmla="*/ 1690 h 1062187"/>
                    <a:gd name="connsiteX2" fmla="*/ 1895675 w 2988260"/>
                    <a:gd name="connsiteY2" fmla="*/ 474 h 1062187"/>
                    <a:gd name="connsiteX3" fmla="*/ 1584 w 2988260"/>
                    <a:gd name="connsiteY3" fmla="*/ 525938 h 1062187"/>
                    <a:gd name="connsiteX4" fmla="*/ 1160371 w 2988260"/>
                    <a:gd name="connsiteY4" fmla="*/ 1020047 h 1062187"/>
                    <a:gd name="connsiteX5" fmla="*/ 1490398 w 2988260"/>
                    <a:gd name="connsiteY5" fmla="*/ 1049003 h 1062187"/>
                    <a:gd name="connsiteX6" fmla="*/ 1558713 w 2988260"/>
                    <a:gd name="connsiteY6" fmla="*/ 788010 h 1062187"/>
                    <a:gd name="connsiteX7" fmla="*/ 1264738 w 2988260"/>
                    <a:gd name="connsiteY7" fmla="*/ 772993 h 1062187"/>
                    <a:gd name="connsiteX8" fmla="*/ 269711 w 2988260"/>
                    <a:gd name="connsiteY8" fmla="*/ 525938 h 1062187"/>
                    <a:gd name="connsiteX9" fmla="*/ 1570549 w 2988260"/>
                    <a:gd name="connsiteY9" fmla="*/ 263262 h 1062187"/>
                    <a:gd name="connsiteX10" fmla="*/ 1696617 w 2988260"/>
                    <a:gd name="connsiteY10" fmla="*/ 261170 h 1062187"/>
                    <a:gd name="connsiteX11" fmla="*/ 1696617 w 2988260"/>
                    <a:gd name="connsiteY11" fmla="*/ 261168 h 1062187"/>
                    <a:gd name="connsiteX12" fmla="*/ 1898886 w 2988260"/>
                    <a:gd name="connsiteY12" fmla="*/ 257812 h 1062187"/>
                    <a:gd name="connsiteX13" fmla="*/ 2177324 w 2988260"/>
                    <a:gd name="connsiteY13" fmla="*/ 262431 h 1062187"/>
                    <a:gd name="connsiteX14" fmla="*/ 2182886 w 2988260"/>
                    <a:gd name="connsiteY14" fmla="*/ 241183 h 1062187"/>
                    <a:gd name="connsiteX15" fmla="*/ 2177324 w 2988260"/>
                    <a:gd name="connsiteY15" fmla="*/ 262433 h 1062187"/>
                    <a:gd name="connsiteX16" fmla="*/ 2209279 w 2988260"/>
                    <a:gd name="connsiteY16" fmla="*/ 259658 h 1062187"/>
                    <a:gd name="connsiteX17" fmla="*/ 2963787 w 2988260"/>
                    <a:gd name="connsiteY17" fmla="*/ 964754 h 1062187"/>
                    <a:gd name="connsiteX18" fmla="*/ 2988260 w 2988260"/>
                    <a:gd name="connsiteY18" fmla="*/ 723487 h 1062187"/>
                    <a:gd name="connsiteX19" fmla="*/ 2227224 w 2988260"/>
                    <a:gd name="connsiteY19" fmla="*/ 788618 h 1062187"/>
                    <a:gd name="connsiteX20" fmla="*/ 2038772 w 2988260"/>
                    <a:gd name="connsiteY20" fmla="*/ 791742 h 1062187"/>
                    <a:gd name="connsiteX21" fmla="*/ 1898888 w 2988260"/>
                    <a:gd name="connsiteY21" fmla="*/ 794063 h 1062187"/>
                    <a:gd name="connsiteX22" fmla="*/ 1570553 w 2988260"/>
                    <a:gd name="connsiteY22" fmla="*/ 788615 h 1062187"/>
                    <a:gd name="connsiteX23" fmla="*/ 1558715 w 2988260"/>
                    <a:gd name="connsiteY23" fmla="*/ 788010 h 1062187"/>
                    <a:gd name="connsiteX24" fmla="*/ 1490400 w 2988260"/>
                    <a:gd name="connsiteY24" fmla="*/ 1049003 h 1062187"/>
                    <a:gd name="connsiteX25" fmla="*/ 1516516 w 2988260"/>
                    <a:gd name="connsiteY25" fmla="*/ 1051294 h 1062187"/>
                    <a:gd name="connsiteX26" fmla="*/ 1898890 w 2988260"/>
                    <a:gd name="connsiteY26" fmla="*/ 1062187 h 1062187"/>
                    <a:gd name="connsiteX27" fmla="*/ 1968501 w 2988260"/>
                    <a:gd name="connsiteY27" fmla="*/ 1060203 h 1062187"/>
                    <a:gd name="connsiteX28" fmla="*/ 2281258 w 2988260"/>
                    <a:gd name="connsiteY28" fmla="*/ 1051294 h 1062187"/>
                    <a:gd name="connsiteX29" fmla="*/ 2963787 w 2988260"/>
                    <a:gd name="connsiteY29" fmla="*/ 964754 h 1062187"/>
                    <a:gd name="connsiteX0" fmla="*/ 2209279 w 2988260"/>
                    <a:gd name="connsiteY0" fmla="*/ 297746 h 1100275"/>
                    <a:gd name="connsiteX1" fmla="*/ 2215446 w 2988260"/>
                    <a:gd name="connsiteY1" fmla="*/ 42313 h 1100275"/>
                    <a:gd name="connsiteX2" fmla="*/ 1895675 w 2988260"/>
                    <a:gd name="connsiteY2" fmla="*/ 38562 h 1100275"/>
                    <a:gd name="connsiteX3" fmla="*/ 1584 w 2988260"/>
                    <a:gd name="connsiteY3" fmla="*/ 564026 h 1100275"/>
                    <a:gd name="connsiteX4" fmla="*/ 1160371 w 2988260"/>
                    <a:gd name="connsiteY4" fmla="*/ 1058135 h 1100275"/>
                    <a:gd name="connsiteX5" fmla="*/ 1490398 w 2988260"/>
                    <a:gd name="connsiteY5" fmla="*/ 1087091 h 1100275"/>
                    <a:gd name="connsiteX6" fmla="*/ 1558713 w 2988260"/>
                    <a:gd name="connsiteY6" fmla="*/ 826098 h 1100275"/>
                    <a:gd name="connsiteX7" fmla="*/ 1264738 w 2988260"/>
                    <a:gd name="connsiteY7" fmla="*/ 811081 h 1100275"/>
                    <a:gd name="connsiteX8" fmla="*/ 269711 w 2988260"/>
                    <a:gd name="connsiteY8" fmla="*/ 564026 h 1100275"/>
                    <a:gd name="connsiteX9" fmla="*/ 1570549 w 2988260"/>
                    <a:gd name="connsiteY9" fmla="*/ 301350 h 1100275"/>
                    <a:gd name="connsiteX10" fmla="*/ 1696617 w 2988260"/>
                    <a:gd name="connsiteY10" fmla="*/ 299258 h 1100275"/>
                    <a:gd name="connsiteX11" fmla="*/ 1696617 w 2988260"/>
                    <a:gd name="connsiteY11" fmla="*/ 299256 h 1100275"/>
                    <a:gd name="connsiteX12" fmla="*/ 1898886 w 2988260"/>
                    <a:gd name="connsiteY12" fmla="*/ 295900 h 1100275"/>
                    <a:gd name="connsiteX13" fmla="*/ 2177324 w 2988260"/>
                    <a:gd name="connsiteY13" fmla="*/ 300519 h 1100275"/>
                    <a:gd name="connsiteX14" fmla="*/ 2182886 w 2988260"/>
                    <a:gd name="connsiteY14" fmla="*/ 279271 h 1100275"/>
                    <a:gd name="connsiteX15" fmla="*/ 2177324 w 2988260"/>
                    <a:gd name="connsiteY15" fmla="*/ 300521 h 1100275"/>
                    <a:gd name="connsiteX16" fmla="*/ 2209279 w 2988260"/>
                    <a:gd name="connsiteY16" fmla="*/ 297746 h 1100275"/>
                    <a:gd name="connsiteX17" fmla="*/ 2963787 w 2988260"/>
                    <a:gd name="connsiteY17" fmla="*/ 1002842 h 1100275"/>
                    <a:gd name="connsiteX18" fmla="*/ 2988260 w 2988260"/>
                    <a:gd name="connsiteY18" fmla="*/ 761575 h 1100275"/>
                    <a:gd name="connsiteX19" fmla="*/ 2227224 w 2988260"/>
                    <a:gd name="connsiteY19" fmla="*/ 826706 h 1100275"/>
                    <a:gd name="connsiteX20" fmla="*/ 2038772 w 2988260"/>
                    <a:gd name="connsiteY20" fmla="*/ 829830 h 1100275"/>
                    <a:gd name="connsiteX21" fmla="*/ 1898888 w 2988260"/>
                    <a:gd name="connsiteY21" fmla="*/ 832151 h 1100275"/>
                    <a:gd name="connsiteX22" fmla="*/ 1570553 w 2988260"/>
                    <a:gd name="connsiteY22" fmla="*/ 826703 h 1100275"/>
                    <a:gd name="connsiteX23" fmla="*/ 1558715 w 2988260"/>
                    <a:gd name="connsiteY23" fmla="*/ 826098 h 1100275"/>
                    <a:gd name="connsiteX24" fmla="*/ 1490400 w 2988260"/>
                    <a:gd name="connsiteY24" fmla="*/ 1087091 h 1100275"/>
                    <a:gd name="connsiteX25" fmla="*/ 1516516 w 2988260"/>
                    <a:gd name="connsiteY25" fmla="*/ 1089382 h 1100275"/>
                    <a:gd name="connsiteX26" fmla="*/ 1898890 w 2988260"/>
                    <a:gd name="connsiteY26" fmla="*/ 1100275 h 1100275"/>
                    <a:gd name="connsiteX27" fmla="*/ 1968501 w 2988260"/>
                    <a:gd name="connsiteY27" fmla="*/ 1098291 h 1100275"/>
                    <a:gd name="connsiteX28" fmla="*/ 2281258 w 2988260"/>
                    <a:gd name="connsiteY28" fmla="*/ 1089382 h 1100275"/>
                    <a:gd name="connsiteX29" fmla="*/ 2963787 w 2988260"/>
                    <a:gd name="connsiteY29" fmla="*/ 1002842 h 1100275"/>
                    <a:gd name="connsiteX0" fmla="*/ 2207328 w 2988260"/>
                    <a:gd name="connsiteY0" fmla="*/ 296380 h 1100275"/>
                    <a:gd name="connsiteX1" fmla="*/ 2215446 w 2988260"/>
                    <a:gd name="connsiteY1" fmla="*/ 42313 h 1100275"/>
                    <a:gd name="connsiteX2" fmla="*/ 1895675 w 2988260"/>
                    <a:gd name="connsiteY2" fmla="*/ 38562 h 1100275"/>
                    <a:gd name="connsiteX3" fmla="*/ 1584 w 2988260"/>
                    <a:gd name="connsiteY3" fmla="*/ 564026 h 1100275"/>
                    <a:gd name="connsiteX4" fmla="*/ 1160371 w 2988260"/>
                    <a:gd name="connsiteY4" fmla="*/ 1058135 h 1100275"/>
                    <a:gd name="connsiteX5" fmla="*/ 1490398 w 2988260"/>
                    <a:gd name="connsiteY5" fmla="*/ 1087091 h 1100275"/>
                    <a:gd name="connsiteX6" fmla="*/ 1558713 w 2988260"/>
                    <a:gd name="connsiteY6" fmla="*/ 826098 h 1100275"/>
                    <a:gd name="connsiteX7" fmla="*/ 1264738 w 2988260"/>
                    <a:gd name="connsiteY7" fmla="*/ 811081 h 1100275"/>
                    <a:gd name="connsiteX8" fmla="*/ 269711 w 2988260"/>
                    <a:gd name="connsiteY8" fmla="*/ 564026 h 1100275"/>
                    <a:gd name="connsiteX9" fmla="*/ 1570549 w 2988260"/>
                    <a:gd name="connsiteY9" fmla="*/ 301350 h 1100275"/>
                    <a:gd name="connsiteX10" fmla="*/ 1696617 w 2988260"/>
                    <a:gd name="connsiteY10" fmla="*/ 299258 h 1100275"/>
                    <a:gd name="connsiteX11" fmla="*/ 1696617 w 2988260"/>
                    <a:gd name="connsiteY11" fmla="*/ 299256 h 1100275"/>
                    <a:gd name="connsiteX12" fmla="*/ 1898886 w 2988260"/>
                    <a:gd name="connsiteY12" fmla="*/ 295900 h 1100275"/>
                    <a:gd name="connsiteX13" fmla="*/ 2177324 w 2988260"/>
                    <a:gd name="connsiteY13" fmla="*/ 300519 h 1100275"/>
                    <a:gd name="connsiteX14" fmla="*/ 2182886 w 2988260"/>
                    <a:gd name="connsiteY14" fmla="*/ 279271 h 1100275"/>
                    <a:gd name="connsiteX15" fmla="*/ 2177324 w 2988260"/>
                    <a:gd name="connsiteY15" fmla="*/ 300521 h 1100275"/>
                    <a:gd name="connsiteX16" fmla="*/ 2207328 w 2988260"/>
                    <a:gd name="connsiteY16" fmla="*/ 296380 h 1100275"/>
                    <a:gd name="connsiteX17" fmla="*/ 2963787 w 2988260"/>
                    <a:gd name="connsiteY17" fmla="*/ 1002842 h 1100275"/>
                    <a:gd name="connsiteX18" fmla="*/ 2988260 w 2988260"/>
                    <a:gd name="connsiteY18" fmla="*/ 761575 h 1100275"/>
                    <a:gd name="connsiteX19" fmla="*/ 2227224 w 2988260"/>
                    <a:gd name="connsiteY19" fmla="*/ 826706 h 1100275"/>
                    <a:gd name="connsiteX20" fmla="*/ 2038772 w 2988260"/>
                    <a:gd name="connsiteY20" fmla="*/ 829830 h 1100275"/>
                    <a:gd name="connsiteX21" fmla="*/ 1898888 w 2988260"/>
                    <a:gd name="connsiteY21" fmla="*/ 832151 h 1100275"/>
                    <a:gd name="connsiteX22" fmla="*/ 1570553 w 2988260"/>
                    <a:gd name="connsiteY22" fmla="*/ 826703 h 1100275"/>
                    <a:gd name="connsiteX23" fmla="*/ 1558715 w 2988260"/>
                    <a:gd name="connsiteY23" fmla="*/ 826098 h 1100275"/>
                    <a:gd name="connsiteX24" fmla="*/ 1490400 w 2988260"/>
                    <a:gd name="connsiteY24" fmla="*/ 1087091 h 1100275"/>
                    <a:gd name="connsiteX25" fmla="*/ 1516516 w 2988260"/>
                    <a:gd name="connsiteY25" fmla="*/ 1089382 h 1100275"/>
                    <a:gd name="connsiteX26" fmla="*/ 1898890 w 2988260"/>
                    <a:gd name="connsiteY26" fmla="*/ 1100275 h 1100275"/>
                    <a:gd name="connsiteX27" fmla="*/ 1968501 w 2988260"/>
                    <a:gd name="connsiteY27" fmla="*/ 1098291 h 1100275"/>
                    <a:gd name="connsiteX28" fmla="*/ 2281258 w 2988260"/>
                    <a:gd name="connsiteY28" fmla="*/ 1089382 h 1100275"/>
                    <a:gd name="connsiteX29" fmla="*/ 2963787 w 2988260"/>
                    <a:gd name="connsiteY29" fmla="*/ 1002842 h 1100275"/>
                    <a:gd name="connsiteX0" fmla="*/ 2207328 w 2988260"/>
                    <a:gd name="connsiteY0" fmla="*/ 296380 h 1100275"/>
                    <a:gd name="connsiteX1" fmla="*/ 2215446 w 2988260"/>
                    <a:gd name="connsiteY1" fmla="*/ 42313 h 1100275"/>
                    <a:gd name="connsiteX2" fmla="*/ 1895675 w 2988260"/>
                    <a:gd name="connsiteY2" fmla="*/ 38562 h 1100275"/>
                    <a:gd name="connsiteX3" fmla="*/ 1584 w 2988260"/>
                    <a:gd name="connsiteY3" fmla="*/ 564026 h 1100275"/>
                    <a:gd name="connsiteX4" fmla="*/ 1160371 w 2988260"/>
                    <a:gd name="connsiteY4" fmla="*/ 1058135 h 1100275"/>
                    <a:gd name="connsiteX5" fmla="*/ 1490398 w 2988260"/>
                    <a:gd name="connsiteY5" fmla="*/ 1087091 h 1100275"/>
                    <a:gd name="connsiteX6" fmla="*/ 1558713 w 2988260"/>
                    <a:gd name="connsiteY6" fmla="*/ 826098 h 1100275"/>
                    <a:gd name="connsiteX7" fmla="*/ 1264738 w 2988260"/>
                    <a:gd name="connsiteY7" fmla="*/ 811081 h 1100275"/>
                    <a:gd name="connsiteX8" fmla="*/ 269711 w 2988260"/>
                    <a:gd name="connsiteY8" fmla="*/ 564026 h 1100275"/>
                    <a:gd name="connsiteX9" fmla="*/ 1570549 w 2988260"/>
                    <a:gd name="connsiteY9" fmla="*/ 301350 h 1100275"/>
                    <a:gd name="connsiteX10" fmla="*/ 1696617 w 2988260"/>
                    <a:gd name="connsiteY10" fmla="*/ 299258 h 1100275"/>
                    <a:gd name="connsiteX11" fmla="*/ 1696617 w 2988260"/>
                    <a:gd name="connsiteY11" fmla="*/ 299256 h 1100275"/>
                    <a:gd name="connsiteX12" fmla="*/ 1898886 w 2988260"/>
                    <a:gd name="connsiteY12" fmla="*/ 295900 h 1100275"/>
                    <a:gd name="connsiteX13" fmla="*/ 2177324 w 2988260"/>
                    <a:gd name="connsiteY13" fmla="*/ 300519 h 1100275"/>
                    <a:gd name="connsiteX14" fmla="*/ 2177324 w 2988260"/>
                    <a:gd name="connsiteY14" fmla="*/ 300521 h 1100275"/>
                    <a:gd name="connsiteX15" fmla="*/ 2207328 w 2988260"/>
                    <a:gd name="connsiteY15" fmla="*/ 296380 h 1100275"/>
                    <a:gd name="connsiteX16" fmla="*/ 2963787 w 2988260"/>
                    <a:gd name="connsiteY16" fmla="*/ 1002842 h 1100275"/>
                    <a:gd name="connsiteX17" fmla="*/ 2988260 w 2988260"/>
                    <a:gd name="connsiteY17" fmla="*/ 761575 h 1100275"/>
                    <a:gd name="connsiteX18" fmla="*/ 2227224 w 2988260"/>
                    <a:gd name="connsiteY18" fmla="*/ 826706 h 1100275"/>
                    <a:gd name="connsiteX19" fmla="*/ 2038772 w 2988260"/>
                    <a:gd name="connsiteY19" fmla="*/ 829830 h 1100275"/>
                    <a:gd name="connsiteX20" fmla="*/ 1898888 w 2988260"/>
                    <a:gd name="connsiteY20" fmla="*/ 832151 h 1100275"/>
                    <a:gd name="connsiteX21" fmla="*/ 1570553 w 2988260"/>
                    <a:gd name="connsiteY21" fmla="*/ 826703 h 1100275"/>
                    <a:gd name="connsiteX22" fmla="*/ 1558715 w 2988260"/>
                    <a:gd name="connsiteY22" fmla="*/ 826098 h 1100275"/>
                    <a:gd name="connsiteX23" fmla="*/ 1490400 w 2988260"/>
                    <a:gd name="connsiteY23" fmla="*/ 1087091 h 1100275"/>
                    <a:gd name="connsiteX24" fmla="*/ 1516516 w 2988260"/>
                    <a:gd name="connsiteY24" fmla="*/ 1089382 h 1100275"/>
                    <a:gd name="connsiteX25" fmla="*/ 1898890 w 2988260"/>
                    <a:gd name="connsiteY25" fmla="*/ 1100275 h 1100275"/>
                    <a:gd name="connsiteX26" fmla="*/ 1968501 w 2988260"/>
                    <a:gd name="connsiteY26" fmla="*/ 1098291 h 1100275"/>
                    <a:gd name="connsiteX27" fmla="*/ 2281258 w 2988260"/>
                    <a:gd name="connsiteY27" fmla="*/ 1089382 h 1100275"/>
                    <a:gd name="connsiteX28" fmla="*/ 2963787 w 2988260"/>
                    <a:gd name="connsiteY28" fmla="*/ 1002842 h 1100275"/>
                    <a:gd name="connsiteX0" fmla="*/ 2207328 w 2988260"/>
                    <a:gd name="connsiteY0" fmla="*/ 269961 h 1073856"/>
                    <a:gd name="connsiteX1" fmla="*/ 2215446 w 2988260"/>
                    <a:gd name="connsiteY1" fmla="*/ 15894 h 1073856"/>
                    <a:gd name="connsiteX2" fmla="*/ 1895675 w 2988260"/>
                    <a:gd name="connsiteY2" fmla="*/ 12143 h 1073856"/>
                    <a:gd name="connsiteX3" fmla="*/ 1584 w 2988260"/>
                    <a:gd name="connsiteY3" fmla="*/ 537607 h 1073856"/>
                    <a:gd name="connsiteX4" fmla="*/ 1160371 w 2988260"/>
                    <a:gd name="connsiteY4" fmla="*/ 1031716 h 1073856"/>
                    <a:gd name="connsiteX5" fmla="*/ 1490398 w 2988260"/>
                    <a:gd name="connsiteY5" fmla="*/ 1060672 h 1073856"/>
                    <a:gd name="connsiteX6" fmla="*/ 1558713 w 2988260"/>
                    <a:gd name="connsiteY6" fmla="*/ 799679 h 1073856"/>
                    <a:gd name="connsiteX7" fmla="*/ 1264738 w 2988260"/>
                    <a:gd name="connsiteY7" fmla="*/ 784662 h 1073856"/>
                    <a:gd name="connsiteX8" fmla="*/ 269711 w 2988260"/>
                    <a:gd name="connsiteY8" fmla="*/ 537607 h 1073856"/>
                    <a:gd name="connsiteX9" fmla="*/ 1570549 w 2988260"/>
                    <a:gd name="connsiteY9" fmla="*/ 274931 h 1073856"/>
                    <a:gd name="connsiteX10" fmla="*/ 1696617 w 2988260"/>
                    <a:gd name="connsiteY10" fmla="*/ 272839 h 1073856"/>
                    <a:gd name="connsiteX11" fmla="*/ 1696617 w 2988260"/>
                    <a:gd name="connsiteY11" fmla="*/ 272837 h 1073856"/>
                    <a:gd name="connsiteX12" fmla="*/ 1898886 w 2988260"/>
                    <a:gd name="connsiteY12" fmla="*/ 269481 h 1073856"/>
                    <a:gd name="connsiteX13" fmla="*/ 2177324 w 2988260"/>
                    <a:gd name="connsiteY13" fmla="*/ 274100 h 1073856"/>
                    <a:gd name="connsiteX14" fmla="*/ 2177324 w 2988260"/>
                    <a:gd name="connsiteY14" fmla="*/ 274102 h 1073856"/>
                    <a:gd name="connsiteX15" fmla="*/ 2207328 w 2988260"/>
                    <a:gd name="connsiteY15" fmla="*/ 269961 h 1073856"/>
                    <a:gd name="connsiteX16" fmla="*/ 2963787 w 2988260"/>
                    <a:gd name="connsiteY16" fmla="*/ 976423 h 1073856"/>
                    <a:gd name="connsiteX17" fmla="*/ 2988260 w 2988260"/>
                    <a:gd name="connsiteY17" fmla="*/ 735156 h 1073856"/>
                    <a:gd name="connsiteX18" fmla="*/ 2227224 w 2988260"/>
                    <a:gd name="connsiteY18" fmla="*/ 800287 h 1073856"/>
                    <a:gd name="connsiteX19" fmla="*/ 2038772 w 2988260"/>
                    <a:gd name="connsiteY19" fmla="*/ 803411 h 1073856"/>
                    <a:gd name="connsiteX20" fmla="*/ 1898888 w 2988260"/>
                    <a:gd name="connsiteY20" fmla="*/ 805732 h 1073856"/>
                    <a:gd name="connsiteX21" fmla="*/ 1570553 w 2988260"/>
                    <a:gd name="connsiteY21" fmla="*/ 800284 h 1073856"/>
                    <a:gd name="connsiteX22" fmla="*/ 1558715 w 2988260"/>
                    <a:gd name="connsiteY22" fmla="*/ 799679 h 1073856"/>
                    <a:gd name="connsiteX23" fmla="*/ 1490400 w 2988260"/>
                    <a:gd name="connsiteY23" fmla="*/ 1060672 h 1073856"/>
                    <a:gd name="connsiteX24" fmla="*/ 1516516 w 2988260"/>
                    <a:gd name="connsiteY24" fmla="*/ 1062963 h 1073856"/>
                    <a:gd name="connsiteX25" fmla="*/ 1898890 w 2988260"/>
                    <a:gd name="connsiteY25" fmla="*/ 1073856 h 1073856"/>
                    <a:gd name="connsiteX26" fmla="*/ 1968501 w 2988260"/>
                    <a:gd name="connsiteY26" fmla="*/ 1071872 h 1073856"/>
                    <a:gd name="connsiteX27" fmla="*/ 2281258 w 2988260"/>
                    <a:gd name="connsiteY27" fmla="*/ 1062963 h 1073856"/>
                    <a:gd name="connsiteX28" fmla="*/ 2963787 w 2988260"/>
                    <a:gd name="connsiteY28" fmla="*/ 976423 h 1073856"/>
                    <a:gd name="connsiteX0" fmla="*/ 2207328 w 2988260"/>
                    <a:gd name="connsiteY0" fmla="*/ 259291 h 1063186"/>
                    <a:gd name="connsiteX1" fmla="*/ 2215446 w 2988260"/>
                    <a:gd name="connsiteY1" fmla="*/ 5224 h 1063186"/>
                    <a:gd name="connsiteX2" fmla="*/ 1895675 w 2988260"/>
                    <a:gd name="connsiteY2" fmla="*/ 1473 h 1063186"/>
                    <a:gd name="connsiteX3" fmla="*/ 1584 w 2988260"/>
                    <a:gd name="connsiteY3" fmla="*/ 526937 h 1063186"/>
                    <a:gd name="connsiteX4" fmla="*/ 1160371 w 2988260"/>
                    <a:gd name="connsiteY4" fmla="*/ 1021046 h 1063186"/>
                    <a:gd name="connsiteX5" fmla="*/ 1490398 w 2988260"/>
                    <a:gd name="connsiteY5" fmla="*/ 1050002 h 1063186"/>
                    <a:gd name="connsiteX6" fmla="*/ 1558713 w 2988260"/>
                    <a:gd name="connsiteY6" fmla="*/ 789009 h 1063186"/>
                    <a:gd name="connsiteX7" fmla="*/ 1264738 w 2988260"/>
                    <a:gd name="connsiteY7" fmla="*/ 773992 h 1063186"/>
                    <a:gd name="connsiteX8" fmla="*/ 269711 w 2988260"/>
                    <a:gd name="connsiteY8" fmla="*/ 526937 h 1063186"/>
                    <a:gd name="connsiteX9" fmla="*/ 1570549 w 2988260"/>
                    <a:gd name="connsiteY9" fmla="*/ 264261 h 1063186"/>
                    <a:gd name="connsiteX10" fmla="*/ 1696617 w 2988260"/>
                    <a:gd name="connsiteY10" fmla="*/ 262169 h 1063186"/>
                    <a:gd name="connsiteX11" fmla="*/ 1696617 w 2988260"/>
                    <a:gd name="connsiteY11" fmla="*/ 262167 h 1063186"/>
                    <a:gd name="connsiteX12" fmla="*/ 1898886 w 2988260"/>
                    <a:gd name="connsiteY12" fmla="*/ 258811 h 1063186"/>
                    <a:gd name="connsiteX13" fmla="*/ 2177324 w 2988260"/>
                    <a:gd name="connsiteY13" fmla="*/ 263430 h 1063186"/>
                    <a:gd name="connsiteX14" fmla="*/ 2177324 w 2988260"/>
                    <a:gd name="connsiteY14" fmla="*/ 263432 h 1063186"/>
                    <a:gd name="connsiteX15" fmla="*/ 2207328 w 2988260"/>
                    <a:gd name="connsiteY15" fmla="*/ 259291 h 1063186"/>
                    <a:gd name="connsiteX16" fmla="*/ 2963787 w 2988260"/>
                    <a:gd name="connsiteY16" fmla="*/ 965753 h 1063186"/>
                    <a:gd name="connsiteX17" fmla="*/ 2988260 w 2988260"/>
                    <a:gd name="connsiteY17" fmla="*/ 724486 h 1063186"/>
                    <a:gd name="connsiteX18" fmla="*/ 2227224 w 2988260"/>
                    <a:gd name="connsiteY18" fmla="*/ 789617 h 1063186"/>
                    <a:gd name="connsiteX19" fmla="*/ 2038772 w 2988260"/>
                    <a:gd name="connsiteY19" fmla="*/ 792741 h 1063186"/>
                    <a:gd name="connsiteX20" fmla="*/ 1898888 w 2988260"/>
                    <a:gd name="connsiteY20" fmla="*/ 795062 h 1063186"/>
                    <a:gd name="connsiteX21" fmla="*/ 1570553 w 2988260"/>
                    <a:gd name="connsiteY21" fmla="*/ 789614 h 1063186"/>
                    <a:gd name="connsiteX22" fmla="*/ 1558715 w 2988260"/>
                    <a:gd name="connsiteY22" fmla="*/ 789009 h 1063186"/>
                    <a:gd name="connsiteX23" fmla="*/ 1490400 w 2988260"/>
                    <a:gd name="connsiteY23" fmla="*/ 1050002 h 1063186"/>
                    <a:gd name="connsiteX24" fmla="*/ 1516516 w 2988260"/>
                    <a:gd name="connsiteY24" fmla="*/ 1052293 h 1063186"/>
                    <a:gd name="connsiteX25" fmla="*/ 1898890 w 2988260"/>
                    <a:gd name="connsiteY25" fmla="*/ 1063186 h 1063186"/>
                    <a:gd name="connsiteX26" fmla="*/ 1968501 w 2988260"/>
                    <a:gd name="connsiteY26" fmla="*/ 1061202 h 1063186"/>
                    <a:gd name="connsiteX27" fmla="*/ 2281258 w 2988260"/>
                    <a:gd name="connsiteY27" fmla="*/ 1052293 h 1063186"/>
                    <a:gd name="connsiteX28" fmla="*/ 2963787 w 2988260"/>
                    <a:gd name="connsiteY28" fmla="*/ 965753 h 1063186"/>
                    <a:gd name="connsiteX0" fmla="*/ 2206735 w 2987667"/>
                    <a:gd name="connsiteY0" fmla="*/ 259291 h 1063186"/>
                    <a:gd name="connsiteX1" fmla="*/ 2214853 w 2987667"/>
                    <a:gd name="connsiteY1" fmla="*/ 5224 h 1063186"/>
                    <a:gd name="connsiteX2" fmla="*/ 1895082 w 2987667"/>
                    <a:gd name="connsiteY2" fmla="*/ 1473 h 1063186"/>
                    <a:gd name="connsiteX3" fmla="*/ 991 w 2987667"/>
                    <a:gd name="connsiteY3" fmla="*/ 526937 h 1063186"/>
                    <a:gd name="connsiteX4" fmla="*/ 1159778 w 2987667"/>
                    <a:gd name="connsiteY4" fmla="*/ 1021046 h 1063186"/>
                    <a:gd name="connsiteX5" fmla="*/ 1489805 w 2987667"/>
                    <a:gd name="connsiteY5" fmla="*/ 1050002 h 1063186"/>
                    <a:gd name="connsiteX6" fmla="*/ 1558120 w 2987667"/>
                    <a:gd name="connsiteY6" fmla="*/ 789009 h 1063186"/>
                    <a:gd name="connsiteX7" fmla="*/ 1264145 w 2987667"/>
                    <a:gd name="connsiteY7" fmla="*/ 773992 h 1063186"/>
                    <a:gd name="connsiteX8" fmla="*/ 269118 w 2987667"/>
                    <a:gd name="connsiteY8" fmla="*/ 526937 h 1063186"/>
                    <a:gd name="connsiteX9" fmla="*/ 1569956 w 2987667"/>
                    <a:gd name="connsiteY9" fmla="*/ 264261 h 1063186"/>
                    <a:gd name="connsiteX10" fmla="*/ 1696024 w 2987667"/>
                    <a:gd name="connsiteY10" fmla="*/ 262169 h 1063186"/>
                    <a:gd name="connsiteX11" fmla="*/ 1696024 w 2987667"/>
                    <a:gd name="connsiteY11" fmla="*/ 262167 h 1063186"/>
                    <a:gd name="connsiteX12" fmla="*/ 1898293 w 2987667"/>
                    <a:gd name="connsiteY12" fmla="*/ 258811 h 1063186"/>
                    <a:gd name="connsiteX13" fmla="*/ 2176731 w 2987667"/>
                    <a:gd name="connsiteY13" fmla="*/ 263430 h 1063186"/>
                    <a:gd name="connsiteX14" fmla="*/ 2176731 w 2987667"/>
                    <a:gd name="connsiteY14" fmla="*/ 263432 h 1063186"/>
                    <a:gd name="connsiteX15" fmla="*/ 2206735 w 2987667"/>
                    <a:gd name="connsiteY15" fmla="*/ 259291 h 1063186"/>
                    <a:gd name="connsiteX16" fmla="*/ 2963194 w 2987667"/>
                    <a:gd name="connsiteY16" fmla="*/ 965753 h 1063186"/>
                    <a:gd name="connsiteX17" fmla="*/ 2987667 w 2987667"/>
                    <a:gd name="connsiteY17" fmla="*/ 724486 h 1063186"/>
                    <a:gd name="connsiteX18" fmla="*/ 2226631 w 2987667"/>
                    <a:gd name="connsiteY18" fmla="*/ 789617 h 1063186"/>
                    <a:gd name="connsiteX19" fmla="*/ 2038179 w 2987667"/>
                    <a:gd name="connsiteY19" fmla="*/ 792741 h 1063186"/>
                    <a:gd name="connsiteX20" fmla="*/ 1898295 w 2987667"/>
                    <a:gd name="connsiteY20" fmla="*/ 795062 h 1063186"/>
                    <a:gd name="connsiteX21" fmla="*/ 1569960 w 2987667"/>
                    <a:gd name="connsiteY21" fmla="*/ 789614 h 1063186"/>
                    <a:gd name="connsiteX22" fmla="*/ 1558122 w 2987667"/>
                    <a:gd name="connsiteY22" fmla="*/ 789009 h 1063186"/>
                    <a:gd name="connsiteX23" fmla="*/ 1489807 w 2987667"/>
                    <a:gd name="connsiteY23" fmla="*/ 1050002 h 1063186"/>
                    <a:gd name="connsiteX24" fmla="*/ 1515923 w 2987667"/>
                    <a:gd name="connsiteY24" fmla="*/ 1052293 h 1063186"/>
                    <a:gd name="connsiteX25" fmla="*/ 1898297 w 2987667"/>
                    <a:gd name="connsiteY25" fmla="*/ 1063186 h 1063186"/>
                    <a:gd name="connsiteX26" fmla="*/ 1967908 w 2987667"/>
                    <a:gd name="connsiteY26" fmla="*/ 1061202 h 1063186"/>
                    <a:gd name="connsiteX27" fmla="*/ 2280665 w 2987667"/>
                    <a:gd name="connsiteY27" fmla="*/ 1052293 h 1063186"/>
                    <a:gd name="connsiteX28" fmla="*/ 2963194 w 2987667"/>
                    <a:gd name="connsiteY28" fmla="*/ 965753 h 1063186"/>
                    <a:gd name="connsiteX0" fmla="*/ 2206735 w 2987667"/>
                    <a:gd name="connsiteY0" fmla="*/ 258047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176731 w 2987667"/>
                    <a:gd name="connsiteY13" fmla="*/ 262186 h 1061942"/>
                    <a:gd name="connsiteX14" fmla="*/ 2176731 w 2987667"/>
                    <a:gd name="connsiteY14" fmla="*/ 262188 h 1061942"/>
                    <a:gd name="connsiteX15" fmla="*/ 2206735 w 2987667"/>
                    <a:gd name="connsiteY15" fmla="*/ 258047 h 1061942"/>
                    <a:gd name="connsiteX16" fmla="*/ 2963194 w 2987667"/>
                    <a:gd name="connsiteY16" fmla="*/ 964509 h 1061942"/>
                    <a:gd name="connsiteX17" fmla="*/ 2987667 w 2987667"/>
                    <a:gd name="connsiteY17" fmla="*/ 723242 h 1061942"/>
                    <a:gd name="connsiteX18" fmla="*/ 2226631 w 2987667"/>
                    <a:gd name="connsiteY18" fmla="*/ 788373 h 1061942"/>
                    <a:gd name="connsiteX19" fmla="*/ 2038179 w 2987667"/>
                    <a:gd name="connsiteY19" fmla="*/ 791497 h 1061942"/>
                    <a:gd name="connsiteX20" fmla="*/ 1898295 w 2987667"/>
                    <a:gd name="connsiteY20" fmla="*/ 793818 h 1061942"/>
                    <a:gd name="connsiteX21" fmla="*/ 1569960 w 2987667"/>
                    <a:gd name="connsiteY21" fmla="*/ 788370 h 1061942"/>
                    <a:gd name="connsiteX22" fmla="*/ 1558122 w 2987667"/>
                    <a:gd name="connsiteY22" fmla="*/ 787765 h 1061942"/>
                    <a:gd name="connsiteX23" fmla="*/ 1489807 w 2987667"/>
                    <a:gd name="connsiteY23" fmla="*/ 1048758 h 1061942"/>
                    <a:gd name="connsiteX24" fmla="*/ 1515923 w 2987667"/>
                    <a:gd name="connsiteY24" fmla="*/ 1051049 h 1061942"/>
                    <a:gd name="connsiteX25" fmla="*/ 1898297 w 2987667"/>
                    <a:gd name="connsiteY25" fmla="*/ 1061942 h 1061942"/>
                    <a:gd name="connsiteX26" fmla="*/ 1967908 w 2987667"/>
                    <a:gd name="connsiteY26" fmla="*/ 1059958 h 1061942"/>
                    <a:gd name="connsiteX27" fmla="*/ 2280665 w 2987667"/>
                    <a:gd name="connsiteY27" fmla="*/ 1051049 h 1061942"/>
                    <a:gd name="connsiteX28" fmla="*/ 2963194 w 2987667"/>
                    <a:gd name="connsiteY28" fmla="*/ 964509 h 1061942"/>
                    <a:gd name="connsiteX0" fmla="*/ 2206735 w 2987667"/>
                    <a:gd name="connsiteY0" fmla="*/ 258047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176731 w 2987667"/>
                    <a:gd name="connsiteY13" fmla="*/ 262186 h 1061942"/>
                    <a:gd name="connsiteX14" fmla="*/ 2206735 w 2987667"/>
                    <a:gd name="connsiteY14" fmla="*/ 258047 h 1061942"/>
                    <a:gd name="connsiteX15" fmla="*/ 2963194 w 2987667"/>
                    <a:gd name="connsiteY15" fmla="*/ 964509 h 1061942"/>
                    <a:gd name="connsiteX16" fmla="*/ 2987667 w 2987667"/>
                    <a:gd name="connsiteY16" fmla="*/ 723242 h 1061942"/>
                    <a:gd name="connsiteX17" fmla="*/ 2226631 w 2987667"/>
                    <a:gd name="connsiteY17" fmla="*/ 788373 h 1061942"/>
                    <a:gd name="connsiteX18" fmla="*/ 2038179 w 2987667"/>
                    <a:gd name="connsiteY18" fmla="*/ 791497 h 1061942"/>
                    <a:gd name="connsiteX19" fmla="*/ 1898295 w 2987667"/>
                    <a:gd name="connsiteY19" fmla="*/ 793818 h 1061942"/>
                    <a:gd name="connsiteX20" fmla="*/ 1569960 w 2987667"/>
                    <a:gd name="connsiteY20" fmla="*/ 788370 h 1061942"/>
                    <a:gd name="connsiteX21" fmla="*/ 1558122 w 2987667"/>
                    <a:gd name="connsiteY21" fmla="*/ 787765 h 1061942"/>
                    <a:gd name="connsiteX22" fmla="*/ 1489807 w 2987667"/>
                    <a:gd name="connsiteY22" fmla="*/ 1048758 h 1061942"/>
                    <a:gd name="connsiteX23" fmla="*/ 1515923 w 2987667"/>
                    <a:gd name="connsiteY23" fmla="*/ 1051049 h 1061942"/>
                    <a:gd name="connsiteX24" fmla="*/ 1898297 w 2987667"/>
                    <a:gd name="connsiteY24" fmla="*/ 1061942 h 1061942"/>
                    <a:gd name="connsiteX25" fmla="*/ 1967908 w 2987667"/>
                    <a:gd name="connsiteY25" fmla="*/ 1059958 h 1061942"/>
                    <a:gd name="connsiteX26" fmla="*/ 2280665 w 2987667"/>
                    <a:gd name="connsiteY26" fmla="*/ 1051049 h 1061942"/>
                    <a:gd name="connsiteX27" fmla="*/ 2963194 w 2987667"/>
                    <a:gd name="connsiteY27" fmla="*/ 964509 h 1061942"/>
                    <a:gd name="connsiteX0" fmla="*/ 2206735 w 2987667"/>
                    <a:gd name="connsiteY0" fmla="*/ 258047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206735 w 2987667"/>
                    <a:gd name="connsiteY13" fmla="*/ 258047 h 1061942"/>
                    <a:gd name="connsiteX14" fmla="*/ 2963194 w 2987667"/>
                    <a:gd name="connsiteY14" fmla="*/ 964509 h 1061942"/>
                    <a:gd name="connsiteX15" fmla="*/ 2987667 w 2987667"/>
                    <a:gd name="connsiteY15" fmla="*/ 723242 h 1061942"/>
                    <a:gd name="connsiteX16" fmla="*/ 2226631 w 2987667"/>
                    <a:gd name="connsiteY16" fmla="*/ 788373 h 1061942"/>
                    <a:gd name="connsiteX17" fmla="*/ 2038179 w 2987667"/>
                    <a:gd name="connsiteY17" fmla="*/ 791497 h 1061942"/>
                    <a:gd name="connsiteX18" fmla="*/ 1898295 w 2987667"/>
                    <a:gd name="connsiteY18" fmla="*/ 793818 h 1061942"/>
                    <a:gd name="connsiteX19" fmla="*/ 1569960 w 2987667"/>
                    <a:gd name="connsiteY19" fmla="*/ 788370 h 1061942"/>
                    <a:gd name="connsiteX20" fmla="*/ 1558122 w 2987667"/>
                    <a:gd name="connsiteY20" fmla="*/ 787765 h 1061942"/>
                    <a:gd name="connsiteX21" fmla="*/ 1489807 w 2987667"/>
                    <a:gd name="connsiteY21" fmla="*/ 1048758 h 1061942"/>
                    <a:gd name="connsiteX22" fmla="*/ 1515923 w 2987667"/>
                    <a:gd name="connsiteY22" fmla="*/ 1051049 h 1061942"/>
                    <a:gd name="connsiteX23" fmla="*/ 1898297 w 2987667"/>
                    <a:gd name="connsiteY23" fmla="*/ 1061942 h 1061942"/>
                    <a:gd name="connsiteX24" fmla="*/ 1967908 w 2987667"/>
                    <a:gd name="connsiteY24" fmla="*/ 1059958 h 1061942"/>
                    <a:gd name="connsiteX25" fmla="*/ 2280665 w 2987667"/>
                    <a:gd name="connsiteY25" fmla="*/ 1051049 h 1061942"/>
                    <a:gd name="connsiteX26" fmla="*/ 2963194 w 2987667"/>
                    <a:gd name="connsiteY26" fmla="*/ 964509 h 1061942"/>
                    <a:gd name="connsiteX0" fmla="*/ 2207517 w 2987667"/>
                    <a:gd name="connsiteY0" fmla="*/ 252780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207517 w 2987667"/>
                    <a:gd name="connsiteY13" fmla="*/ 252780 h 1061942"/>
                    <a:gd name="connsiteX14" fmla="*/ 2963194 w 2987667"/>
                    <a:gd name="connsiteY14" fmla="*/ 964509 h 1061942"/>
                    <a:gd name="connsiteX15" fmla="*/ 2987667 w 2987667"/>
                    <a:gd name="connsiteY15" fmla="*/ 723242 h 1061942"/>
                    <a:gd name="connsiteX16" fmla="*/ 2226631 w 2987667"/>
                    <a:gd name="connsiteY16" fmla="*/ 788373 h 1061942"/>
                    <a:gd name="connsiteX17" fmla="*/ 2038179 w 2987667"/>
                    <a:gd name="connsiteY17" fmla="*/ 791497 h 1061942"/>
                    <a:gd name="connsiteX18" fmla="*/ 1898295 w 2987667"/>
                    <a:gd name="connsiteY18" fmla="*/ 793818 h 1061942"/>
                    <a:gd name="connsiteX19" fmla="*/ 1569960 w 2987667"/>
                    <a:gd name="connsiteY19" fmla="*/ 788370 h 1061942"/>
                    <a:gd name="connsiteX20" fmla="*/ 1558122 w 2987667"/>
                    <a:gd name="connsiteY20" fmla="*/ 787765 h 1061942"/>
                    <a:gd name="connsiteX21" fmla="*/ 1489807 w 2987667"/>
                    <a:gd name="connsiteY21" fmla="*/ 1048758 h 1061942"/>
                    <a:gd name="connsiteX22" fmla="*/ 1515923 w 2987667"/>
                    <a:gd name="connsiteY22" fmla="*/ 1051049 h 1061942"/>
                    <a:gd name="connsiteX23" fmla="*/ 1898297 w 2987667"/>
                    <a:gd name="connsiteY23" fmla="*/ 1061942 h 1061942"/>
                    <a:gd name="connsiteX24" fmla="*/ 1967908 w 2987667"/>
                    <a:gd name="connsiteY24" fmla="*/ 1059958 h 1061942"/>
                    <a:gd name="connsiteX25" fmla="*/ 2280665 w 2987667"/>
                    <a:gd name="connsiteY25" fmla="*/ 1051049 h 1061942"/>
                    <a:gd name="connsiteX26" fmla="*/ 2963194 w 2987667"/>
                    <a:gd name="connsiteY26" fmla="*/ 964509 h 1061942"/>
                    <a:gd name="connsiteX0" fmla="*/ 2211418 w 2987667"/>
                    <a:gd name="connsiteY0" fmla="*/ 255513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211418 w 2987667"/>
                    <a:gd name="connsiteY13" fmla="*/ 255513 h 1061942"/>
                    <a:gd name="connsiteX14" fmla="*/ 2963194 w 2987667"/>
                    <a:gd name="connsiteY14" fmla="*/ 964509 h 1061942"/>
                    <a:gd name="connsiteX15" fmla="*/ 2987667 w 2987667"/>
                    <a:gd name="connsiteY15" fmla="*/ 723242 h 1061942"/>
                    <a:gd name="connsiteX16" fmla="*/ 2226631 w 2987667"/>
                    <a:gd name="connsiteY16" fmla="*/ 788373 h 1061942"/>
                    <a:gd name="connsiteX17" fmla="*/ 2038179 w 2987667"/>
                    <a:gd name="connsiteY17" fmla="*/ 791497 h 1061942"/>
                    <a:gd name="connsiteX18" fmla="*/ 1898295 w 2987667"/>
                    <a:gd name="connsiteY18" fmla="*/ 793818 h 1061942"/>
                    <a:gd name="connsiteX19" fmla="*/ 1569960 w 2987667"/>
                    <a:gd name="connsiteY19" fmla="*/ 788370 h 1061942"/>
                    <a:gd name="connsiteX20" fmla="*/ 1558122 w 2987667"/>
                    <a:gd name="connsiteY20" fmla="*/ 787765 h 1061942"/>
                    <a:gd name="connsiteX21" fmla="*/ 1489807 w 2987667"/>
                    <a:gd name="connsiteY21" fmla="*/ 1048758 h 1061942"/>
                    <a:gd name="connsiteX22" fmla="*/ 1515923 w 2987667"/>
                    <a:gd name="connsiteY22" fmla="*/ 1051049 h 1061942"/>
                    <a:gd name="connsiteX23" fmla="*/ 1898297 w 2987667"/>
                    <a:gd name="connsiteY23" fmla="*/ 1061942 h 1061942"/>
                    <a:gd name="connsiteX24" fmla="*/ 1967908 w 2987667"/>
                    <a:gd name="connsiteY24" fmla="*/ 1059958 h 1061942"/>
                    <a:gd name="connsiteX25" fmla="*/ 2280665 w 2987667"/>
                    <a:gd name="connsiteY25" fmla="*/ 1051049 h 1061942"/>
                    <a:gd name="connsiteX26" fmla="*/ 2963194 w 2987667"/>
                    <a:gd name="connsiteY26" fmla="*/ 964509 h 1061942"/>
                    <a:gd name="connsiteX0" fmla="*/ 2211418 w 2987667"/>
                    <a:gd name="connsiteY0" fmla="*/ 255513 h 1061942"/>
                    <a:gd name="connsiteX1" fmla="*/ 2214853 w 2987667"/>
                    <a:gd name="connsiteY1" fmla="*/ 3980 h 1061942"/>
                    <a:gd name="connsiteX2" fmla="*/ 1895082 w 2987667"/>
                    <a:gd name="connsiteY2" fmla="*/ 229 h 1061942"/>
                    <a:gd name="connsiteX3" fmla="*/ 991 w 2987667"/>
                    <a:gd name="connsiteY3" fmla="*/ 525693 h 1061942"/>
                    <a:gd name="connsiteX4" fmla="*/ 1159778 w 2987667"/>
                    <a:gd name="connsiteY4" fmla="*/ 1019802 h 1061942"/>
                    <a:gd name="connsiteX5" fmla="*/ 1489805 w 2987667"/>
                    <a:gd name="connsiteY5" fmla="*/ 1048758 h 1061942"/>
                    <a:gd name="connsiteX6" fmla="*/ 1558120 w 2987667"/>
                    <a:gd name="connsiteY6" fmla="*/ 787765 h 1061942"/>
                    <a:gd name="connsiteX7" fmla="*/ 1264145 w 2987667"/>
                    <a:gd name="connsiteY7" fmla="*/ 772748 h 1061942"/>
                    <a:gd name="connsiteX8" fmla="*/ 269118 w 2987667"/>
                    <a:gd name="connsiteY8" fmla="*/ 525693 h 1061942"/>
                    <a:gd name="connsiteX9" fmla="*/ 1569956 w 2987667"/>
                    <a:gd name="connsiteY9" fmla="*/ 263017 h 1061942"/>
                    <a:gd name="connsiteX10" fmla="*/ 1696024 w 2987667"/>
                    <a:gd name="connsiteY10" fmla="*/ 260925 h 1061942"/>
                    <a:gd name="connsiteX11" fmla="*/ 1696024 w 2987667"/>
                    <a:gd name="connsiteY11" fmla="*/ 260923 h 1061942"/>
                    <a:gd name="connsiteX12" fmla="*/ 1898293 w 2987667"/>
                    <a:gd name="connsiteY12" fmla="*/ 257567 h 1061942"/>
                    <a:gd name="connsiteX13" fmla="*/ 2211418 w 2987667"/>
                    <a:gd name="connsiteY13" fmla="*/ 255513 h 1061942"/>
                    <a:gd name="connsiteX14" fmla="*/ 2963194 w 2987667"/>
                    <a:gd name="connsiteY14" fmla="*/ 964509 h 1061942"/>
                    <a:gd name="connsiteX15" fmla="*/ 2987667 w 2987667"/>
                    <a:gd name="connsiteY15" fmla="*/ 723242 h 1061942"/>
                    <a:gd name="connsiteX16" fmla="*/ 2226631 w 2987667"/>
                    <a:gd name="connsiteY16" fmla="*/ 788373 h 1061942"/>
                    <a:gd name="connsiteX17" fmla="*/ 2038179 w 2987667"/>
                    <a:gd name="connsiteY17" fmla="*/ 791497 h 1061942"/>
                    <a:gd name="connsiteX18" fmla="*/ 1898295 w 2987667"/>
                    <a:gd name="connsiteY18" fmla="*/ 793818 h 1061942"/>
                    <a:gd name="connsiteX19" fmla="*/ 1569960 w 2987667"/>
                    <a:gd name="connsiteY19" fmla="*/ 788370 h 1061942"/>
                    <a:gd name="connsiteX20" fmla="*/ 1558122 w 2987667"/>
                    <a:gd name="connsiteY20" fmla="*/ 787765 h 1061942"/>
                    <a:gd name="connsiteX21" fmla="*/ 1489807 w 2987667"/>
                    <a:gd name="connsiteY21" fmla="*/ 1048758 h 1061942"/>
                    <a:gd name="connsiteX22" fmla="*/ 1515923 w 2987667"/>
                    <a:gd name="connsiteY22" fmla="*/ 1051049 h 1061942"/>
                    <a:gd name="connsiteX23" fmla="*/ 1898297 w 2987667"/>
                    <a:gd name="connsiteY23" fmla="*/ 1061942 h 1061942"/>
                    <a:gd name="connsiteX24" fmla="*/ 1967908 w 2987667"/>
                    <a:gd name="connsiteY24" fmla="*/ 1059958 h 1061942"/>
                    <a:gd name="connsiteX25" fmla="*/ 2280665 w 2987667"/>
                    <a:gd name="connsiteY25" fmla="*/ 1051049 h 1061942"/>
                    <a:gd name="connsiteX26" fmla="*/ 2963194 w 2987667"/>
                    <a:gd name="connsiteY26" fmla="*/ 964509 h 1061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987667" h="1061942">
                      <a:moveTo>
                        <a:pt x="2211418" y="255513"/>
                      </a:moveTo>
                      <a:cubicBezTo>
                        <a:pt x="2212889" y="167052"/>
                        <a:pt x="2213382" y="92441"/>
                        <a:pt x="2214853" y="3980"/>
                      </a:cubicBezTo>
                      <a:cubicBezTo>
                        <a:pt x="2107771" y="-20"/>
                        <a:pt x="2274139" y="4752"/>
                        <a:pt x="1895082" y="229"/>
                      </a:cubicBezTo>
                      <a:cubicBezTo>
                        <a:pt x="1330079" y="-6513"/>
                        <a:pt x="50593" y="135221"/>
                        <a:pt x="991" y="525693"/>
                      </a:cubicBezTo>
                      <a:cubicBezTo>
                        <a:pt x="-25411" y="733533"/>
                        <a:pt x="478807" y="938395"/>
                        <a:pt x="1159778" y="1019802"/>
                      </a:cubicBezTo>
                      <a:lnTo>
                        <a:pt x="1489805" y="1048758"/>
                      </a:lnTo>
                      <a:lnTo>
                        <a:pt x="1558120" y="787765"/>
                      </a:lnTo>
                      <a:lnTo>
                        <a:pt x="1264145" y="772748"/>
                      </a:lnTo>
                      <a:cubicBezTo>
                        <a:pt x="679407" y="732044"/>
                        <a:pt x="269116" y="636755"/>
                        <a:pt x="269118" y="525693"/>
                      </a:cubicBezTo>
                      <a:cubicBezTo>
                        <a:pt x="269116" y="396123"/>
                        <a:pt x="827568" y="288020"/>
                        <a:pt x="1569956" y="263017"/>
                      </a:cubicBezTo>
                      <a:lnTo>
                        <a:pt x="1696024" y="260925"/>
                      </a:lnTo>
                      <a:lnTo>
                        <a:pt x="1696024" y="260923"/>
                      </a:lnTo>
                      <a:lnTo>
                        <a:pt x="1898293" y="257567"/>
                      </a:lnTo>
                      <a:lnTo>
                        <a:pt x="2211418" y="255513"/>
                      </a:lnTo>
                      <a:close/>
                      <a:moveTo>
                        <a:pt x="2963194" y="964509"/>
                      </a:moveTo>
                      <a:cubicBezTo>
                        <a:pt x="2977203" y="888185"/>
                        <a:pt x="2979509" y="803664"/>
                        <a:pt x="2987667" y="723242"/>
                      </a:cubicBezTo>
                      <a:cubicBezTo>
                        <a:pt x="2786511" y="750564"/>
                        <a:pt x="2491769" y="779442"/>
                        <a:pt x="2226631" y="788373"/>
                      </a:cubicBezTo>
                      <a:lnTo>
                        <a:pt x="2038179" y="791497"/>
                      </a:lnTo>
                      <a:lnTo>
                        <a:pt x="1898295" y="793818"/>
                      </a:lnTo>
                      <a:cubicBezTo>
                        <a:pt x="1785825" y="793818"/>
                        <a:pt x="1676014" y="791943"/>
                        <a:pt x="1569960" y="788370"/>
                      </a:cubicBezTo>
                      <a:lnTo>
                        <a:pt x="1558122" y="787765"/>
                      </a:lnTo>
                      <a:lnTo>
                        <a:pt x="1489807" y="1048758"/>
                      </a:lnTo>
                      <a:lnTo>
                        <a:pt x="1515923" y="1051049"/>
                      </a:lnTo>
                      <a:cubicBezTo>
                        <a:pt x="1639432" y="1058192"/>
                        <a:pt x="1767312" y="1061942"/>
                        <a:pt x="1898297" y="1061942"/>
                      </a:cubicBezTo>
                      <a:lnTo>
                        <a:pt x="1967908" y="1059958"/>
                      </a:lnTo>
                      <a:lnTo>
                        <a:pt x="2280665" y="1051049"/>
                      </a:lnTo>
                      <a:cubicBezTo>
                        <a:pt x="2527685" y="1036762"/>
                        <a:pt x="2761319" y="1003056"/>
                        <a:pt x="2963194" y="964509"/>
                      </a:cubicBez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srgbClr val="000000"/>
                    </a:solidFill>
                    <a:latin typeface="Univers for KPMG Light" panose="020B0403020202020204" pitchFamily="34" charset="0"/>
                  </a:endParaRPr>
                </a:p>
              </p:txBody>
            </p:sp>
            <p:sp>
              <p:nvSpPr>
                <p:cNvPr id="110" name="Freeform 109"/>
                <p:cNvSpPr/>
                <p:nvPr/>
              </p:nvSpPr>
              <p:spPr>
                <a:xfrm rot="12558262" flipH="1" flipV="1">
                  <a:off x="2737845" y="4354460"/>
                  <a:ext cx="3415795" cy="1334375"/>
                </a:xfrm>
                <a:custGeom>
                  <a:avLst/>
                  <a:gdLst>
                    <a:gd name="connsiteX0" fmla="*/ 7415 w 3100744"/>
                    <a:gd name="connsiteY0" fmla="*/ 406472 h 1223001"/>
                    <a:gd name="connsiteX1" fmla="*/ 92690 w 3100744"/>
                    <a:gd name="connsiteY1" fmla="*/ 423151 h 1223001"/>
                    <a:gd name="connsiteX2" fmla="*/ 3100681 w 3100744"/>
                    <a:gd name="connsiteY2" fmla="*/ 0 h 1223001"/>
                    <a:gd name="connsiteX3" fmla="*/ 3097226 w 3100744"/>
                    <a:gd name="connsiteY3" fmla="*/ 837510 h 1223001"/>
                    <a:gd name="connsiteX4" fmla="*/ 87755 w 3100744"/>
                    <a:gd name="connsiteY4" fmla="*/ 1141498 h 1223001"/>
                    <a:gd name="connsiteX5" fmla="*/ 27685 w 3100744"/>
                    <a:gd name="connsiteY5" fmla="*/ 1129802 h 1223001"/>
                    <a:gd name="connsiteX6" fmla="*/ 14534 w 3100744"/>
                    <a:gd name="connsiteY6" fmla="*/ 1009814 h 1223001"/>
                    <a:gd name="connsiteX7" fmla="*/ 1128 w 3100744"/>
                    <a:gd name="connsiteY7" fmla="*/ 537339 h 1223001"/>
                    <a:gd name="connsiteX0" fmla="*/ 7415 w 3100744"/>
                    <a:gd name="connsiteY0" fmla="*/ 406472 h 1223001"/>
                    <a:gd name="connsiteX1" fmla="*/ 92690 w 3100744"/>
                    <a:gd name="connsiteY1" fmla="*/ 423151 h 1223001"/>
                    <a:gd name="connsiteX2" fmla="*/ 3100681 w 3100744"/>
                    <a:gd name="connsiteY2" fmla="*/ 0 h 1223001"/>
                    <a:gd name="connsiteX3" fmla="*/ 3097226 w 3100744"/>
                    <a:gd name="connsiteY3" fmla="*/ 837510 h 1223001"/>
                    <a:gd name="connsiteX4" fmla="*/ 87755 w 3100744"/>
                    <a:gd name="connsiteY4" fmla="*/ 1141498 h 1223001"/>
                    <a:gd name="connsiteX5" fmla="*/ 14534 w 3100744"/>
                    <a:gd name="connsiteY5" fmla="*/ 1009814 h 1223001"/>
                    <a:gd name="connsiteX6" fmla="*/ 1128 w 3100744"/>
                    <a:gd name="connsiteY6" fmla="*/ 537339 h 1223001"/>
                    <a:gd name="connsiteX7" fmla="*/ 7415 w 3100744"/>
                    <a:gd name="connsiteY7" fmla="*/ 406472 h 1223001"/>
                    <a:gd name="connsiteX0" fmla="*/ 6287 w 3099616"/>
                    <a:gd name="connsiteY0" fmla="*/ 406472 h 1223001"/>
                    <a:gd name="connsiteX1" fmla="*/ 91562 w 3099616"/>
                    <a:gd name="connsiteY1" fmla="*/ 423151 h 1223001"/>
                    <a:gd name="connsiteX2" fmla="*/ 3099553 w 3099616"/>
                    <a:gd name="connsiteY2" fmla="*/ 0 h 1223001"/>
                    <a:gd name="connsiteX3" fmla="*/ 3096098 w 3099616"/>
                    <a:gd name="connsiteY3" fmla="*/ 837510 h 1223001"/>
                    <a:gd name="connsiteX4" fmla="*/ 86627 w 3099616"/>
                    <a:gd name="connsiteY4" fmla="*/ 1141498 h 1223001"/>
                    <a:gd name="connsiteX5" fmla="*/ 0 w 3099616"/>
                    <a:gd name="connsiteY5" fmla="*/ 537339 h 1223001"/>
                    <a:gd name="connsiteX6" fmla="*/ 6287 w 3099616"/>
                    <a:gd name="connsiteY6" fmla="*/ 406472 h 1223001"/>
                    <a:gd name="connsiteX0" fmla="*/ 6287 w 3099616"/>
                    <a:gd name="connsiteY0" fmla="*/ 406472 h 1223001"/>
                    <a:gd name="connsiteX1" fmla="*/ 91562 w 3099616"/>
                    <a:gd name="connsiteY1" fmla="*/ 423151 h 1223001"/>
                    <a:gd name="connsiteX2" fmla="*/ 3099553 w 3099616"/>
                    <a:gd name="connsiteY2" fmla="*/ 0 h 1223001"/>
                    <a:gd name="connsiteX3" fmla="*/ 3096098 w 3099616"/>
                    <a:gd name="connsiteY3" fmla="*/ 837510 h 1223001"/>
                    <a:gd name="connsiteX4" fmla="*/ 86627 w 3099616"/>
                    <a:gd name="connsiteY4" fmla="*/ 1141498 h 1223001"/>
                    <a:gd name="connsiteX5" fmla="*/ 0 w 3099616"/>
                    <a:gd name="connsiteY5" fmla="*/ 537339 h 1223001"/>
                    <a:gd name="connsiteX6" fmla="*/ 6287 w 3099616"/>
                    <a:gd name="connsiteY6" fmla="*/ 406472 h 1223001"/>
                    <a:gd name="connsiteX0" fmla="*/ 0 w 3093329"/>
                    <a:gd name="connsiteY0" fmla="*/ 406472 h 1223001"/>
                    <a:gd name="connsiteX1" fmla="*/ 85275 w 3093329"/>
                    <a:gd name="connsiteY1" fmla="*/ 423151 h 1223001"/>
                    <a:gd name="connsiteX2" fmla="*/ 3093266 w 3093329"/>
                    <a:gd name="connsiteY2" fmla="*/ 0 h 1223001"/>
                    <a:gd name="connsiteX3" fmla="*/ 3089811 w 3093329"/>
                    <a:gd name="connsiteY3" fmla="*/ 837510 h 1223001"/>
                    <a:gd name="connsiteX4" fmla="*/ 80340 w 3093329"/>
                    <a:gd name="connsiteY4" fmla="*/ 1141498 h 1223001"/>
                    <a:gd name="connsiteX5" fmla="*/ 0 w 3093329"/>
                    <a:gd name="connsiteY5" fmla="*/ 406472 h 1223001"/>
                    <a:gd name="connsiteX0" fmla="*/ 0 w 3093329"/>
                    <a:gd name="connsiteY0" fmla="*/ 406472 h 1223001"/>
                    <a:gd name="connsiteX1" fmla="*/ 85275 w 3093329"/>
                    <a:gd name="connsiteY1" fmla="*/ 423151 h 1223001"/>
                    <a:gd name="connsiteX2" fmla="*/ 3093266 w 3093329"/>
                    <a:gd name="connsiteY2" fmla="*/ 0 h 1223001"/>
                    <a:gd name="connsiteX3" fmla="*/ 3089811 w 3093329"/>
                    <a:gd name="connsiteY3" fmla="*/ 837510 h 1223001"/>
                    <a:gd name="connsiteX4" fmla="*/ 80340 w 3093329"/>
                    <a:gd name="connsiteY4" fmla="*/ 1141498 h 1223001"/>
                    <a:gd name="connsiteX5" fmla="*/ 0 w 3093329"/>
                    <a:gd name="connsiteY5" fmla="*/ 406472 h 1223001"/>
                    <a:gd name="connsiteX0" fmla="*/ 0 w 3093329"/>
                    <a:gd name="connsiteY0" fmla="*/ 406472 h 1223001"/>
                    <a:gd name="connsiteX1" fmla="*/ 85275 w 3093329"/>
                    <a:gd name="connsiteY1" fmla="*/ 423151 h 1223001"/>
                    <a:gd name="connsiteX2" fmla="*/ 3093266 w 3093329"/>
                    <a:gd name="connsiteY2" fmla="*/ 0 h 1223001"/>
                    <a:gd name="connsiteX3" fmla="*/ 3089811 w 3093329"/>
                    <a:gd name="connsiteY3" fmla="*/ 837510 h 1223001"/>
                    <a:gd name="connsiteX4" fmla="*/ 80340 w 3093329"/>
                    <a:gd name="connsiteY4" fmla="*/ 1141498 h 1223001"/>
                    <a:gd name="connsiteX5" fmla="*/ 0 w 3093329"/>
                    <a:gd name="connsiteY5" fmla="*/ 406472 h 1223001"/>
                    <a:gd name="connsiteX0" fmla="*/ 0 w 3093329"/>
                    <a:gd name="connsiteY0" fmla="*/ 406472 h 1219000"/>
                    <a:gd name="connsiteX1" fmla="*/ 85275 w 3093329"/>
                    <a:gd name="connsiteY1" fmla="*/ 423151 h 1219000"/>
                    <a:gd name="connsiteX2" fmla="*/ 3093266 w 3093329"/>
                    <a:gd name="connsiteY2" fmla="*/ 0 h 1219000"/>
                    <a:gd name="connsiteX3" fmla="*/ 3089811 w 3093329"/>
                    <a:gd name="connsiteY3" fmla="*/ 837510 h 1219000"/>
                    <a:gd name="connsiteX4" fmla="*/ 89350 w 3093329"/>
                    <a:gd name="connsiteY4" fmla="*/ 1136441 h 1219000"/>
                    <a:gd name="connsiteX5" fmla="*/ 0 w 3093329"/>
                    <a:gd name="connsiteY5" fmla="*/ 406472 h 1219000"/>
                    <a:gd name="connsiteX0" fmla="*/ 0 w 3093329"/>
                    <a:gd name="connsiteY0" fmla="*/ 406472 h 1220561"/>
                    <a:gd name="connsiteX1" fmla="*/ 85275 w 3093329"/>
                    <a:gd name="connsiteY1" fmla="*/ 423151 h 1220561"/>
                    <a:gd name="connsiteX2" fmla="*/ 3093266 w 3093329"/>
                    <a:gd name="connsiteY2" fmla="*/ 0 h 1220561"/>
                    <a:gd name="connsiteX3" fmla="*/ 3089811 w 3093329"/>
                    <a:gd name="connsiteY3" fmla="*/ 837510 h 1220561"/>
                    <a:gd name="connsiteX4" fmla="*/ 96384 w 3093329"/>
                    <a:gd name="connsiteY4" fmla="*/ 1138417 h 1220561"/>
                    <a:gd name="connsiteX5" fmla="*/ 0 w 3093329"/>
                    <a:gd name="connsiteY5" fmla="*/ 406472 h 1220561"/>
                    <a:gd name="connsiteX0" fmla="*/ 0 w 3093329"/>
                    <a:gd name="connsiteY0" fmla="*/ 406472 h 1220561"/>
                    <a:gd name="connsiteX1" fmla="*/ 85275 w 3093329"/>
                    <a:gd name="connsiteY1" fmla="*/ 423151 h 1220561"/>
                    <a:gd name="connsiteX2" fmla="*/ 3093266 w 3093329"/>
                    <a:gd name="connsiteY2" fmla="*/ 0 h 1220561"/>
                    <a:gd name="connsiteX3" fmla="*/ 3089811 w 3093329"/>
                    <a:gd name="connsiteY3" fmla="*/ 837510 h 1220561"/>
                    <a:gd name="connsiteX4" fmla="*/ 96384 w 3093329"/>
                    <a:gd name="connsiteY4" fmla="*/ 1138417 h 1220561"/>
                    <a:gd name="connsiteX5" fmla="*/ 0 w 3093329"/>
                    <a:gd name="connsiteY5" fmla="*/ 406472 h 1220561"/>
                    <a:gd name="connsiteX0" fmla="*/ 0 w 3093329"/>
                    <a:gd name="connsiteY0" fmla="*/ 406472 h 1217007"/>
                    <a:gd name="connsiteX1" fmla="*/ 85275 w 3093329"/>
                    <a:gd name="connsiteY1" fmla="*/ 423151 h 1217007"/>
                    <a:gd name="connsiteX2" fmla="*/ 3093266 w 3093329"/>
                    <a:gd name="connsiteY2" fmla="*/ 0 h 1217007"/>
                    <a:gd name="connsiteX3" fmla="*/ 3089811 w 3093329"/>
                    <a:gd name="connsiteY3" fmla="*/ 837510 h 1217007"/>
                    <a:gd name="connsiteX4" fmla="*/ 93855 w 3093329"/>
                    <a:gd name="connsiteY4" fmla="*/ 1133911 h 1217007"/>
                    <a:gd name="connsiteX5" fmla="*/ 0 w 3093329"/>
                    <a:gd name="connsiteY5" fmla="*/ 406472 h 1217007"/>
                    <a:gd name="connsiteX0" fmla="*/ 0 w 3093329"/>
                    <a:gd name="connsiteY0" fmla="*/ 406472 h 1217007"/>
                    <a:gd name="connsiteX1" fmla="*/ 85275 w 3093329"/>
                    <a:gd name="connsiteY1" fmla="*/ 423151 h 1217007"/>
                    <a:gd name="connsiteX2" fmla="*/ 3093266 w 3093329"/>
                    <a:gd name="connsiteY2" fmla="*/ 0 h 1217007"/>
                    <a:gd name="connsiteX3" fmla="*/ 3089811 w 3093329"/>
                    <a:gd name="connsiteY3" fmla="*/ 837510 h 1217007"/>
                    <a:gd name="connsiteX4" fmla="*/ 93855 w 3093329"/>
                    <a:gd name="connsiteY4" fmla="*/ 1133911 h 1217007"/>
                    <a:gd name="connsiteX5" fmla="*/ 0 w 3093329"/>
                    <a:gd name="connsiteY5" fmla="*/ 406472 h 1217007"/>
                    <a:gd name="connsiteX0" fmla="*/ 4156 w 3097485"/>
                    <a:gd name="connsiteY0" fmla="*/ 406472 h 1217007"/>
                    <a:gd name="connsiteX1" fmla="*/ 89431 w 3097485"/>
                    <a:gd name="connsiteY1" fmla="*/ 423151 h 1217007"/>
                    <a:gd name="connsiteX2" fmla="*/ 3097422 w 3097485"/>
                    <a:gd name="connsiteY2" fmla="*/ 0 h 1217007"/>
                    <a:gd name="connsiteX3" fmla="*/ 3093967 w 3097485"/>
                    <a:gd name="connsiteY3" fmla="*/ 837510 h 1217007"/>
                    <a:gd name="connsiteX4" fmla="*/ 98011 w 3097485"/>
                    <a:gd name="connsiteY4" fmla="*/ 1133911 h 1217007"/>
                    <a:gd name="connsiteX5" fmla="*/ 4156 w 3097485"/>
                    <a:gd name="connsiteY5" fmla="*/ 406472 h 1217007"/>
                    <a:gd name="connsiteX0" fmla="*/ 233 w 3093562"/>
                    <a:gd name="connsiteY0" fmla="*/ 406472 h 1217007"/>
                    <a:gd name="connsiteX1" fmla="*/ 85508 w 3093562"/>
                    <a:gd name="connsiteY1" fmla="*/ 423151 h 1217007"/>
                    <a:gd name="connsiteX2" fmla="*/ 3093499 w 3093562"/>
                    <a:gd name="connsiteY2" fmla="*/ 0 h 1217007"/>
                    <a:gd name="connsiteX3" fmla="*/ 3090044 w 3093562"/>
                    <a:gd name="connsiteY3" fmla="*/ 837510 h 1217007"/>
                    <a:gd name="connsiteX4" fmla="*/ 94088 w 3093562"/>
                    <a:gd name="connsiteY4" fmla="*/ 1133911 h 1217007"/>
                    <a:gd name="connsiteX5" fmla="*/ 233 w 3093562"/>
                    <a:gd name="connsiteY5" fmla="*/ 406472 h 1217007"/>
                    <a:gd name="connsiteX0" fmla="*/ 24 w 3093353"/>
                    <a:gd name="connsiteY0" fmla="*/ 406472 h 1217007"/>
                    <a:gd name="connsiteX1" fmla="*/ 85299 w 3093353"/>
                    <a:gd name="connsiteY1" fmla="*/ 423151 h 1217007"/>
                    <a:gd name="connsiteX2" fmla="*/ 3093290 w 3093353"/>
                    <a:gd name="connsiteY2" fmla="*/ 0 h 1217007"/>
                    <a:gd name="connsiteX3" fmla="*/ 3089835 w 3093353"/>
                    <a:gd name="connsiteY3" fmla="*/ 837510 h 1217007"/>
                    <a:gd name="connsiteX4" fmla="*/ 93879 w 3093353"/>
                    <a:gd name="connsiteY4" fmla="*/ 1133911 h 1217007"/>
                    <a:gd name="connsiteX5" fmla="*/ 24 w 3093353"/>
                    <a:gd name="connsiteY5" fmla="*/ 406472 h 1217007"/>
                    <a:gd name="connsiteX0" fmla="*/ 100 w 3093429"/>
                    <a:gd name="connsiteY0" fmla="*/ 406472 h 1217007"/>
                    <a:gd name="connsiteX1" fmla="*/ 85375 w 3093429"/>
                    <a:gd name="connsiteY1" fmla="*/ 423151 h 1217007"/>
                    <a:gd name="connsiteX2" fmla="*/ 3093366 w 3093429"/>
                    <a:gd name="connsiteY2" fmla="*/ 0 h 1217007"/>
                    <a:gd name="connsiteX3" fmla="*/ 3089911 w 3093429"/>
                    <a:gd name="connsiteY3" fmla="*/ 837510 h 1217007"/>
                    <a:gd name="connsiteX4" fmla="*/ 93955 w 3093429"/>
                    <a:gd name="connsiteY4" fmla="*/ 1133911 h 1217007"/>
                    <a:gd name="connsiteX5" fmla="*/ 100 w 3093429"/>
                    <a:gd name="connsiteY5" fmla="*/ 406472 h 1217007"/>
                    <a:gd name="connsiteX0" fmla="*/ 82 w 3093411"/>
                    <a:gd name="connsiteY0" fmla="*/ 406472 h 1217007"/>
                    <a:gd name="connsiteX1" fmla="*/ 85357 w 3093411"/>
                    <a:gd name="connsiteY1" fmla="*/ 423151 h 1217007"/>
                    <a:gd name="connsiteX2" fmla="*/ 3093348 w 3093411"/>
                    <a:gd name="connsiteY2" fmla="*/ 0 h 1217007"/>
                    <a:gd name="connsiteX3" fmla="*/ 3089893 w 3093411"/>
                    <a:gd name="connsiteY3" fmla="*/ 837510 h 1217007"/>
                    <a:gd name="connsiteX4" fmla="*/ 93937 w 3093411"/>
                    <a:gd name="connsiteY4" fmla="*/ 1133911 h 1217007"/>
                    <a:gd name="connsiteX5" fmla="*/ 82 w 3093411"/>
                    <a:gd name="connsiteY5" fmla="*/ 406472 h 1217007"/>
                    <a:gd name="connsiteX0" fmla="*/ 127 w 3093456"/>
                    <a:gd name="connsiteY0" fmla="*/ 406472 h 1217007"/>
                    <a:gd name="connsiteX1" fmla="*/ 85402 w 3093456"/>
                    <a:gd name="connsiteY1" fmla="*/ 423151 h 1217007"/>
                    <a:gd name="connsiteX2" fmla="*/ 3093393 w 3093456"/>
                    <a:gd name="connsiteY2" fmla="*/ 0 h 1217007"/>
                    <a:gd name="connsiteX3" fmla="*/ 3089938 w 3093456"/>
                    <a:gd name="connsiteY3" fmla="*/ 837510 h 1217007"/>
                    <a:gd name="connsiteX4" fmla="*/ 93982 w 3093456"/>
                    <a:gd name="connsiteY4" fmla="*/ 1133911 h 1217007"/>
                    <a:gd name="connsiteX5" fmla="*/ 127 w 3093456"/>
                    <a:gd name="connsiteY5" fmla="*/ 406472 h 1217007"/>
                    <a:gd name="connsiteX0" fmla="*/ 750 w 3094079"/>
                    <a:gd name="connsiteY0" fmla="*/ 406472 h 1217007"/>
                    <a:gd name="connsiteX1" fmla="*/ 86025 w 3094079"/>
                    <a:gd name="connsiteY1" fmla="*/ 423151 h 1217007"/>
                    <a:gd name="connsiteX2" fmla="*/ 3094016 w 3094079"/>
                    <a:gd name="connsiteY2" fmla="*/ 0 h 1217007"/>
                    <a:gd name="connsiteX3" fmla="*/ 3090561 w 3094079"/>
                    <a:gd name="connsiteY3" fmla="*/ 837510 h 1217007"/>
                    <a:gd name="connsiteX4" fmla="*/ 94605 w 3094079"/>
                    <a:gd name="connsiteY4" fmla="*/ 1133911 h 1217007"/>
                    <a:gd name="connsiteX5" fmla="*/ 750 w 3094079"/>
                    <a:gd name="connsiteY5" fmla="*/ 406472 h 1217007"/>
                    <a:gd name="connsiteX0" fmla="*/ 576 w 3095881"/>
                    <a:gd name="connsiteY0" fmla="*/ 413505 h 1217007"/>
                    <a:gd name="connsiteX1" fmla="*/ 87827 w 3095881"/>
                    <a:gd name="connsiteY1" fmla="*/ 423151 h 1217007"/>
                    <a:gd name="connsiteX2" fmla="*/ 3095818 w 3095881"/>
                    <a:gd name="connsiteY2" fmla="*/ 0 h 1217007"/>
                    <a:gd name="connsiteX3" fmla="*/ 3092363 w 3095881"/>
                    <a:gd name="connsiteY3" fmla="*/ 837510 h 1217007"/>
                    <a:gd name="connsiteX4" fmla="*/ 96407 w 3095881"/>
                    <a:gd name="connsiteY4" fmla="*/ 1133911 h 1217007"/>
                    <a:gd name="connsiteX5" fmla="*/ 576 w 3095881"/>
                    <a:gd name="connsiteY5" fmla="*/ 413505 h 1217007"/>
                    <a:gd name="connsiteX0" fmla="*/ 3281 w 3082170"/>
                    <a:gd name="connsiteY0" fmla="*/ 429778 h 1217007"/>
                    <a:gd name="connsiteX1" fmla="*/ 74116 w 3082170"/>
                    <a:gd name="connsiteY1" fmla="*/ 423151 h 1217007"/>
                    <a:gd name="connsiteX2" fmla="*/ 3082107 w 3082170"/>
                    <a:gd name="connsiteY2" fmla="*/ 0 h 1217007"/>
                    <a:gd name="connsiteX3" fmla="*/ 3078652 w 3082170"/>
                    <a:gd name="connsiteY3" fmla="*/ 837510 h 1217007"/>
                    <a:gd name="connsiteX4" fmla="*/ 82696 w 3082170"/>
                    <a:gd name="connsiteY4" fmla="*/ 1133911 h 1217007"/>
                    <a:gd name="connsiteX5" fmla="*/ 3281 w 3082170"/>
                    <a:gd name="connsiteY5" fmla="*/ 429778 h 1217007"/>
                    <a:gd name="connsiteX0" fmla="*/ 633 w 3079522"/>
                    <a:gd name="connsiteY0" fmla="*/ 429778 h 1218653"/>
                    <a:gd name="connsiteX1" fmla="*/ 71468 w 3079522"/>
                    <a:gd name="connsiteY1" fmla="*/ 423151 h 1218653"/>
                    <a:gd name="connsiteX2" fmla="*/ 3079459 w 3079522"/>
                    <a:gd name="connsiteY2" fmla="*/ 0 h 1218653"/>
                    <a:gd name="connsiteX3" fmla="*/ 3076004 w 3079522"/>
                    <a:gd name="connsiteY3" fmla="*/ 837510 h 1218653"/>
                    <a:gd name="connsiteX4" fmla="*/ 95784 w 3079522"/>
                    <a:gd name="connsiteY4" fmla="*/ 1136001 h 1218653"/>
                    <a:gd name="connsiteX5" fmla="*/ 633 w 3079522"/>
                    <a:gd name="connsiteY5" fmla="*/ 429778 h 1218653"/>
                    <a:gd name="connsiteX0" fmla="*/ 27 w 3078916"/>
                    <a:gd name="connsiteY0" fmla="*/ 429778 h 1218653"/>
                    <a:gd name="connsiteX1" fmla="*/ 70862 w 3078916"/>
                    <a:gd name="connsiteY1" fmla="*/ 423151 h 1218653"/>
                    <a:gd name="connsiteX2" fmla="*/ 3078853 w 3078916"/>
                    <a:gd name="connsiteY2" fmla="*/ 0 h 1218653"/>
                    <a:gd name="connsiteX3" fmla="*/ 3075398 w 3078916"/>
                    <a:gd name="connsiteY3" fmla="*/ 837510 h 1218653"/>
                    <a:gd name="connsiteX4" fmla="*/ 95178 w 3078916"/>
                    <a:gd name="connsiteY4" fmla="*/ 1136001 h 1218653"/>
                    <a:gd name="connsiteX5" fmla="*/ 27 w 3078916"/>
                    <a:gd name="connsiteY5" fmla="*/ 429778 h 1218653"/>
                    <a:gd name="connsiteX0" fmla="*/ 356 w 3079245"/>
                    <a:gd name="connsiteY0" fmla="*/ 429778 h 1218653"/>
                    <a:gd name="connsiteX1" fmla="*/ 71191 w 3079245"/>
                    <a:gd name="connsiteY1" fmla="*/ 423151 h 1218653"/>
                    <a:gd name="connsiteX2" fmla="*/ 3079182 w 3079245"/>
                    <a:gd name="connsiteY2" fmla="*/ 0 h 1218653"/>
                    <a:gd name="connsiteX3" fmla="*/ 3075727 w 3079245"/>
                    <a:gd name="connsiteY3" fmla="*/ 837510 h 1218653"/>
                    <a:gd name="connsiteX4" fmla="*/ 95507 w 3079245"/>
                    <a:gd name="connsiteY4" fmla="*/ 1136001 h 1218653"/>
                    <a:gd name="connsiteX5" fmla="*/ 356 w 3079245"/>
                    <a:gd name="connsiteY5" fmla="*/ 429778 h 1218653"/>
                    <a:gd name="connsiteX0" fmla="*/ 1775 w 3068036"/>
                    <a:gd name="connsiteY0" fmla="*/ 426331 h 1218653"/>
                    <a:gd name="connsiteX1" fmla="*/ 59982 w 3068036"/>
                    <a:gd name="connsiteY1" fmla="*/ 423151 h 1218653"/>
                    <a:gd name="connsiteX2" fmla="*/ 3067973 w 3068036"/>
                    <a:gd name="connsiteY2" fmla="*/ 0 h 1218653"/>
                    <a:gd name="connsiteX3" fmla="*/ 3064518 w 3068036"/>
                    <a:gd name="connsiteY3" fmla="*/ 837510 h 1218653"/>
                    <a:gd name="connsiteX4" fmla="*/ 84298 w 3068036"/>
                    <a:gd name="connsiteY4" fmla="*/ 1136001 h 1218653"/>
                    <a:gd name="connsiteX5" fmla="*/ 1775 w 3068036"/>
                    <a:gd name="connsiteY5" fmla="*/ 426331 h 1218653"/>
                    <a:gd name="connsiteX0" fmla="*/ 404 w 3078418"/>
                    <a:gd name="connsiteY0" fmla="*/ 418365 h 1218653"/>
                    <a:gd name="connsiteX1" fmla="*/ 70364 w 3078418"/>
                    <a:gd name="connsiteY1" fmla="*/ 423151 h 1218653"/>
                    <a:gd name="connsiteX2" fmla="*/ 3078355 w 3078418"/>
                    <a:gd name="connsiteY2" fmla="*/ 0 h 1218653"/>
                    <a:gd name="connsiteX3" fmla="*/ 3074900 w 3078418"/>
                    <a:gd name="connsiteY3" fmla="*/ 837510 h 1218653"/>
                    <a:gd name="connsiteX4" fmla="*/ 94680 w 3078418"/>
                    <a:gd name="connsiteY4" fmla="*/ 1136001 h 1218653"/>
                    <a:gd name="connsiteX5" fmla="*/ 404 w 3078418"/>
                    <a:gd name="connsiteY5" fmla="*/ 418365 h 1218653"/>
                    <a:gd name="connsiteX0" fmla="*/ 868 w 3078882"/>
                    <a:gd name="connsiteY0" fmla="*/ 418365 h 1221108"/>
                    <a:gd name="connsiteX1" fmla="*/ 70828 w 3078882"/>
                    <a:gd name="connsiteY1" fmla="*/ 423151 h 1221108"/>
                    <a:gd name="connsiteX2" fmla="*/ 3078819 w 3078882"/>
                    <a:gd name="connsiteY2" fmla="*/ 0 h 1221108"/>
                    <a:gd name="connsiteX3" fmla="*/ 3075364 w 3078882"/>
                    <a:gd name="connsiteY3" fmla="*/ 837510 h 1221108"/>
                    <a:gd name="connsiteX4" fmla="*/ 89608 w 3078882"/>
                    <a:gd name="connsiteY4" fmla="*/ 1139109 h 1221108"/>
                    <a:gd name="connsiteX5" fmla="*/ 868 w 3078882"/>
                    <a:gd name="connsiteY5" fmla="*/ 418365 h 1221108"/>
                    <a:gd name="connsiteX0" fmla="*/ 12 w 3078026"/>
                    <a:gd name="connsiteY0" fmla="*/ 418365 h 1221108"/>
                    <a:gd name="connsiteX1" fmla="*/ 69972 w 3078026"/>
                    <a:gd name="connsiteY1" fmla="*/ 423151 h 1221108"/>
                    <a:gd name="connsiteX2" fmla="*/ 3077963 w 3078026"/>
                    <a:gd name="connsiteY2" fmla="*/ 0 h 1221108"/>
                    <a:gd name="connsiteX3" fmla="*/ 3074508 w 3078026"/>
                    <a:gd name="connsiteY3" fmla="*/ 837510 h 1221108"/>
                    <a:gd name="connsiteX4" fmla="*/ 88752 w 3078026"/>
                    <a:gd name="connsiteY4" fmla="*/ 1139109 h 1221108"/>
                    <a:gd name="connsiteX5" fmla="*/ 12 w 3078026"/>
                    <a:gd name="connsiteY5" fmla="*/ 418365 h 1221108"/>
                    <a:gd name="connsiteX0" fmla="*/ 145 w 3078159"/>
                    <a:gd name="connsiteY0" fmla="*/ 418365 h 1221108"/>
                    <a:gd name="connsiteX1" fmla="*/ 70105 w 3078159"/>
                    <a:gd name="connsiteY1" fmla="*/ 423151 h 1221108"/>
                    <a:gd name="connsiteX2" fmla="*/ 3078096 w 3078159"/>
                    <a:gd name="connsiteY2" fmla="*/ 0 h 1221108"/>
                    <a:gd name="connsiteX3" fmla="*/ 3074641 w 3078159"/>
                    <a:gd name="connsiteY3" fmla="*/ 837510 h 1221108"/>
                    <a:gd name="connsiteX4" fmla="*/ 88885 w 3078159"/>
                    <a:gd name="connsiteY4" fmla="*/ 1139109 h 1221108"/>
                    <a:gd name="connsiteX5" fmla="*/ 145 w 3078159"/>
                    <a:gd name="connsiteY5" fmla="*/ 418365 h 1221108"/>
                    <a:gd name="connsiteX0" fmla="*/ 1120 w 3064952"/>
                    <a:gd name="connsiteY0" fmla="*/ 417685 h 1221108"/>
                    <a:gd name="connsiteX1" fmla="*/ 56898 w 3064952"/>
                    <a:gd name="connsiteY1" fmla="*/ 423151 h 1221108"/>
                    <a:gd name="connsiteX2" fmla="*/ 3064889 w 3064952"/>
                    <a:gd name="connsiteY2" fmla="*/ 0 h 1221108"/>
                    <a:gd name="connsiteX3" fmla="*/ 3061434 w 3064952"/>
                    <a:gd name="connsiteY3" fmla="*/ 837510 h 1221108"/>
                    <a:gd name="connsiteX4" fmla="*/ 75678 w 3064952"/>
                    <a:gd name="connsiteY4" fmla="*/ 1139109 h 1221108"/>
                    <a:gd name="connsiteX5" fmla="*/ 1120 w 3064952"/>
                    <a:gd name="connsiteY5" fmla="*/ 417685 h 1221108"/>
                    <a:gd name="connsiteX0" fmla="*/ 384 w 3071646"/>
                    <a:gd name="connsiteY0" fmla="*/ 410932 h 1221108"/>
                    <a:gd name="connsiteX1" fmla="*/ 63592 w 3071646"/>
                    <a:gd name="connsiteY1" fmla="*/ 423151 h 1221108"/>
                    <a:gd name="connsiteX2" fmla="*/ 3071583 w 3071646"/>
                    <a:gd name="connsiteY2" fmla="*/ 0 h 1221108"/>
                    <a:gd name="connsiteX3" fmla="*/ 3068128 w 3071646"/>
                    <a:gd name="connsiteY3" fmla="*/ 837510 h 1221108"/>
                    <a:gd name="connsiteX4" fmla="*/ 82372 w 3071646"/>
                    <a:gd name="connsiteY4" fmla="*/ 1139109 h 1221108"/>
                    <a:gd name="connsiteX5" fmla="*/ 384 w 3071646"/>
                    <a:gd name="connsiteY5" fmla="*/ 410932 h 1221108"/>
                    <a:gd name="connsiteX0" fmla="*/ 1091 w 3072353"/>
                    <a:gd name="connsiteY0" fmla="*/ 410932 h 1221108"/>
                    <a:gd name="connsiteX1" fmla="*/ 64299 w 3072353"/>
                    <a:gd name="connsiteY1" fmla="*/ 423151 h 1221108"/>
                    <a:gd name="connsiteX2" fmla="*/ 3072290 w 3072353"/>
                    <a:gd name="connsiteY2" fmla="*/ 0 h 1221108"/>
                    <a:gd name="connsiteX3" fmla="*/ 3068835 w 3072353"/>
                    <a:gd name="connsiteY3" fmla="*/ 837510 h 1221108"/>
                    <a:gd name="connsiteX4" fmla="*/ 83079 w 3072353"/>
                    <a:gd name="connsiteY4" fmla="*/ 1139109 h 1221108"/>
                    <a:gd name="connsiteX5" fmla="*/ 1091 w 3072353"/>
                    <a:gd name="connsiteY5" fmla="*/ 410932 h 1221108"/>
                    <a:gd name="connsiteX0" fmla="*/ 410 w 3078764"/>
                    <a:gd name="connsiteY0" fmla="*/ 411271 h 1221108"/>
                    <a:gd name="connsiteX1" fmla="*/ 70710 w 3078764"/>
                    <a:gd name="connsiteY1" fmla="*/ 423151 h 1221108"/>
                    <a:gd name="connsiteX2" fmla="*/ 3078701 w 3078764"/>
                    <a:gd name="connsiteY2" fmla="*/ 0 h 1221108"/>
                    <a:gd name="connsiteX3" fmla="*/ 3075246 w 3078764"/>
                    <a:gd name="connsiteY3" fmla="*/ 837510 h 1221108"/>
                    <a:gd name="connsiteX4" fmla="*/ 89490 w 3078764"/>
                    <a:gd name="connsiteY4" fmla="*/ 1139109 h 1221108"/>
                    <a:gd name="connsiteX5" fmla="*/ 410 w 3078764"/>
                    <a:gd name="connsiteY5" fmla="*/ 411271 h 1221108"/>
                    <a:gd name="connsiteX0" fmla="*/ 761 w 3079115"/>
                    <a:gd name="connsiteY0" fmla="*/ 411271 h 1220147"/>
                    <a:gd name="connsiteX1" fmla="*/ 71061 w 3079115"/>
                    <a:gd name="connsiteY1" fmla="*/ 423151 h 1220147"/>
                    <a:gd name="connsiteX2" fmla="*/ 3079052 w 3079115"/>
                    <a:gd name="connsiteY2" fmla="*/ 0 h 1220147"/>
                    <a:gd name="connsiteX3" fmla="*/ 3075597 w 3079115"/>
                    <a:gd name="connsiteY3" fmla="*/ 837510 h 1220147"/>
                    <a:gd name="connsiteX4" fmla="*/ 85518 w 3079115"/>
                    <a:gd name="connsiteY4" fmla="*/ 1137894 h 1220147"/>
                    <a:gd name="connsiteX5" fmla="*/ 761 w 3079115"/>
                    <a:gd name="connsiteY5" fmla="*/ 411271 h 1220147"/>
                    <a:gd name="connsiteX0" fmla="*/ 1290 w 3075490"/>
                    <a:gd name="connsiteY0" fmla="*/ 408940 h 1220147"/>
                    <a:gd name="connsiteX1" fmla="*/ 67436 w 3075490"/>
                    <a:gd name="connsiteY1" fmla="*/ 423151 h 1220147"/>
                    <a:gd name="connsiteX2" fmla="*/ 3075427 w 3075490"/>
                    <a:gd name="connsiteY2" fmla="*/ 0 h 1220147"/>
                    <a:gd name="connsiteX3" fmla="*/ 3071972 w 3075490"/>
                    <a:gd name="connsiteY3" fmla="*/ 837510 h 1220147"/>
                    <a:gd name="connsiteX4" fmla="*/ 81893 w 3075490"/>
                    <a:gd name="connsiteY4" fmla="*/ 1137894 h 1220147"/>
                    <a:gd name="connsiteX5" fmla="*/ 1290 w 3075490"/>
                    <a:gd name="connsiteY5" fmla="*/ 408940 h 1220147"/>
                    <a:gd name="connsiteX0" fmla="*/ 860 w 3078302"/>
                    <a:gd name="connsiteY0" fmla="*/ 408029 h 1220147"/>
                    <a:gd name="connsiteX1" fmla="*/ 70248 w 3078302"/>
                    <a:gd name="connsiteY1" fmla="*/ 423151 h 1220147"/>
                    <a:gd name="connsiteX2" fmla="*/ 3078239 w 3078302"/>
                    <a:gd name="connsiteY2" fmla="*/ 0 h 1220147"/>
                    <a:gd name="connsiteX3" fmla="*/ 3074784 w 3078302"/>
                    <a:gd name="connsiteY3" fmla="*/ 837510 h 1220147"/>
                    <a:gd name="connsiteX4" fmla="*/ 84705 w 3078302"/>
                    <a:gd name="connsiteY4" fmla="*/ 1137894 h 1220147"/>
                    <a:gd name="connsiteX5" fmla="*/ 860 w 3078302"/>
                    <a:gd name="connsiteY5" fmla="*/ 408029 h 1220147"/>
                    <a:gd name="connsiteX0" fmla="*/ 1331 w 3078773"/>
                    <a:gd name="connsiteY0" fmla="*/ 408029 h 1220147"/>
                    <a:gd name="connsiteX1" fmla="*/ 70719 w 3078773"/>
                    <a:gd name="connsiteY1" fmla="*/ 423151 h 1220147"/>
                    <a:gd name="connsiteX2" fmla="*/ 3078710 w 3078773"/>
                    <a:gd name="connsiteY2" fmla="*/ 0 h 1220147"/>
                    <a:gd name="connsiteX3" fmla="*/ 3075255 w 3078773"/>
                    <a:gd name="connsiteY3" fmla="*/ 837510 h 1220147"/>
                    <a:gd name="connsiteX4" fmla="*/ 85176 w 3078773"/>
                    <a:gd name="connsiteY4" fmla="*/ 1137894 h 1220147"/>
                    <a:gd name="connsiteX5" fmla="*/ 1331 w 3078773"/>
                    <a:gd name="connsiteY5" fmla="*/ 408029 h 1220147"/>
                    <a:gd name="connsiteX0" fmla="*/ 1331 w 3075255"/>
                    <a:gd name="connsiteY0" fmla="*/ 398048 h 1210166"/>
                    <a:gd name="connsiteX1" fmla="*/ 70719 w 3075255"/>
                    <a:gd name="connsiteY1" fmla="*/ 413170 h 1210166"/>
                    <a:gd name="connsiteX2" fmla="*/ 3070658 w 3075255"/>
                    <a:gd name="connsiteY2" fmla="*/ 0 h 1210166"/>
                    <a:gd name="connsiteX3" fmla="*/ 3075255 w 3075255"/>
                    <a:gd name="connsiteY3" fmla="*/ 827529 h 1210166"/>
                    <a:gd name="connsiteX4" fmla="*/ 85176 w 3075255"/>
                    <a:gd name="connsiteY4" fmla="*/ 1127913 h 1210166"/>
                    <a:gd name="connsiteX5" fmla="*/ 1331 w 3075255"/>
                    <a:gd name="connsiteY5" fmla="*/ 398048 h 1210166"/>
                    <a:gd name="connsiteX0" fmla="*/ 1331 w 3082269"/>
                    <a:gd name="connsiteY0" fmla="*/ 401798 h 1213916"/>
                    <a:gd name="connsiteX1" fmla="*/ 70719 w 3082269"/>
                    <a:gd name="connsiteY1" fmla="*/ 416920 h 1213916"/>
                    <a:gd name="connsiteX2" fmla="*/ 3082206 w 3082269"/>
                    <a:gd name="connsiteY2" fmla="*/ 0 h 1213916"/>
                    <a:gd name="connsiteX3" fmla="*/ 3075255 w 3082269"/>
                    <a:gd name="connsiteY3" fmla="*/ 831279 h 1213916"/>
                    <a:gd name="connsiteX4" fmla="*/ 85176 w 3082269"/>
                    <a:gd name="connsiteY4" fmla="*/ 1131663 h 1213916"/>
                    <a:gd name="connsiteX5" fmla="*/ 1331 w 3082269"/>
                    <a:gd name="connsiteY5" fmla="*/ 401798 h 1213916"/>
                    <a:gd name="connsiteX0" fmla="*/ 1331 w 3083786"/>
                    <a:gd name="connsiteY0" fmla="*/ 401798 h 1213916"/>
                    <a:gd name="connsiteX1" fmla="*/ 70719 w 3083786"/>
                    <a:gd name="connsiteY1" fmla="*/ 416920 h 1213916"/>
                    <a:gd name="connsiteX2" fmla="*/ 3082206 w 3083786"/>
                    <a:gd name="connsiteY2" fmla="*/ 0 h 1213916"/>
                    <a:gd name="connsiteX3" fmla="*/ 3075255 w 3083786"/>
                    <a:gd name="connsiteY3" fmla="*/ 831279 h 1213916"/>
                    <a:gd name="connsiteX4" fmla="*/ 85176 w 3083786"/>
                    <a:gd name="connsiteY4" fmla="*/ 1131663 h 1213916"/>
                    <a:gd name="connsiteX5" fmla="*/ 1331 w 3083786"/>
                    <a:gd name="connsiteY5" fmla="*/ 401798 h 1213916"/>
                    <a:gd name="connsiteX0" fmla="*/ 1331 w 3076091"/>
                    <a:gd name="connsiteY0" fmla="*/ 388576 h 1200694"/>
                    <a:gd name="connsiteX1" fmla="*/ 70719 w 3076091"/>
                    <a:gd name="connsiteY1" fmla="*/ 403698 h 1200694"/>
                    <a:gd name="connsiteX2" fmla="*/ 3073243 w 3076091"/>
                    <a:gd name="connsiteY2" fmla="*/ 0 h 1200694"/>
                    <a:gd name="connsiteX3" fmla="*/ 3075255 w 3076091"/>
                    <a:gd name="connsiteY3" fmla="*/ 818057 h 1200694"/>
                    <a:gd name="connsiteX4" fmla="*/ 85176 w 3076091"/>
                    <a:gd name="connsiteY4" fmla="*/ 1118441 h 1200694"/>
                    <a:gd name="connsiteX5" fmla="*/ 1331 w 3076091"/>
                    <a:gd name="connsiteY5" fmla="*/ 388576 h 1200694"/>
                    <a:gd name="connsiteX0" fmla="*/ 1331 w 3076784"/>
                    <a:gd name="connsiteY0" fmla="*/ 391818 h 1203936"/>
                    <a:gd name="connsiteX1" fmla="*/ 70719 w 3076784"/>
                    <a:gd name="connsiteY1" fmla="*/ 406940 h 1203936"/>
                    <a:gd name="connsiteX2" fmla="*/ 3074154 w 3076784"/>
                    <a:gd name="connsiteY2" fmla="*/ 0 h 1203936"/>
                    <a:gd name="connsiteX3" fmla="*/ 3075255 w 3076784"/>
                    <a:gd name="connsiteY3" fmla="*/ 821299 h 1203936"/>
                    <a:gd name="connsiteX4" fmla="*/ 85176 w 3076784"/>
                    <a:gd name="connsiteY4" fmla="*/ 1121683 h 1203936"/>
                    <a:gd name="connsiteX5" fmla="*/ 1331 w 3076784"/>
                    <a:gd name="connsiteY5" fmla="*/ 391818 h 1203936"/>
                    <a:gd name="connsiteX0" fmla="*/ 1331 w 3081891"/>
                    <a:gd name="connsiteY0" fmla="*/ 391818 h 1203936"/>
                    <a:gd name="connsiteX1" fmla="*/ 70719 w 3081891"/>
                    <a:gd name="connsiteY1" fmla="*/ 406940 h 1203936"/>
                    <a:gd name="connsiteX2" fmla="*/ 3074154 w 3081891"/>
                    <a:gd name="connsiteY2" fmla="*/ 0 h 1203936"/>
                    <a:gd name="connsiteX3" fmla="*/ 3075255 w 3081891"/>
                    <a:gd name="connsiteY3" fmla="*/ 821299 h 1203936"/>
                    <a:gd name="connsiteX4" fmla="*/ 85176 w 3081891"/>
                    <a:gd name="connsiteY4" fmla="*/ 1121683 h 1203936"/>
                    <a:gd name="connsiteX5" fmla="*/ 1331 w 3081891"/>
                    <a:gd name="connsiteY5" fmla="*/ 391818 h 120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1891" h="1203936">
                      <a:moveTo>
                        <a:pt x="1331" y="391818"/>
                      </a:moveTo>
                      <a:lnTo>
                        <a:pt x="70719" y="406940"/>
                      </a:lnTo>
                      <a:cubicBezTo>
                        <a:pt x="1184824" y="598862"/>
                        <a:pt x="3086931" y="376559"/>
                        <a:pt x="3074154" y="0"/>
                      </a:cubicBezTo>
                      <a:cubicBezTo>
                        <a:pt x="3080717" y="236084"/>
                        <a:pt x="3087135" y="538928"/>
                        <a:pt x="3075255" y="821299"/>
                      </a:cubicBezTo>
                      <a:cubicBezTo>
                        <a:pt x="3047396" y="1154313"/>
                        <a:pt x="1180931" y="1312558"/>
                        <a:pt x="85176" y="1121683"/>
                      </a:cubicBezTo>
                      <a:cubicBezTo>
                        <a:pt x="-14348" y="899761"/>
                        <a:pt x="298" y="587272"/>
                        <a:pt x="1331" y="391818"/>
                      </a:cubicBezTo>
                      <a:close/>
                    </a:path>
                  </a:pathLst>
                </a:custGeom>
                <a:gradFill flip="none" rotWithShape="1">
                  <a:gsLst>
                    <a:gs pos="78774">
                      <a:srgbClr val="A498C6"/>
                    </a:gs>
                    <a:gs pos="27000">
                      <a:srgbClr val="A498C6"/>
                    </a:gs>
                    <a:gs pos="0">
                      <a:srgbClr val="483698"/>
                    </a:gs>
                    <a:gs pos="100000">
                      <a:srgbClr val="483698"/>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1" name="Freeform 110"/>
                <p:cNvSpPr/>
                <p:nvPr/>
              </p:nvSpPr>
              <p:spPr>
                <a:xfrm rot="7176436" flipV="1">
                  <a:off x="4197397" y="2726982"/>
                  <a:ext cx="1151717" cy="3413032"/>
                </a:xfrm>
                <a:custGeom>
                  <a:avLst/>
                  <a:gdLst>
                    <a:gd name="connsiteX0" fmla="*/ 3035 w 1031145"/>
                    <a:gd name="connsiteY0" fmla="*/ 872200 h 3106612"/>
                    <a:gd name="connsiteX1" fmla="*/ 265 w 1031145"/>
                    <a:gd name="connsiteY1" fmla="*/ 1203156 h 3106612"/>
                    <a:gd name="connsiteX2" fmla="*/ 519317 w 1031145"/>
                    <a:gd name="connsiteY2" fmla="*/ 3103347 h 3106612"/>
                    <a:gd name="connsiteX3" fmla="*/ 1031095 w 1031145"/>
                    <a:gd name="connsiteY3" fmla="*/ 1224090 h 3106612"/>
                    <a:gd name="connsiteX4" fmla="*/ 962375 w 1031145"/>
                    <a:gd name="connsiteY4" fmla="*/ 25623 h 3106612"/>
                    <a:gd name="connsiteX5" fmla="*/ 959108 w 1031145"/>
                    <a:gd name="connsiteY5" fmla="*/ 0 h 3106612"/>
                    <a:gd name="connsiteX6" fmla="*/ 741023 w 1031145"/>
                    <a:gd name="connsiteY6" fmla="*/ 5718 h 3106612"/>
                    <a:gd name="connsiteX7" fmla="*/ 789278 w 1031145"/>
                    <a:gd name="connsiteY7" fmla="*/ 576747 h 3106612"/>
                    <a:gd name="connsiteX8" fmla="*/ 798211 w 1031145"/>
                    <a:gd name="connsiteY8" fmla="*/ 789162 h 3106612"/>
                    <a:gd name="connsiteX9" fmla="*/ 798209 w 1031145"/>
                    <a:gd name="connsiteY9" fmla="*/ 789162 h 3106612"/>
                    <a:gd name="connsiteX10" fmla="*/ 802131 w 1031145"/>
                    <a:gd name="connsiteY10" fmla="*/ 882384 h 3106612"/>
                    <a:gd name="connsiteX11" fmla="*/ 804605 w 1031145"/>
                    <a:gd name="connsiteY11" fmla="*/ 1210429 h 3106612"/>
                    <a:gd name="connsiteX12" fmla="*/ 521742 w 1031145"/>
                    <a:gd name="connsiteY12" fmla="*/ 2835501 h 3106612"/>
                    <a:gd name="connsiteX13" fmla="*/ 268379 w 1031145"/>
                    <a:gd name="connsiteY13" fmla="*/ 1205579 h 3106612"/>
                    <a:gd name="connsiteX14" fmla="*/ 258120 w 1031145"/>
                    <a:gd name="connsiteY14" fmla="*/ 837310 h 3106612"/>
                    <a:gd name="connsiteX15" fmla="*/ 238388 w 1031145"/>
                    <a:gd name="connsiteY15" fmla="*/ 838095 h 3106612"/>
                    <a:gd name="connsiteX16" fmla="*/ 180447 w 1031145"/>
                    <a:gd name="connsiteY16" fmla="*/ 853116 h 3106612"/>
                    <a:gd name="connsiteX17" fmla="*/ 90269 w 1031145"/>
                    <a:gd name="connsiteY17" fmla="*/ 868250 h 3106612"/>
                    <a:gd name="connsiteX0" fmla="*/ 3035 w 1031145"/>
                    <a:gd name="connsiteY0" fmla="*/ 872200 h 3106612"/>
                    <a:gd name="connsiteX1" fmla="*/ 265 w 1031145"/>
                    <a:gd name="connsiteY1" fmla="*/ 1203156 h 3106612"/>
                    <a:gd name="connsiteX2" fmla="*/ 519317 w 1031145"/>
                    <a:gd name="connsiteY2" fmla="*/ 3103347 h 3106612"/>
                    <a:gd name="connsiteX3" fmla="*/ 1031095 w 1031145"/>
                    <a:gd name="connsiteY3" fmla="*/ 1224090 h 3106612"/>
                    <a:gd name="connsiteX4" fmla="*/ 962375 w 1031145"/>
                    <a:gd name="connsiteY4" fmla="*/ 25623 h 3106612"/>
                    <a:gd name="connsiteX5" fmla="*/ 959108 w 1031145"/>
                    <a:gd name="connsiteY5" fmla="*/ 0 h 3106612"/>
                    <a:gd name="connsiteX6" fmla="*/ 741023 w 1031145"/>
                    <a:gd name="connsiteY6" fmla="*/ 5718 h 3106612"/>
                    <a:gd name="connsiteX7" fmla="*/ 789278 w 1031145"/>
                    <a:gd name="connsiteY7" fmla="*/ 576747 h 3106612"/>
                    <a:gd name="connsiteX8" fmla="*/ 798211 w 1031145"/>
                    <a:gd name="connsiteY8" fmla="*/ 789162 h 3106612"/>
                    <a:gd name="connsiteX9" fmla="*/ 798209 w 1031145"/>
                    <a:gd name="connsiteY9" fmla="*/ 789162 h 3106612"/>
                    <a:gd name="connsiteX10" fmla="*/ 802131 w 1031145"/>
                    <a:gd name="connsiteY10" fmla="*/ 882384 h 3106612"/>
                    <a:gd name="connsiteX11" fmla="*/ 804605 w 1031145"/>
                    <a:gd name="connsiteY11" fmla="*/ 1210429 h 3106612"/>
                    <a:gd name="connsiteX12" fmla="*/ 521742 w 1031145"/>
                    <a:gd name="connsiteY12" fmla="*/ 2835501 h 3106612"/>
                    <a:gd name="connsiteX13" fmla="*/ 268379 w 1031145"/>
                    <a:gd name="connsiteY13" fmla="*/ 1205579 h 3106612"/>
                    <a:gd name="connsiteX14" fmla="*/ 258120 w 1031145"/>
                    <a:gd name="connsiteY14" fmla="*/ 837310 h 3106612"/>
                    <a:gd name="connsiteX15" fmla="*/ 238388 w 1031145"/>
                    <a:gd name="connsiteY15" fmla="*/ 838095 h 3106612"/>
                    <a:gd name="connsiteX16" fmla="*/ 90269 w 1031145"/>
                    <a:gd name="connsiteY16" fmla="*/ 868250 h 3106612"/>
                    <a:gd name="connsiteX17" fmla="*/ 3035 w 1031145"/>
                    <a:gd name="connsiteY17" fmla="*/ 872200 h 3106612"/>
                    <a:gd name="connsiteX0" fmla="*/ 3035 w 1031145"/>
                    <a:gd name="connsiteY0" fmla="*/ 872200 h 3106612"/>
                    <a:gd name="connsiteX1" fmla="*/ 265 w 1031145"/>
                    <a:gd name="connsiteY1" fmla="*/ 1203156 h 3106612"/>
                    <a:gd name="connsiteX2" fmla="*/ 519317 w 1031145"/>
                    <a:gd name="connsiteY2" fmla="*/ 3103347 h 3106612"/>
                    <a:gd name="connsiteX3" fmla="*/ 1031095 w 1031145"/>
                    <a:gd name="connsiteY3" fmla="*/ 1224090 h 3106612"/>
                    <a:gd name="connsiteX4" fmla="*/ 962375 w 1031145"/>
                    <a:gd name="connsiteY4" fmla="*/ 25623 h 3106612"/>
                    <a:gd name="connsiteX5" fmla="*/ 959108 w 1031145"/>
                    <a:gd name="connsiteY5" fmla="*/ 0 h 3106612"/>
                    <a:gd name="connsiteX6" fmla="*/ 741023 w 1031145"/>
                    <a:gd name="connsiteY6" fmla="*/ 5718 h 3106612"/>
                    <a:gd name="connsiteX7" fmla="*/ 789278 w 1031145"/>
                    <a:gd name="connsiteY7" fmla="*/ 576747 h 3106612"/>
                    <a:gd name="connsiteX8" fmla="*/ 798211 w 1031145"/>
                    <a:gd name="connsiteY8" fmla="*/ 789162 h 3106612"/>
                    <a:gd name="connsiteX9" fmla="*/ 798209 w 1031145"/>
                    <a:gd name="connsiteY9" fmla="*/ 789162 h 3106612"/>
                    <a:gd name="connsiteX10" fmla="*/ 802131 w 1031145"/>
                    <a:gd name="connsiteY10" fmla="*/ 882384 h 3106612"/>
                    <a:gd name="connsiteX11" fmla="*/ 804605 w 1031145"/>
                    <a:gd name="connsiteY11" fmla="*/ 1210429 h 3106612"/>
                    <a:gd name="connsiteX12" fmla="*/ 521742 w 1031145"/>
                    <a:gd name="connsiteY12" fmla="*/ 2835501 h 3106612"/>
                    <a:gd name="connsiteX13" fmla="*/ 268379 w 1031145"/>
                    <a:gd name="connsiteY13" fmla="*/ 1205579 h 3106612"/>
                    <a:gd name="connsiteX14" fmla="*/ 258120 w 1031145"/>
                    <a:gd name="connsiteY14" fmla="*/ 837310 h 3106612"/>
                    <a:gd name="connsiteX15" fmla="*/ 238388 w 1031145"/>
                    <a:gd name="connsiteY15" fmla="*/ 838095 h 3106612"/>
                    <a:gd name="connsiteX16" fmla="*/ 3035 w 1031145"/>
                    <a:gd name="connsiteY16" fmla="*/ 872200 h 3106612"/>
                    <a:gd name="connsiteX0" fmla="*/ 154 w 1032734"/>
                    <a:gd name="connsiteY0" fmla="*/ 855966 h 3106612"/>
                    <a:gd name="connsiteX1" fmla="*/ 1854 w 1032734"/>
                    <a:gd name="connsiteY1" fmla="*/ 1203156 h 3106612"/>
                    <a:gd name="connsiteX2" fmla="*/ 520906 w 1032734"/>
                    <a:gd name="connsiteY2" fmla="*/ 3103347 h 3106612"/>
                    <a:gd name="connsiteX3" fmla="*/ 1032684 w 1032734"/>
                    <a:gd name="connsiteY3" fmla="*/ 1224090 h 3106612"/>
                    <a:gd name="connsiteX4" fmla="*/ 963964 w 1032734"/>
                    <a:gd name="connsiteY4" fmla="*/ 25623 h 3106612"/>
                    <a:gd name="connsiteX5" fmla="*/ 960697 w 1032734"/>
                    <a:gd name="connsiteY5" fmla="*/ 0 h 3106612"/>
                    <a:gd name="connsiteX6" fmla="*/ 742612 w 1032734"/>
                    <a:gd name="connsiteY6" fmla="*/ 5718 h 3106612"/>
                    <a:gd name="connsiteX7" fmla="*/ 790867 w 1032734"/>
                    <a:gd name="connsiteY7" fmla="*/ 576747 h 3106612"/>
                    <a:gd name="connsiteX8" fmla="*/ 799800 w 1032734"/>
                    <a:gd name="connsiteY8" fmla="*/ 789162 h 3106612"/>
                    <a:gd name="connsiteX9" fmla="*/ 799798 w 1032734"/>
                    <a:gd name="connsiteY9" fmla="*/ 789162 h 3106612"/>
                    <a:gd name="connsiteX10" fmla="*/ 803720 w 1032734"/>
                    <a:gd name="connsiteY10" fmla="*/ 882384 h 3106612"/>
                    <a:gd name="connsiteX11" fmla="*/ 806194 w 1032734"/>
                    <a:gd name="connsiteY11" fmla="*/ 1210429 h 3106612"/>
                    <a:gd name="connsiteX12" fmla="*/ 523331 w 1032734"/>
                    <a:gd name="connsiteY12" fmla="*/ 2835501 h 3106612"/>
                    <a:gd name="connsiteX13" fmla="*/ 269968 w 1032734"/>
                    <a:gd name="connsiteY13" fmla="*/ 1205579 h 3106612"/>
                    <a:gd name="connsiteX14" fmla="*/ 259709 w 1032734"/>
                    <a:gd name="connsiteY14" fmla="*/ 837310 h 3106612"/>
                    <a:gd name="connsiteX15" fmla="*/ 239977 w 1032734"/>
                    <a:gd name="connsiteY15" fmla="*/ 838095 h 3106612"/>
                    <a:gd name="connsiteX16" fmla="*/ 154 w 1032734"/>
                    <a:gd name="connsiteY16" fmla="*/ 855966 h 3106612"/>
                    <a:gd name="connsiteX0" fmla="*/ 98 w 1035031"/>
                    <a:gd name="connsiteY0" fmla="*/ 860107 h 3106612"/>
                    <a:gd name="connsiteX1" fmla="*/ 4151 w 1035031"/>
                    <a:gd name="connsiteY1" fmla="*/ 1203156 h 3106612"/>
                    <a:gd name="connsiteX2" fmla="*/ 523203 w 1035031"/>
                    <a:gd name="connsiteY2" fmla="*/ 3103347 h 3106612"/>
                    <a:gd name="connsiteX3" fmla="*/ 1034981 w 1035031"/>
                    <a:gd name="connsiteY3" fmla="*/ 1224090 h 3106612"/>
                    <a:gd name="connsiteX4" fmla="*/ 966261 w 1035031"/>
                    <a:gd name="connsiteY4" fmla="*/ 25623 h 3106612"/>
                    <a:gd name="connsiteX5" fmla="*/ 962994 w 1035031"/>
                    <a:gd name="connsiteY5" fmla="*/ 0 h 3106612"/>
                    <a:gd name="connsiteX6" fmla="*/ 744909 w 1035031"/>
                    <a:gd name="connsiteY6" fmla="*/ 5718 h 3106612"/>
                    <a:gd name="connsiteX7" fmla="*/ 793164 w 1035031"/>
                    <a:gd name="connsiteY7" fmla="*/ 576747 h 3106612"/>
                    <a:gd name="connsiteX8" fmla="*/ 802097 w 1035031"/>
                    <a:gd name="connsiteY8" fmla="*/ 789162 h 3106612"/>
                    <a:gd name="connsiteX9" fmla="*/ 802095 w 1035031"/>
                    <a:gd name="connsiteY9" fmla="*/ 789162 h 3106612"/>
                    <a:gd name="connsiteX10" fmla="*/ 806017 w 1035031"/>
                    <a:gd name="connsiteY10" fmla="*/ 882384 h 3106612"/>
                    <a:gd name="connsiteX11" fmla="*/ 808491 w 1035031"/>
                    <a:gd name="connsiteY11" fmla="*/ 1210429 h 3106612"/>
                    <a:gd name="connsiteX12" fmla="*/ 525628 w 1035031"/>
                    <a:gd name="connsiteY12" fmla="*/ 2835501 h 3106612"/>
                    <a:gd name="connsiteX13" fmla="*/ 272265 w 1035031"/>
                    <a:gd name="connsiteY13" fmla="*/ 1205579 h 3106612"/>
                    <a:gd name="connsiteX14" fmla="*/ 262006 w 1035031"/>
                    <a:gd name="connsiteY14" fmla="*/ 837310 h 3106612"/>
                    <a:gd name="connsiteX15" fmla="*/ 242274 w 1035031"/>
                    <a:gd name="connsiteY15" fmla="*/ 838095 h 3106612"/>
                    <a:gd name="connsiteX16" fmla="*/ 98 w 1035031"/>
                    <a:gd name="connsiteY16" fmla="*/ 860107 h 3106612"/>
                    <a:gd name="connsiteX0" fmla="*/ 98 w 1035031"/>
                    <a:gd name="connsiteY0" fmla="*/ 867574 h 3114079"/>
                    <a:gd name="connsiteX1" fmla="*/ 4151 w 1035031"/>
                    <a:gd name="connsiteY1" fmla="*/ 1210623 h 3114079"/>
                    <a:gd name="connsiteX2" fmla="*/ 523203 w 1035031"/>
                    <a:gd name="connsiteY2" fmla="*/ 3110814 h 3114079"/>
                    <a:gd name="connsiteX3" fmla="*/ 1034981 w 1035031"/>
                    <a:gd name="connsiteY3" fmla="*/ 1231557 h 3114079"/>
                    <a:gd name="connsiteX4" fmla="*/ 966261 w 1035031"/>
                    <a:gd name="connsiteY4" fmla="*/ 33090 h 3114079"/>
                    <a:gd name="connsiteX5" fmla="*/ 956281 w 1035031"/>
                    <a:gd name="connsiteY5" fmla="*/ 0 h 3114079"/>
                    <a:gd name="connsiteX6" fmla="*/ 744909 w 1035031"/>
                    <a:gd name="connsiteY6" fmla="*/ 13185 h 3114079"/>
                    <a:gd name="connsiteX7" fmla="*/ 793164 w 1035031"/>
                    <a:gd name="connsiteY7" fmla="*/ 584214 h 3114079"/>
                    <a:gd name="connsiteX8" fmla="*/ 802097 w 1035031"/>
                    <a:gd name="connsiteY8" fmla="*/ 796629 h 3114079"/>
                    <a:gd name="connsiteX9" fmla="*/ 802095 w 1035031"/>
                    <a:gd name="connsiteY9" fmla="*/ 796629 h 3114079"/>
                    <a:gd name="connsiteX10" fmla="*/ 806017 w 1035031"/>
                    <a:gd name="connsiteY10" fmla="*/ 889851 h 3114079"/>
                    <a:gd name="connsiteX11" fmla="*/ 808491 w 1035031"/>
                    <a:gd name="connsiteY11" fmla="*/ 1217896 h 3114079"/>
                    <a:gd name="connsiteX12" fmla="*/ 525628 w 1035031"/>
                    <a:gd name="connsiteY12" fmla="*/ 2842968 h 3114079"/>
                    <a:gd name="connsiteX13" fmla="*/ 272265 w 1035031"/>
                    <a:gd name="connsiteY13" fmla="*/ 1213046 h 3114079"/>
                    <a:gd name="connsiteX14" fmla="*/ 262006 w 1035031"/>
                    <a:gd name="connsiteY14" fmla="*/ 844777 h 3114079"/>
                    <a:gd name="connsiteX15" fmla="*/ 242274 w 1035031"/>
                    <a:gd name="connsiteY15" fmla="*/ 845562 h 3114079"/>
                    <a:gd name="connsiteX16" fmla="*/ 98 w 1035031"/>
                    <a:gd name="connsiteY16" fmla="*/ 867574 h 3114079"/>
                    <a:gd name="connsiteX0" fmla="*/ 98 w 1035031"/>
                    <a:gd name="connsiteY0" fmla="*/ 867574 h 3114079"/>
                    <a:gd name="connsiteX1" fmla="*/ 4151 w 1035031"/>
                    <a:gd name="connsiteY1" fmla="*/ 1210623 h 3114079"/>
                    <a:gd name="connsiteX2" fmla="*/ 523203 w 1035031"/>
                    <a:gd name="connsiteY2" fmla="*/ 3110814 h 3114079"/>
                    <a:gd name="connsiteX3" fmla="*/ 1034981 w 1035031"/>
                    <a:gd name="connsiteY3" fmla="*/ 1231557 h 3114079"/>
                    <a:gd name="connsiteX4" fmla="*/ 966261 w 1035031"/>
                    <a:gd name="connsiteY4" fmla="*/ 33090 h 3114079"/>
                    <a:gd name="connsiteX5" fmla="*/ 956281 w 1035031"/>
                    <a:gd name="connsiteY5" fmla="*/ 0 h 3114079"/>
                    <a:gd name="connsiteX6" fmla="*/ 741772 w 1035031"/>
                    <a:gd name="connsiteY6" fmla="*/ 18706 h 3114079"/>
                    <a:gd name="connsiteX7" fmla="*/ 793164 w 1035031"/>
                    <a:gd name="connsiteY7" fmla="*/ 584214 h 3114079"/>
                    <a:gd name="connsiteX8" fmla="*/ 802097 w 1035031"/>
                    <a:gd name="connsiteY8" fmla="*/ 796629 h 3114079"/>
                    <a:gd name="connsiteX9" fmla="*/ 802095 w 1035031"/>
                    <a:gd name="connsiteY9" fmla="*/ 796629 h 3114079"/>
                    <a:gd name="connsiteX10" fmla="*/ 806017 w 1035031"/>
                    <a:gd name="connsiteY10" fmla="*/ 889851 h 3114079"/>
                    <a:gd name="connsiteX11" fmla="*/ 808491 w 1035031"/>
                    <a:gd name="connsiteY11" fmla="*/ 1217896 h 3114079"/>
                    <a:gd name="connsiteX12" fmla="*/ 525628 w 1035031"/>
                    <a:gd name="connsiteY12" fmla="*/ 2842968 h 3114079"/>
                    <a:gd name="connsiteX13" fmla="*/ 272265 w 1035031"/>
                    <a:gd name="connsiteY13" fmla="*/ 1213046 h 3114079"/>
                    <a:gd name="connsiteX14" fmla="*/ 262006 w 1035031"/>
                    <a:gd name="connsiteY14" fmla="*/ 844777 h 3114079"/>
                    <a:gd name="connsiteX15" fmla="*/ 242274 w 1035031"/>
                    <a:gd name="connsiteY15" fmla="*/ 845562 h 3114079"/>
                    <a:gd name="connsiteX16" fmla="*/ 98 w 1035031"/>
                    <a:gd name="connsiteY16" fmla="*/ 867574 h 3114079"/>
                    <a:gd name="connsiteX0" fmla="*/ 98 w 1035031"/>
                    <a:gd name="connsiteY0" fmla="*/ 854585 h 3101090"/>
                    <a:gd name="connsiteX1" fmla="*/ 4151 w 1035031"/>
                    <a:gd name="connsiteY1" fmla="*/ 1197634 h 3101090"/>
                    <a:gd name="connsiteX2" fmla="*/ 523203 w 1035031"/>
                    <a:gd name="connsiteY2" fmla="*/ 3097825 h 3101090"/>
                    <a:gd name="connsiteX3" fmla="*/ 1034981 w 1035031"/>
                    <a:gd name="connsiteY3" fmla="*/ 1218568 h 3101090"/>
                    <a:gd name="connsiteX4" fmla="*/ 966261 w 1035031"/>
                    <a:gd name="connsiteY4" fmla="*/ 20101 h 3101090"/>
                    <a:gd name="connsiteX5" fmla="*/ 959857 w 1035031"/>
                    <a:gd name="connsiteY5" fmla="*/ 0 h 3101090"/>
                    <a:gd name="connsiteX6" fmla="*/ 741772 w 1035031"/>
                    <a:gd name="connsiteY6" fmla="*/ 5717 h 3101090"/>
                    <a:gd name="connsiteX7" fmla="*/ 793164 w 1035031"/>
                    <a:gd name="connsiteY7" fmla="*/ 571225 h 3101090"/>
                    <a:gd name="connsiteX8" fmla="*/ 802097 w 1035031"/>
                    <a:gd name="connsiteY8" fmla="*/ 783640 h 3101090"/>
                    <a:gd name="connsiteX9" fmla="*/ 802095 w 1035031"/>
                    <a:gd name="connsiteY9" fmla="*/ 783640 h 3101090"/>
                    <a:gd name="connsiteX10" fmla="*/ 806017 w 1035031"/>
                    <a:gd name="connsiteY10" fmla="*/ 876862 h 3101090"/>
                    <a:gd name="connsiteX11" fmla="*/ 808491 w 1035031"/>
                    <a:gd name="connsiteY11" fmla="*/ 1204907 h 3101090"/>
                    <a:gd name="connsiteX12" fmla="*/ 525628 w 1035031"/>
                    <a:gd name="connsiteY12" fmla="*/ 2829979 h 3101090"/>
                    <a:gd name="connsiteX13" fmla="*/ 272265 w 1035031"/>
                    <a:gd name="connsiteY13" fmla="*/ 1200057 h 3101090"/>
                    <a:gd name="connsiteX14" fmla="*/ 262006 w 1035031"/>
                    <a:gd name="connsiteY14" fmla="*/ 831788 h 3101090"/>
                    <a:gd name="connsiteX15" fmla="*/ 242274 w 1035031"/>
                    <a:gd name="connsiteY15" fmla="*/ 832573 h 3101090"/>
                    <a:gd name="connsiteX16" fmla="*/ 98 w 1035031"/>
                    <a:gd name="connsiteY16" fmla="*/ 854585 h 3101090"/>
                    <a:gd name="connsiteX0" fmla="*/ 98 w 1035031"/>
                    <a:gd name="connsiteY0" fmla="*/ 856154 h 3102659"/>
                    <a:gd name="connsiteX1" fmla="*/ 4151 w 1035031"/>
                    <a:gd name="connsiteY1" fmla="*/ 1199203 h 3102659"/>
                    <a:gd name="connsiteX2" fmla="*/ 523203 w 1035031"/>
                    <a:gd name="connsiteY2" fmla="*/ 3099394 h 3102659"/>
                    <a:gd name="connsiteX3" fmla="*/ 1034981 w 1035031"/>
                    <a:gd name="connsiteY3" fmla="*/ 1220137 h 3102659"/>
                    <a:gd name="connsiteX4" fmla="*/ 966261 w 1035031"/>
                    <a:gd name="connsiteY4" fmla="*/ 21670 h 3102659"/>
                    <a:gd name="connsiteX5" fmla="*/ 957097 w 1035031"/>
                    <a:gd name="connsiteY5" fmla="*/ 0 h 3102659"/>
                    <a:gd name="connsiteX6" fmla="*/ 741772 w 1035031"/>
                    <a:gd name="connsiteY6" fmla="*/ 7286 h 3102659"/>
                    <a:gd name="connsiteX7" fmla="*/ 793164 w 1035031"/>
                    <a:gd name="connsiteY7" fmla="*/ 572794 h 3102659"/>
                    <a:gd name="connsiteX8" fmla="*/ 802097 w 1035031"/>
                    <a:gd name="connsiteY8" fmla="*/ 785209 h 3102659"/>
                    <a:gd name="connsiteX9" fmla="*/ 802095 w 1035031"/>
                    <a:gd name="connsiteY9" fmla="*/ 785209 h 3102659"/>
                    <a:gd name="connsiteX10" fmla="*/ 806017 w 1035031"/>
                    <a:gd name="connsiteY10" fmla="*/ 878431 h 3102659"/>
                    <a:gd name="connsiteX11" fmla="*/ 808491 w 1035031"/>
                    <a:gd name="connsiteY11" fmla="*/ 1206476 h 3102659"/>
                    <a:gd name="connsiteX12" fmla="*/ 525628 w 1035031"/>
                    <a:gd name="connsiteY12" fmla="*/ 2831548 h 3102659"/>
                    <a:gd name="connsiteX13" fmla="*/ 272265 w 1035031"/>
                    <a:gd name="connsiteY13" fmla="*/ 1201626 h 3102659"/>
                    <a:gd name="connsiteX14" fmla="*/ 262006 w 1035031"/>
                    <a:gd name="connsiteY14" fmla="*/ 833357 h 3102659"/>
                    <a:gd name="connsiteX15" fmla="*/ 242274 w 1035031"/>
                    <a:gd name="connsiteY15" fmla="*/ 834142 h 3102659"/>
                    <a:gd name="connsiteX16" fmla="*/ 98 w 1035031"/>
                    <a:gd name="connsiteY16" fmla="*/ 856154 h 3102659"/>
                    <a:gd name="connsiteX0" fmla="*/ 98 w 1035031"/>
                    <a:gd name="connsiteY0" fmla="*/ 856154 h 3102659"/>
                    <a:gd name="connsiteX1" fmla="*/ 4151 w 1035031"/>
                    <a:gd name="connsiteY1" fmla="*/ 1199203 h 3102659"/>
                    <a:gd name="connsiteX2" fmla="*/ 523203 w 1035031"/>
                    <a:gd name="connsiteY2" fmla="*/ 3099394 h 3102659"/>
                    <a:gd name="connsiteX3" fmla="*/ 1034981 w 1035031"/>
                    <a:gd name="connsiteY3" fmla="*/ 1220137 h 3102659"/>
                    <a:gd name="connsiteX4" fmla="*/ 966261 w 1035031"/>
                    <a:gd name="connsiteY4" fmla="*/ 21670 h 3102659"/>
                    <a:gd name="connsiteX5" fmla="*/ 957097 w 1035031"/>
                    <a:gd name="connsiteY5" fmla="*/ 0 h 3102659"/>
                    <a:gd name="connsiteX6" fmla="*/ 736251 w 1035031"/>
                    <a:gd name="connsiteY6" fmla="*/ 4149 h 3102659"/>
                    <a:gd name="connsiteX7" fmla="*/ 793164 w 1035031"/>
                    <a:gd name="connsiteY7" fmla="*/ 572794 h 3102659"/>
                    <a:gd name="connsiteX8" fmla="*/ 802097 w 1035031"/>
                    <a:gd name="connsiteY8" fmla="*/ 785209 h 3102659"/>
                    <a:gd name="connsiteX9" fmla="*/ 802095 w 1035031"/>
                    <a:gd name="connsiteY9" fmla="*/ 785209 h 3102659"/>
                    <a:gd name="connsiteX10" fmla="*/ 806017 w 1035031"/>
                    <a:gd name="connsiteY10" fmla="*/ 878431 h 3102659"/>
                    <a:gd name="connsiteX11" fmla="*/ 808491 w 1035031"/>
                    <a:gd name="connsiteY11" fmla="*/ 1206476 h 3102659"/>
                    <a:gd name="connsiteX12" fmla="*/ 525628 w 1035031"/>
                    <a:gd name="connsiteY12" fmla="*/ 2831548 h 3102659"/>
                    <a:gd name="connsiteX13" fmla="*/ 272265 w 1035031"/>
                    <a:gd name="connsiteY13" fmla="*/ 1201626 h 3102659"/>
                    <a:gd name="connsiteX14" fmla="*/ 262006 w 1035031"/>
                    <a:gd name="connsiteY14" fmla="*/ 833357 h 3102659"/>
                    <a:gd name="connsiteX15" fmla="*/ 242274 w 1035031"/>
                    <a:gd name="connsiteY15" fmla="*/ 834142 h 3102659"/>
                    <a:gd name="connsiteX16" fmla="*/ 98 w 1035031"/>
                    <a:gd name="connsiteY16" fmla="*/ 856154 h 3102659"/>
                    <a:gd name="connsiteX0" fmla="*/ 60 w 1039133"/>
                    <a:gd name="connsiteY0" fmla="*/ 853784 h 3102659"/>
                    <a:gd name="connsiteX1" fmla="*/ 8253 w 1039133"/>
                    <a:gd name="connsiteY1" fmla="*/ 1199203 h 3102659"/>
                    <a:gd name="connsiteX2" fmla="*/ 527305 w 1039133"/>
                    <a:gd name="connsiteY2" fmla="*/ 3099394 h 3102659"/>
                    <a:gd name="connsiteX3" fmla="*/ 1039083 w 1039133"/>
                    <a:gd name="connsiteY3" fmla="*/ 1220137 h 3102659"/>
                    <a:gd name="connsiteX4" fmla="*/ 970363 w 1039133"/>
                    <a:gd name="connsiteY4" fmla="*/ 21670 h 3102659"/>
                    <a:gd name="connsiteX5" fmla="*/ 961199 w 1039133"/>
                    <a:gd name="connsiteY5" fmla="*/ 0 h 3102659"/>
                    <a:gd name="connsiteX6" fmla="*/ 740353 w 1039133"/>
                    <a:gd name="connsiteY6" fmla="*/ 4149 h 3102659"/>
                    <a:gd name="connsiteX7" fmla="*/ 797266 w 1039133"/>
                    <a:gd name="connsiteY7" fmla="*/ 572794 h 3102659"/>
                    <a:gd name="connsiteX8" fmla="*/ 806199 w 1039133"/>
                    <a:gd name="connsiteY8" fmla="*/ 785209 h 3102659"/>
                    <a:gd name="connsiteX9" fmla="*/ 806197 w 1039133"/>
                    <a:gd name="connsiteY9" fmla="*/ 785209 h 3102659"/>
                    <a:gd name="connsiteX10" fmla="*/ 810119 w 1039133"/>
                    <a:gd name="connsiteY10" fmla="*/ 878431 h 3102659"/>
                    <a:gd name="connsiteX11" fmla="*/ 812593 w 1039133"/>
                    <a:gd name="connsiteY11" fmla="*/ 1206476 h 3102659"/>
                    <a:gd name="connsiteX12" fmla="*/ 529730 w 1039133"/>
                    <a:gd name="connsiteY12" fmla="*/ 2831548 h 3102659"/>
                    <a:gd name="connsiteX13" fmla="*/ 276367 w 1039133"/>
                    <a:gd name="connsiteY13" fmla="*/ 1201626 h 3102659"/>
                    <a:gd name="connsiteX14" fmla="*/ 266108 w 1039133"/>
                    <a:gd name="connsiteY14" fmla="*/ 833357 h 3102659"/>
                    <a:gd name="connsiteX15" fmla="*/ 246376 w 1039133"/>
                    <a:gd name="connsiteY15" fmla="*/ 834142 h 3102659"/>
                    <a:gd name="connsiteX16" fmla="*/ 60 w 1039133"/>
                    <a:gd name="connsiteY16" fmla="*/ 853784 h 3102659"/>
                    <a:gd name="connsiteX0" fmla="*/ 60 w 1039133"/>
                    <a:gd name="connsiteY0" fmla="*/ 853784 h 3102659"/>
                    <a:gd name="connsiteX1" fmla="*/ 8253 w 1039133"/>
                    <a:gd name="connsiteY1" fmla="*/ 1199203 h 3102659"/>
                    <a:gd name="connsiteX2" fmla="*/ 527305 w 1039133"/>
                    <a:gd name="connsiteY2" fmla="*/ 3099394 h 3102659"/>
                    <a:gd name="connsiteX3" fmla="*/ 1039083 w 1039133"/>
                    <a:gd name="connsiteY3" fmla="*/ 1220137 h 3102659"/>
                    <a:gd name="connsiteX4" fmla="*/ 970363 w 1039133"/>
                    <a:gd name="connsiteY4" fmla="*/ 21670 h 3102659"/>
                    <a:gd name="connsiteX5" fmla="*/ 961199 w 1039133"/>
                    <a:gd name="connsiteY5" fmla="*/ 0 h 3102659"/>
                    <a:gd name="connsiteX6" fmla="*/ 740353 w 1039133"/>
                    <a:gd name="connsiteY6" fmla="*/ 4149 h 3102659"/>
                    <a:gd name="connsiteX7" fmla="*/ 797266 w 1039133"/>
                    <a:gd name="connsiteY7" fmla="*/ 572794 h 3102659"/>
                    <a:gd name="connsiteX8" fmla="*/ 806199 w 1039133"/>
                    <a:gd name="connsiteY8" fmla="*/ 785209 h 3102659"/>
                    <a:gd name="connsiteX9" fmla="*/ 806197 w 1039133"/>
                    <a:gd name="connsiteY9" fmla="*/ 785209 h 3102659"/>
                    <a:gd name="connsiteX10" fmla="*/ 810119 w 1039133"/>
                    <a:gd name="connsiteY10" fmla="*/ 878431 h 3102659"/>
                    <a:gd name="connsiteX11" fmla="*/ 812593 w 1039133"/>
                    <a:gd name="connsiteY11" fmla="*/ 1206476 h 3102659"/>
                    <a:gd name="connsiteX12" fmla="*/ 529730 w 1039133"/>
                    <a:gd name="connsiteY12" fmla="*/ 2831548 h 3102659"/>
                    <a:gd name="connsiteX13" fmla="*/ 276367 w 1039133"/>
                    <a:gd name="connsiteY13" fmla="*/ 1201626 h 3102659"/>
                    <a:gd name="connsiteX14" fmla="*/ 266108 w 1039133"/>
                    <a:gd name="connsiteY14" fmla="*/ 833357 h 3102659"/>
                    <a:gd name="connsiteX15" fmla="*/ 60 w 1039133"/>
                    <a:gd name="connsiteY15" fmla="*/ 853784 h 3102659"/>
                    <a:gd name="connsiteX0" fmla="*/ 60 w 1039133"/>
                    <a:gd name="connsiteY0" fmla="*/ 853784 h 3102659"/>
                    <a:gd name="connsiteX1" fmla="*/ 8253 w 1039133"/>
                    <a:gd name="connsiteY1" fmla="*/ 1199203 h 3102659"/>
                    <a:gd name="connsiteX2" fmla="*/ 527305 w 1039133"/>
                    <a:gd name="connsiteY2" fmla="*/ 3099394 h 3102659"/>
                    <a:gd name="connsiteX3" fmla="*/ 1039083 w 1039133"/>
                    <a:gd name="connsiteY3" fmla="*/ 1220137 h 3102659"/>
                    <a:gd name="connsiteX4" fmla="*/ 970363 w 1039133"/>
                    <a:gd name="connsiteY4" fmla="*/ 21670 h 3102659"/>
                    <a:gd name="connsiteX5" fmla="*/ 961199 w 1039133"/>
                    <a:gd name="connsiteY5" fmla="*/ 0 h 3102659"/>
                    <a:gd name="connsiteX6" fmla="*/ 740353 w 1039133"/>
                    <a:gd name="connsiteY6" fmla="*/ 4149 h 3102659"/>
                    <a:gd name="connsiteX7" fmla="*/ 797266 w 1039133"/>
                    <a:gd name="connsiteY7" fmla="*/ 572794 h 3102659"/>
                    <a:gd name="connsiteX8" fmla="*/ 806199 w 1039133"/>
                    <a:gd name="connsiteY8" fmla="*/ 785209 h 3102659"/>
                    <a:gd name="connsiteX9" fmla="*/ 806197 w 1039133"/>
                    <a:gd name="connsiteY9" fmla="*/ 785209 h 3102659"/>
                    <a:gd name="connsiteX10" fmla="*/ 810119 w 1039133"/>
                    <a:gd name="connsiteY10" fmla="*/ 878431 h 3102659"/>
                    <a:gd name="connsiteX11" fmla="*/ 812593 w 1039133"/>
                    <a:gd name="connsiteY11" fmla="*/ 1206476 h 3102659"/>
                    <a:gd name="connsiteX12" fmla="*/ 529730 w 1039133"/>
                    <a:gd name="connsiteY12" fmla="*/ 2831548 h 3102659"/>
                    <a:gd name="connsiteX13" fmla="*/ 276367 w 1039133"/>
                    <a:gd name="connsiteY13" fmla="*/ 1201626 h 3102659"/>
                    <a:gd name="connsiteX14" fmla="*/ 265215 w 1039133"/>
                    <a:gd name="connsiteY14" fmla="*/ 830086 h 3102659"/>
                    <a:gd name="connsiteX15" fmla="*/ 60 w 1039133"/>
                    <a:gd name="connsiteY15" fmla="*/ 853784 h 3102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9133" h="3102659">
                      <a:moveTo>
                        <a:pt x="60" y="853784"/>
                      </a:moveTo>
                      <a:cubicBezTo>
                        <a:pt x="-863" y="964103"/>
                        <a:pt x="9176" y="1088884"/>
                        <a:pt x="8253" y="1199203"/>
                      </a:cubicBezTo>
                      <a:cubicBezTo>
                        <a:pt x="-1233" y="2245973"/>
                        <a:pt x="246038" y="3023772"/>
                        <a:pt x="527305" y="3099394"/>
                      </a:cubicBezTo>
                      <a:cubicBezTo>
                        <a:pt x="808573" y="3175016"/>
                        <a:pt x="1043088" y="1919175"/>
                        <a:pt x="1039083" y="1220137"/>
                      </a:cubicBezTo>
                      <a:cubicBezTo>
                        <a:pt x="1036392" y="750582"/>
                        <a:pt x="1043552" y="471708"/>
                        <a:pt x="970363" y="21670"/>
                      </a:cubicBezTo>
                      <a:lnTo>
                        <a:pt x="961199" y="0"/>
                      </a:lnTo>
                      <a:lnTo>
                        <a:pt x="740353" y="4149"/>
                      </a:lnTo>
                      <a:cubicBezTo>
                        <a:pt x="755613" y="178699"/>
                        <a:pt x="781596" y="376341"/>
                        <a:pt x="797266" y="572794"/>
                      </a:cubicBezTo>
                      <a:lnTo>
                        <a:pt x="806199" y="785209"/>
                      </a:lnTo>
                      <a:lnTo>
                        <a:pt x="806197" y="785209"/>
                      </a:lnTo>
                      <a:cubicBezTo>
                        <a:pt x="807505" y="816283"/>
                        <a:pt x="808811" y="847357"/>
                        <a:pt x="810119" y="878431"/>
                      </a:cubicBezTo>
                      <a:cubicBezTo>
                        <a:pt x="812729" y="984409"/>
                        <a:pt x="813611" y="1094122"/>
                        <a:pt x="812593" y="1206476"/>
                      </a:cubicBezTo>
                      <a:cubicBezTo>
                        <a:pt x="804447" y="2105318"/>
                        <a:pt x="677807" y="2832885"/>
                        <a:pt x="529730" y="2831548"/>
                      </a:cubicBezTo>
                      <a:cubicBezTo>
                        <a:pt x="381658" y="2830208"/>
                        <a:pt x="268220" y="2100470"/>
                        <a:pt x="276367" y="1201626"/>
                      </a:cubicBezTo>
                      <a:cubicBezTo>
                        <a:pt x="277388" y="1089272"/>
                        <a:pt x="260682" y="936001"/>
                        <a:pt x="265215" y="830086"/>
                      </a:cubicBezTo>
                      <a:lnTo>
                        <a:pt x="60" y="853784"/>
                      </a:lnTo>
                      <a:close/>
                    </a:path>
                  </a:pathLst>
                </a:custGeom>
                <a:gradFill flip="none" rotWithShape="1">
                  <a:gsLst>
                    <a:gs pos="0">
                      <a:srgbClr val="A498C6"/>
                    </a:gs>
                    <a:gs pos="100000">
                      <a:srgbClr val="483698"/>
                    </a:gs>
                  </a:gsLst>
                  <a:lin ang="156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2" name="Freeform 111"/>
                <p:cNvSpPr/>
                <p:nvPr/>
              </p:nvSpPr>
              <p:spPr>
                <a:xfrm rot="12631876" flipH="1">
                  <a:off x="4896580" y="1629510"/>
                  <a:ext cx="1142862" cy="3292226"/>
                </a:xfrm>
                <a:custGeom>
                  <a:avLst/>
                  <a:gdLst>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0608 w 1031144"/>
                    <a:gd name="connsiteY4" fmla="*/ 27008 h 3052268"/>
                    <a:gd name="connsiteX5" fmla="*/ 902026 w 1031144"/>
                    <a:gd name="connsiteY5" fmla="*/ 17502 h 3052268"/>
                    <a:gd name="connsiteX6" fmla="*/ 735635 w 1031144"/>
                    <a:gd name="connsiteY6" fmla="*/ 0 h 3052268"/>
                    <a:gd name="connsiteX7" fmla="*/ 736018 w 1031144"/>
                    <a:gd name="connsiteY7" fmla="*/ 2009 h 3052268"/>
                    <a:gd name="connsiteX8" fmla="*/ 736020 w 1031144"/>
                    <a:gd name="connsiteY8" fmla="*/ 2008 h 3052268"/>
                    <a:gd name="connsiteX9" fmla="*/ 736506 w 1031144"/>
                    <a:gd name="connsiteY9" fmla="*/ 4565 h 3052268"/>
                    <a:gd name="connsiteX10" fmla="*/ 789277 w 1031144"/>
                    <a:gd name="connsiteY10" fmla="*/ 522403 h 3052268"/>
                    <a:gd name="connsiteX11" fmla="*/ 798210 w 1031144"/>
                    <a:gd name="connsiteY11" fmla="*/ 734819 h 3052268"/>
                    <a:gd name="connsiteX12" fmla="*/ 798208 w 1031144"/>
                    <a:gd name="connsiteY12" fmla="*/ 734819 h 3052268"/>
                    <a:gd name="connsiteX13" fmla="*/ 802130 w 1031144"/>
                    <a:gd name="connsiteY13" fmla="*/ 828040 h 3052268"/>
                    <a:gd name="connsiteX14" fmla="*/ 804604 w 1031144"/>
                    <a:gd name="connsiteY14" fmla="*/ 1156085 h 3052268"/>
                    <a:gd name="connsiteX15" fmla="*/ 521742 w 1031144"/>
                    <a:gd name="connsiteY15" fmla="*/ 2781157 h 3052268"/>
                    <a:gd name="connsiteX16" fmla="*/ 268378 w 1031144"/>
                    <a:gd name="connsiteY16" fmla="*/ 1151235 h 3052268"/>
                    <a:gd name="connsiteX17" fmla="*/ 276799 w 1031144"/>
                    <a:gd name="connsiteY17" fmla="*/ 823287 h 3052268"/>
                    <a:gd name="connsiteX18" fmla="*/ 280324 w 1031144"/>
                    <a:gd name="connsiteY18" fmla="*/ 764725 h 3052268"/>
                    <a:gd name="connsiteX19" fmla="*/ 67813 w 1031144"/>
                    <a:gd name="connsiteY19" fmla="*/ 769925 h 3052268"/>
                    <a:gd name="connsiteX20" fmla="*/ 14536 w 1031144"/>
                    <a:gd name="connsiteY20" fmla="*/ 769149 h 3052268"/>
                    <a:gd name="connsiteX21" fmla="*/ 265 w 1031144"/>
                    <a:gd name="connsiteY21" fmla="*/ 1148812 h 3052268"/>
                    <a:gd name="connsiteX22" fmla="*/ 467031 w 1031144"/>
                    <a:gd name="connsiteY22"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767 w 1031144"/>
                    <a:gd name="connsiteY4" fmla="*/ 23747 h 3052268"/>
                    <a:gd name="connsiteX5" fmla="*/ 902026 w 1031144"/>
                    <a:gd name="connsiteY5" fmla="*/ 17502 h 3052268"/>
                    <a:gd name="connsiteX6" fmla="*/ 735635 w 1031144"/>
                    <a:gd name="connsiteY6" fmla="*/ 0 h 3052268"/>
                    <a:gd name="connsiteX7" fmla="*/ 736018 w 1031144"/>
                    <a:gd name="connsiteY7" fmla="*/ 2009 h 3052268"/>
                    <a:gd name="connsiteX8" fmla="*/ 736020 w 1031144"/>
                    <a:gd name="connsiteY8" fmla="*/ 2008 h 3052268"/>
                    <a:gd name="connsiteX9" fmla="*/ 736506 w 1031144"/>
                    <a:gd name="connsiteY9" fmla="*/ 4565 h 3052268"/>
                    <a:gd name="connsiteX10" fmla="*/ 789277 w 1031144"/>
                    <a:gd name="connsiteY10" fmla="*/ 522403 h 3052268"/>
                    <a:gd name="connsiteX11" fmla="*/ 798210 w 1031144"/>
                    <a:gd name="connsiteY11" fmla="*/ 734819 h 3052268"/>
                    <a:gd name="connsiteX12" fmla="*/ 798208 w 1031144"/>
                    <a:gd name="connsiteY12" fmla="*/ 734819 h 3052268"/>
                    <a:gd name="connsiteX13" fmla="*/ 802130 w 1031144"/>
                    <a:gd name="connsiteY13" fmla="*/ 828040 h 3052268"/>
                    <a:gd name="connsiteX14" fmla="*/ 804604 w 1031144"/>
                    <a:gd name="connsiteY14" fmla="*/ 1156085 h 3052268"/>
                    <a:gd name="connsiteX15" fmla="*/ 521742 w 1031144"/>
                    <a:gd name="connsiteY15" fmla="*/ 2781157 h 3052268"/>
                    <a:gd name="connsiteX16" fmla="*/ 268378 w 1031144"/>
                    <a:gd name="connsiteY16" fmla="*/ 1151235 h 3052268"/>
                    <a:gd name="connsiteX17" fmla="*/ 276799 w 1031144"/>
                    <a:gd name="connsiteY17" fmla="*/ 823287 h 3052268"/>
                    <a:gd name="connsiteX18" fmla="*/ 280324 w 1031144"/>
                    <a:gd name="connsiteY18" fmla="*/ 764725 h 3052268"/>
                    <a:gd name="connsiteX19" fmla="*/ 67813 w 1031144"/>
                    <a:gd name="connsiteY19" fmla="*/ 769925 h 3052268"/>
                    <a:gd name="connsiteX20" fmla="*/ 14536 w 1031144"/>
                    <a:gd name="connsiteY20" fmla="*/ 769149 h 3052268"/>
                    <a:gd name="connsiteX21" fmla="*/ 265 w 1031144"/>
                    <a:gd name="connsiteY21" fmla="*/ 1148812 h 3052268"/>
                    <a:gd name="connsiteX22" fmla="*/ 467031 w 1031144"/>
                    <a:gd name="connsiteY22"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767 w 1031144"/>
                    <a:gd name="connsiteY4" fmla="*/ 23747 h 3052268"/>
                    <a:gd name="connsiteX5" fmla="*/ 735635 w 1031144"/>
                    <a:gd name="connsiteY5" fmla="*/ 0 h 3052268"/>
                    <a:gd name="connsiteX6" fmla="*/ 736018 w 1031144"/>
                    <a:gd name="connsiteY6" fmla="*/ 2009 h 3052268"/>
                    <a:gd name="connsiteX7" fmla="*/ 736020 w 1031144"/>
                    <a:gd name="connsiteY7" fmla="*/ 2008 h 3052268"/>
                    <a:gd name="connsiteX8" fmla="*/ 736506 w 1031144"/>
                    <a:gd name="connsiteY8" fmla="*/ 4565 h 3052268"/>
                    <a:gd name="connsiteX9" fmla="*/ 789277 w 1031144"/>
                    <a:gd name="connsiteY9" fmla="*/ 522403 h 3052268"/>
                    <a:gd name="connsiteX10" fmla="*/ 798210 w 1031144"/>
                    <a:gd name="connsiteY10" fmla="*/ 734819 h 3052268"/>
                    <a:gd name="connsiteX11" fmla="*/ 798208 w 1031144"/>
                    <a:gd name="connsiteY11" fmla="*/ 734819 h 3052268"/>
                    <a:gd name="connsiteX12" fmla="*/ 802130 w 1031144"/>
                    <a:gd name="connsiteY12" fmla="*/ 828040 h 3052268"/>
                    <a:gd name="connsiteX13" fmla="*/ 804604 w 1031144"/>
                    <a:gd name="connsiteY13" fmla="*/ 1156085 h 3052268"/>
                    <a:gd name="connsiteX14" fmla="*/ 521742 w 1031144"/>
                    <a:gd name="connsiteY14" fmla="*/ 2781157 h 3052268"/>
                    <a:gd name="connsiteX15" fmla="*/ 268378 w 1031144"/>
                    <a:gd name="connsiteY15" fmla="*/ 1151235 h 3052268"/>
                    <a:gd name="connsiteX16" fmla="*/ 276799 w 1031144"/>
                    <a:gd name="connsiteY16" fmla="*/ 823287 h 3052268"/>
                    <a:gd name="connsiteX17" fmla="*/ 280324 w 1031144"/>
                    <a:gd name="connsiteY17" fmla="*/ 764725 h 3052268"/>
                    <a:gd name="connsiteX18" fmla="*/ 67813 w 1031144"/>
                    <a:gd name="connsiteY18" fmla="*/ 769925 h 3052268"/>
                    <a:gd name="connsiteX19" fmla="*/ 14536 w 1031144"/>
                    <a:gd name="connsiteY19" fmla="*/ 769149 h 3052268"/>
                    <a:gd name="connsiteX20" fmla="*/ 265 w 1031144"/>
                    <a:gd name="connsiteY20" fmla="*/ 1148812 h 3052268"/>
                    <a:gd name="connsiteX21" fmla="*/ 467031 w 1031144"/>
                    <a:gd name="connsiteY21"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0977 w 1031144"/>
                    <a:gd name="connsiteY4" fmla="*/ 21696 h 3052268"/>
                    <a:gd name="connsiteX5" fmla="*/ 735635 w 1031144"/>
                    <a:gd name="connsiteY5" fmla="*/ 0 h 3052268"/>
                    <a:gd name="connsiteX6" fmla="*/ 736018 w 1031144"/>
                    <a:gd name="connsiteY6" fmla="*/ 2009 h 3052268"/>
                    <a:gd name="connsiteX7" fmla="*/ 736020 w 1031144"/>
                    <a:gd name="connsiteY7" fmla="*/ 2008 h 3052268"/>
                    <a:gd name="connsiteX8" fmla="*/ 736506 w 1031144"/>
                    <a:gd name="connsiteY8" fmla="*/ 4565 h 3052268"/>
                    <a:gd name="connsiteX9" fmla="*/ 789277 w 1031144"/>
                    <a:gd name="connsiteY9" fmla="*/ 522403 h 3052268"/>
                    <a:gd name="connsiteX10" fmla="*/ 798210 w 1031144"/>
                    <a:gd name="connsiteY10" fmla="*/ 734819 h 3052268"/>
                    <a:gd name="connsiteX11" fmla="*/ 798208 w 1031144"/>
                    <a:gd name="connsiteY11" fmla="*/ 734819 h 3052268"/>
                    <a:gd name="connsiteX12" fmla="*/ 802130 w 1031144"/>
                    <a:gd name="connsiteY12" fmla="*/ 828040 h 3052268"/>
                    <a:gd name="connsiteX13" fmla="*/ 804604 w 1031144"/>
                    <a:gd name="connsiteY13" fmla="*/ 1156085 h 3052268"/>
                    <a:gd name="connsiteX14" fmla="*/ 521742 w 1031144"/>
                    <a:gd name="connsiteY14" fmla="*/ 2781157 h 3052268"/>
                    <a:gd name="connsiteX15" fmla="*/ 268378 w 1031144"/>
                    <a:gd name="connsiteY15" fmla="*/ 1151235 h 3052268"/>
                    <a:gd name="connsiteX16" fmla="*/ 276799 w 1031144"/>
                    <a:gd name="connsiteY16" fmla="*/ 823287 h 3052268"/>
                    <a:gd name="connsiteX17" fmla="*/ 280324 w 1031144"/>
                    <a:gd name="connsiteY17" fmla="*/ 764725 h 3052268"/>
                    <a:gd name="connsiteX18" fmla="*/ 67813 w 1031144"/>
                    <a:gd name="connsiteY18" fmla="*/ 769925 h 3052268"/>
                    <a:gd name="connsiteX19" fmla="*/ 14536 w 1031144"/>
                    <a:gd name="connsiteY19" fmla="*/ 769149 h 3052268"/>
                    <a:gd name="connsiteX20" fmla="*/ 265 w 1031144"/>
                    <a:gd name="connsiteY20" fmla="*/ 1148812 h 3052268"/>
                    <a:gd name="connsiteX21" fmla="*/ 467031 w 1031144"/>
                    <a:gd name="connsiteY21"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2187 w 1031144"/>
                    <a:gd name="connsiteY4" fmla="*/ 19646 h 3052268"/>
                    <a:gd name="connsiteX5" fmla="*/ 735635 w 1031144"/>
                    <a:gd name="connsiteY5" fmla="*/ 0 h 3052268"/>
                    <a:gd name="connsiteX6" fmla="*/ 736018 w 1031144"/>
                    <a:gd name="connsiteY6" fmla="*/ 2009 h 3052268"/>
                    <a:gd name="connsiteX7" fmla="*/ 736020 w 1031144"/>
                    <a:gd name="connsiteY7" fmla="*/ 2008 h 3052268"/>
                    <a:gd name="connsiteX8" fmla="*/ 736506 w 1031144"/>
                    <a:gd name="connsiteY8" fmla="*/ 4565 h 3052268"/>
                    <a:gd name="connsiteX9" fmla="*/ 789277 w 1031144"/>
                    <a:gd name="connsiteY9" fmla="*/ 522403 h 3052268"/>
                    <a:gd name="connsiteX10" fmla="*/ 798210 w 1031144"/>
                    <a:gd name="connsiteY10" fmla="*/ 734819 h 3052268"/>
                    <a:gd name="connsiteX11" fmla="*/ 798208 w 1031144"/>
                    <a:gd name="connsiteY11" fmla="*/ 734819 h 3052268"/>
                    <a:gd name="connsiteX12" fmla="*/ 802130 w 1031144"/>
                    <a:gd name="connsiteY12" fmla="*/ 828040 h 3052268"/>
                    <a:gd name="connsiteX13" fmla="*/ 804604 w 1031144"/>
                    <a:gd name="connsiteY13" fmla="*/ 1156085 h 3052268"/>
                    <a:gd name="connsiteX14" fmla="*/ 521742 w 1031144"/>
                    <a:gd name="connsiteY14" fmla="*/ 2781157 h 3052268"/>
                    <a:gd name="connsiteX15" fmla="*/ 268378 w 1031144"/>
                    <a:gd name="connsiteY15" fmla="*/ 1151235 h 3052268"/>
                    <a:gd name="connsiteX16" fmla="*/ 276799 w 1031144"/>
                    <a:gd name="connsiteY16" fmla="*/ 823287 h 3052268"/>
                    <a:gd name="connsiteX17" fmla="*/ 280324 w 1031144"/>
                    <a:gd name="connsiteY17" fmla="*/ 764725 h 3052268"/>
                    <a:gd name="connsiteX18" fmla="*/ 67813 w 1031144"/>
                    <a:gd name="connsiteY18" fmla="*/ 769925 h 3052268"/>
                    <a:gd name="connsiteX19" fmla="*/ 14536 w 1031144"/>
                    <a:gd name="connsiteY19" fmla="*/ 769149 h 3052268"/>
                    <a:gd name="connsiteX20" fmla="*/ 265 w 1031144"/>
                    <a:gd name="connsiteY20" fmla="*/ 1148812 h 3052268"/>
                    <a:gd name="connsiteX21" fmla="*/ 467031 w 1031144"/>
                    <a:gd name="connsiteY21" fmla="*/ 3026701 h 3052268"/>
                    <a:gd name="connsiteX0" fmla="*/ 467031 w 1031144"/>
                    <a:gd name="connsiteY0" fmla="*/ 3028743 h 3054310"/>
                    <a:gd name="connsiteX1" fmla="*/ 519316 w 1031144"/>
                    <a:gd name="connsiteY1" fmla="*/ 3051045 h 3054310"/>
                    <a:gd name="connsiteX2" fmla="*/ 1031094 w 1031144"/>
                    <a:gd name="connsiteY2" fmla="*/ 1171788 h 3054310"/>
                    <a:gd name="connsiteX3" fmla="*/ 986230 w 1031144"/>
                    <a:gd name="connsiteY3" fmla="*/ 134768 h 3054310"/>
                    <a:gd name="connsiteX4" fmla="*/ 972187 w 1031144"/>
                    <a:gd name="connsiteY4" fmla="*/ 21688 h 3054310"/>
                    <a:gd name="connsiteX5" fmla="*/ 735635 w 1031144"/>
                    <a:gd name="connsiteY5" fmla="*/ 2042 h 3054310"/>
                    <a:gd name="connsiteX6" fmla="*/ 736018 w 1031144"/>
                    <a:gd name="connsiteY6" fmla="*/ 4051 h 3054310"/>
                    <a:gd name="connsiteX7" fmla="*/ 736020 w 1031144"/>
                    <a:gd name="connsiteY7" fmla="*/ 4050 h 3054310"/>
                    <a:gd name="connsiteX8" fmla="*/ 734823 w 1031144"/>
                    <a:gd name="connsiteY8" fmla="*/ 87 h 3054310"/>
                    <a:gd name="connsiteX9" fmla="*/ 789277 w 1031144"/>
                    <a:gd name="connsiteY9" fmla="*/ 524445 h 3054310"/>
                    <a:gd name="connsiteX10" fmla="*/ 798210 w 1031144"/>
                    <a:gd name="connsiteY10" fmla="*/ 736861 h 3054310"/>
                    <a:gd name="connsiteX11" fmla="*/ 798208 w 1031144"/>
                    <a:gd name="connsiteY11" fmla="*/ 736861 h 3054310"/>
                    <a:gd name="connsiteX12" fmla="*/ 802130 w 1031144"/>
                    <a:gd name="connsiteY12" fmla="*/ 830082 h 3054310"/>
                    <a:gd name="connsiteX13" fmla="*/ 804604 w 1031144"/>
                    <a:gd name="connsiteY13" fmla="*/ 1158127 h 3054310"/>
                    <a:gd name="connsiteX14" fmla="*/ 521742 w 1031144"/>
                    <a:gd name="connsiteY14" fmla="*/ 2783199 h 3054310"/>
                    <a:gd name="connsiteX15" fmla="*/ 268378 w 1031144"/>
                    <a:gd name="connsiteY15" fmla="*/ 1153277 h 3054310"/>
                    <a:gd name="connsiteX16" fmla="*/ 276799 w 1031144"/>
                    <a:gd name="connsiteY16" fmla="*/ 825329 h 3054310"/>
                    <a:gd name="connsiteX17" fmla="*/ 280324 w 1031144"/>
                    <a:gd name="connsiteY17" fmla="*/ 766767 h 3054310"/>
                    <a:gd name="connsiteX18" fmla="*/ 67813 w 1031144"/>
                    <a:gd name="connsiteY18" fmla="*/ 771967 h 3054310"/>
                    <a:gd name="connsiteX19" fmla="*/ 14536 w 1031144"/>
                    <a:gd name="connsiteY19" fmla="*/ 771191 h 3054310"/>
                    <a:gd name="connsiteX20" fmla="*/ 265 w 1031144"/>
                    <a:gd name="connsiteY20" fmla="*/ 1150854 h 3054310"/>
                    <a:gd name="connsiteX21" fmla="*/ 467031 w 1031144"/>
                    <a:gd name="connsiteY21" fmla="*/ 3028743 h 3054310"/>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2187 w 1031144"/>
                    <a:gd name="connsiteY4" fmla="*/ 19646 h 3052268"/>
                    <a:gd name="connsiteX5" fmla="*/ 735635 w 1031144"/>
                    <a:gd name="connsiteY5" fmla="*/ 0 h 3052268"/>
                    <a:gd name="connsiteX6" fmla="*/ 736018 w 1031144"/>
                    <a:gd name="connsiteY6" fmla="*/ 2009 h 3052268"/>
                    <a:gd name="connsiteX7" fmla="*/ 736020 w 1031144"/>
                    <a:gd name="connsiteY7" fmla="*/ 2008 h 3052268"/>
                    <a:gd name="connsiteX8" fmla="*/ 789277 w 1031144"/>
                    <a:gd name="connsiteY8" fmla="*/ 522403 h 3052268"/>
                    <a:gd name="connsiteX9" fmla="*/ 798210 w 1031144"/>
                    <a:gd name="connsiteY9" fmla="*/ 734819 h 3052268"/>
                    <a:gd name="connsiteX10" fmla="*/ 798208 w 1031144"/>
                    <a:gd name="connsiteY10" fmla="*/ 734819 h 3052268"/>
                    <a:gd name="connsiteX11" fmla="*/ 802130 w 1031144"/>
                    <a:gd name="connsiteY11" fmla="*/ 828040 h 3052268"/>
                    <a:gd name="connsiteX12" fmla="*/ 804604 w 1031144"/>
                    <a:gd name="connsiteY12" fmla="*/ 1156085 h 3052268"/>
                    <a:gd name="connsiteX13" fmla="*/ 521742 w 1031144"/>
                    <a:gd name="connsiteY13" fmla="*/ 2781157 h 3052268"/>
                    <a:gd name="connsiteX14" fmla="*/ 268378 w 1031144"/>
                    <a:gd name="connsiteY14" fmla="*/ 1151235 h 3052268"/>
                    <a:gd name="connsiteX15" fmla="*/ 276799 w 1031144"/>
                    <a:gd name="connsiteY15" fmla="*/ 823287 h 3052268"/>
                    <a:gd name="connsiteX16" fmla="*/ 280324 w 1031144"/>
                    <a:gd name="connsiteY16" fmla="*/ 764725 h 3052268"/>
                    <a:gd name="connsiteX17" fmla="*/ 67813 w 1031144"/>
                    <a:gd name="connsiteY17" fmla="*/ 769925 h 3052268"/>
                    <a:gd name="connsiteX18" fmla="*/ 14536 w 1031144"/>
                    <a:gd name="connsiteY18" fmla="*/ 769149 h 3052268"/>
                    <a:gd name="connsiteX19" fmla="*/ 265 w 1031144"/>
                    <a:gd name="connsiteY19" fmla="*/ 1148812 h 3052268"/>
                    <a:gd name="connsiteX20" fmla="*/ 467031 w 1031144"/>
                    <a:gd name="connsiteY20" fmla="*/ 3026701 h 3052268"/>
                    <a:gd name="connsiteX0" fmla="*/ 467031 w 1031144"/>
                    <a:gd name="connsiteY0" fmla="*/ 3027954 h 3053521"/>
                    <a:gd name="connsiteX1" fmla="*/ 519316 w 1031144"/>
                    <a:gd name="connsiteY1" fmla="*/ 3050256 h 3053521"/>
                    <a:gd name="connsiteX2" fmla="*/ 1031094 w 1031144"/>
                    <a:gd name="connsiteY2" fmla="*/ 1170999 h 3053521"/>
                    <a:gd name="connsiteX3" fmla="*/ 986230 w 1031144"/>
                    <a:gd name="connsiteY3" fmla="*/ 133979 h 3053521"/>
                    <a:gd name="connsiteX4" fmla="*/ 972187 w 1031144"/>
                    <a:gd name="connsiteY4" fmla="*/ 20899 h 3053521"/>
                    <a:gd name="connsiteX5" fmla="*/ 735635 w 1031144"/>
                    <a:gd name="connsiteY5" fmla="*/ 1253 h 3053521"/>
                    <a:gd name="connsiteX6" fmla="*/ 736018 w 1031144"/>
                    <a:gd name="connsiteY6" fmla="*/ 3262 h 3053521"/>
                    <a:gd name="connsiteX7" fmla="*/ 735179 w 1031144"/>
                    <a:gd name="connsiteY7" fmla="*/ 0 h 3053521"/>
                    <a:gd name="connsiteX8" fmla="*/ 789277 w 1031144"/>
                    <a:gd name="connsiteY8" fmla="*/ 523656 h 3053521"/>
                    <a:gd name="connsiteX9" fmla="*/ 798210 w 1031144"/>
                    <a:gd name="connsiteY9" fmla="*/ 736072 h 3053521"/>
                    <a:gd name="connsiteX10" fmla="*/ 798208 w 1031144"/>
                    <a:gd name="connsiteY10" fmla="*/ 736072 h 3053521"/>
                    <a:gd name="connsiteX11" fmla="*/ 802130 w 1031144"/>
                    <a:gd name="connsiteY11" fmla="*/ 829293 h 3053521"/>
                    <a:gd name="connsiteX12" fmla="*/ 804604 w 1031144"/>
                    <a:gd name="connsiteY12" fmla="*/ 1157338 h 3053521"/>
                    <a:gd name="connsiteX13" fmla="*/ 521742 w 1031144"/>
                    <a:gd name="connsiteY13" fmla="*/ 2782410 h 3053521"/>
                    <a:gd name="connsiteX14" fmla="*/ 268378 w 1031144"/>
                    <a:gd name="connsiteY14" fmla="*/ 1152488 h 3053521"/>
                    <a:gd name="connsiteX15" fmla="*/ 276799 w 1031144"/>
                    <a:gd name="connsiteY15" fmla="*/ 824540 h 3053521"/>
                    <a:gd name="connsiteX16" fmla="*/ 280324 w 1031144"/>
                    <a:gd name="connsiteY16" fmla="*/ 765978 h 3053521"/>
                    <a:gd name="connsiteX17" fmla="*/ 67813 w 1031144"/>
                    <a:gd name="connsiteY17" fmla="*/ 771178 h 3053521"/>
                    <a:gd name="connsiteX18" fmla="*/ 14536 w 1031144"/>
                    <a:gd name="connsiteY18" fmla="*/ 770402 h 3053521"/>
                    <a:gd name="connsiteX19" fmla="*/ 265 w 1031144"/>
                    <a:gd name="connsiteY19" fmla="*/ 1150065 h 3053521"/>
                    <a:gd name="connsiteX20" fmla="*/ 467031 w 1031144"/>
                    <a:gd name="connsiteY20" fmla="*/ 3027954 h 3053521"/>
                    <a:gd name="connsiteX0" fmla="*/ 467031 w 1031144"/>
                    <a:gd name="connsiteY0" fmla="*/ 3027954 h 3053521"/>
                    <a:gd name="connsiteX1" fmla="*/ 519316 w 1031144"/>
                    <a:gd name="connsiteY1" fmla="*/ 3050256 h 3053521"/>
                    <a:gd name="connsiteX2" fmla="*/ 1031094 w 1031144"/>
                    <a:gd name="connsiteY2" fmla="*/ 1170999 h 3053521"/>
                    <a:gd name="connsiteX3" fmla="*/ 986230 w 1031144"/>
                    <a:gd name="connsiteY3" fmla="*/ 133979 h 3053521"/>
                    <a:gd name="connsiteX4" fmla="*/ 970136 w 1031144"/>
                    <a:gd name="connsiteY4" fmla="*/ 19689 h 3053521"/>
                    <a:gd name="connsiteX5" fmla="*/ 735635 w 1031144"/>
                    <a:gd name="connsiteY5" fmla="*/ 1253 h 3053521"/>
                    <a:gd name="connsiteX6" fmla="*/ 736018 w 1031144"/>
                    <a:gd name="connsiteY6" fmla="*/ 3262 h 3053521"/>
                    <a:gd name="connsiteX7" fmla="*/ 735179 w 1031144"/>
                    <a:gd name="connsiteY7" fmla="*/ 0 h 3053521"/>
                    <a:gd name="connsiteX8" fmla="*/ 789277 w 1031144"/>
                    <a:gd name="connsiteY8" fmla="*/ 523656 h 3053521"/>
                    <a:gd name="connsiteX9" fmla="*/ 798210 w 1031144"/>
                    <a:gd name="connsiteY9" fmla="*/ 736072 h 3053521"/>
                    <a:gd name="connsiteX10" fmla="*/ 798208 w 1031144"/>
                    <a:gd name="connsiteY10" fmla="*/ 736072 h 3053521"/>
                    <a:gd name="connsiteX11" fmla="*/ 802130 w 1031144"/>
                    <a:gd name="connsiteY11" fmla="*/ 829293 h 3053521"/>
                    <a:gd name="connsiteX12" fmla="*/ 804604 w 1031144"/>
                    <a:gd name="connsiteY12" fmla="*/ 1157338 h 3053521"/>
                    <a:gd name="connsiteX13" fmla="*/ 521742 w 1031144"/>
                    <a:gd name="connsiteY13" fmla="*/ 2782410 h 3053521"/>
                    <a:gd name="connsiteX14" fmla="*/ 268378 w 1031144"/>
                    <a:gd name="connsiteY14" fmla="*/ 1152488 h 3053521"/>
                    <a:gd name="connsiteX15" fmla="*/ 276799 w 1031144"/>
                    <a:gd name="connsiteY15" fmla="*/ 824540 h 3053521"/>
                    <a:gd name="connsiteX16" fmla="*/ 280324 w 1031144"/>
                    <a:gd name="connsiteY16" fmla="*/ 765978 h 3053521"/>
                    <a:gd name="connsiteX17" fmla="*/ 67813 w 1031144"/>
                    <a:gd name="connsiteY17" fmla="*/ 771178 h 3053521"/>
                    <a:gd name="connsiteX18" fmla="*/ 14536 w 1031144"/>
                    <a:gd name="connsiteY18" fmla="*/ 770402 h 3053521"/>
                    <a:gd name="connsiteX19" fmla="*/ 265 w 1031144"/>
                    <a:gd name="connsiteY19" fmla="*/ 1150065 h 3053521"/>
                    <a:gd name="connsiteX20" fmla="*/ 467031 w 1031144"/>
                    <a:gd name="connsiteY20" fmla="*/ 3027954 h 3053521"/>
                    <a:gd name="connsiteX0" fmla="*/ 467031 w 1031144"/>
                    <a:gd name="connsiteY0" fmla="*/ 3030005 h 3055572"/>
                    <a:gd name="connsiteX1" fmla="*/ 519316 w 1031144"/>
                    <a:gd name="connsiteY1" fmla="*/ 3052307 h 3055572"/>
                    <a:gd name="connsiteX2" fmla="*/ 1031094 w 1031144"/>
                    <a:gd name="connsiteY2" fmla="*/ 1173050 h 3055572"/>
                    <a:gd name="connsiteX3" fmla="*/ 986230 w 1031144"/>
                    <a:gd name="connsiteY3" fmla="*/ 136030 h 3055572"/>
                    <a:gd name="connsiteX4" fmla="*/ 970136 w 1031144"/>
                    <a:gd name="connsiteY4" fmla="*/ 21740 h 3055572"/>
                    <a:gd name="connsiteX5" fmla="*/ 735635 w 1031144"/>
                    <a:gd name="connsiteY5" fmla="*/ 3304 h 3055572"/>
                    <a:gd name="connsiteX6" fmla="*/ 736018 w 1031144"/>
                    <a:gd name="connsiteY6" fmla="*/ 5313 h 3055572"/>
                    <a:gd name="connsiteX7" fmla="*/ 736389 w 1031144"/>
                    <a:gd name="connsiteY7" fmla="*/ 0 h 3055572"/>
                    <a:gd name="connsiteX8" fmla="*/ 789277 w 1031144"/>
                    <a:gd name="connsiteY8" fmla="*/ 525707 h 3055572"/>
                    <a:gd name="connsiteX9" fmla="*/ 798210 w 1031144"/>
                    <a:gd name="connsiteY9" fmla="*/ 738123 h 3055572"/>
                    <a:gd name="connsiteX10" fmla="*/ 798208 w 1031144"/>
                    <a:gd name="connsiteY10" fmla="*/ 738123 h 3055572"/>
                    <a:gd name="connsiteX11" fmla="*/ 802130 w 1031144"/>
                    <a:gd name="connsiteY11" fmla="*/ 831344 h 3055572"/>
                    <a:gd name="connsiteX12" fmla="*/ 804604 w 1031144"/>
                    <a:gd name="connsiteY12" fmla="*/ 1159389 h 3055572"/>
                    <a:gd name="connsiteX13" fmla="*/ 521742 w 1031144"/>
                    <a:gd name="connsiteY13" fmla="*/ 2784461 h 3055572"/>
                    <a:gd name="connsiteX14" fmla="*/ 268378 w 1031144"/>
                    <a:gd name="connsiteY14" fmla="*/ 1154539 h 3055572"/>
                    <a:gd name="connsiteX15" fmla="*/ 276799 w 1031144"/>
                    <a:gd name="connsiteY15" fmla="*/ 826591 h 3055572"/>
                    <a:gd name="connsiteX16" fmla="*/ 280324 w 1031144"/>
                    <a:gd name="connsiteY16" fmla="*/ 768029 h 3055572"/>
                    <a:gd name="connsiteX17" fmla="*/ 67813 w 1031144"/>
                    <a:gd name="connsiteY17" fmla="*/ 773229 h 3055572"/>
                    <a:gd name="connsiteX18" fmla="*/ 14536 w 1031144"/>
                    <a:gd name="connsiteY18" fmla="*/ 772453 h 3055572"/>
                    <a:gd name="connsiteX19" fmla="*/ 265 w 1031144"/>
                    <a:gd name="connsiteY19" fmla="*/ 1152116 h 3055572"/>
                    <a:gd name="connsiteX20" fmla="*/ 467031 w 1031144"/>
                    <a:gd name="connsiteY20" fmla="*/ 3030005 h 3055572"/>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0136 w 1031144"/>
                    <a:gd name="connsiteY4" fmla="*/ 18436 h 3052268"/>
                    <a:gd name="connsiteX5" fmla="*/ 735635 w 1031144"/>
                    <a:gd name="connsiteY5" fmla="*/ 0 h 3052268"/>
                    <a:gd name="connsiteX6" fmla="*/ 736018 w 1031144"/>
                    <a:gd name="connsiteY6" fmla="*/ 2009 h 3052268"/>
                    <a:gd name="connsiteX7" fmla="*/ 789277 w 1031144"/>
                    <a:gd name="connsiteY7" fmla="*/ 522403 h 3052268"/>
                    <a:gd name="connsiteX8" fmla="*/ 798210 w 1031144"/>
                    <a:gd name="connsiteY8" fmla="*/ 734819 h 3052268"/>
                    <a:gd name="connsiteX9" fmla="*/ 798208 w 1031144"/>
                    <a:gd name="connsiteY9" fmla="*/ 734819 h 3052268"/>
                    <a:gd name="connsiteX10" fmla="*/ 802130 w 1031144"/>
                    <a:gd name="connsiteY10" fmla="*/ 828040 h 3052268"/>
                    <a:gd name="connsiteX11" fmla="*/ 804604 w 1031144"/>
                    <a:gd name="connsiteY11" fmla="*/ 1156085 h 3052268"/>
                    <a:gd name="connsiteX12" fmla="*/ 521742 w 1031144"/>
                    <a:gd name="connsiteY12" fmla="*/ 2781157 h 3052268"/>
                    <a:gd name="connsiteX13" fmla="*/ 268378 w 1031144"/>
                    <a:gd name="connsiteY13" fmla="*/ 1151235 h 3052268"/>
                    <a:gd name="connsiteX14" fmla="*/ 276799 w 1031144"/>
                    <a:gd name="connsiteY14" fmla="*/ 823287 h 3052268"/>
                    <a:gd name="connsiteX15" fmla="*/ 280324 w 1031144"/>
                    <a:gd name="connsiteY15" fmla="*/ 764725 h 3052268"/>
                    <a:gd name="connsiteX16" fmla="*/ 67813 w 1031144"/>
                    <a:gd name="connsiteY16" fmla="*/ 769925 h 3052268"/>
                    <a:gd name="connsiteX17" fmla="*/ 14536 w 1031144"/>
                    <a:gd name="connsiteY17" fmla="*/ 769149 h 3052268"/>
                    <a:gd name="connsiteX18" fmla="*/ 265 w 1031144"/>
                    <a:gd name="connsiteY18" fmla="*/ 1148812 h 3052268"/>
                    <a:gd name="connsiteX19" fmla="*/ 467031 w 1031144"/>
                    <a:gd name="connsiteY19" fmla="*/ 3026701 h 3052268"/>
                    <a:gd name="connsiteX0" fmla="*/ 467031 w 1031144"/>
                    <a:gd name="connsiteY0" fmla="*/ 3029604 h 3055171"/>
                    <a:gd name="connsiteX1" fmla="*/ 519316 w 1031144"/>
                    <a:gd name="connsiteY1" fmla="*/ 3051906 h 3055171"/>
                    <a:gd name="connsiteX2" fmla="*/ 1031094 w 1031144"/>
                    <a:gd name="connsiteY2" fmla="*/ 1172649 h 3055171"/>
                    <a:gd name="connsiteX3" fmla="*/ 986230 w 1031144"/>
                    <a:gd name="connsiteY3" fmla="*/ 135629 h 3055171"/>
                    <a:gd name="connsiteX4" fmla="*/ 970136 w 1031144"/>
                    <a:gd name="connsiteY4" fmla="*/ 21339 h 3055171"/>
                    <a:gd name="connsiteX5" fmla="*/ 735635 w 1031144"/>
                    <a:gd name="connsiteY5" fmla="*/ 2903 h 3055171"/>
                    <a:gd name="connsiteX6" fmla="*/ 727814 w 1031144"/>
                    <a:gd name="connsiteY6" fmla="*/ 73 h 3055171"/>
                    <a:gd name="connsiteX7" fmla="*/ 789277 w 1031144"/>
                    <a:gd name="connsiteY7" fmla="*/ 525306 h 3055171"/>
                    <a:gd name="connsiteX8" fmla="*/ 798210 w 1031144"/>
                    <a:gd name="connsiteY8" fmla="*/ 737722 h 3055171"/>
                    <a:gd name="connsiteX9" fmla="*/ 798208 w 1031144"/>
                    <a:gd name="connsiteY9" fmla="*/ 737722 h 3055171"/>
                    <a:gd name="connsiteX10" fmla="*/ 802130 w 1031144"/>
                    <a:gd name="connsiteY10" fmla="*/ 830943 h 3055171"/>
                    <a:gd name="connsiteX11" fmla="*/ 804604 w 1031144"/>
                    <a:gd name="connsiteY11" fmla="*/ 1158988 h 3055171"/>
                    <a:gd name="connsiteX12" fmla="*/ 521742 w 1031144"/>
                    <a:gd name="connsiteY12" fmla="*/ 2784060 h 3055171"/>
                    <a:gd name="connsiteX13" fmla="*/ 268378 w 1031144"/>
                    <a:gd name="connsiteY13" fmla="*/ 1154138 h 3055171"/>
                    <a:gd name="connsiteX14" fmla="*/ 276799 w 1031144"/>
                    <a:gd name="connsiteY14" fmla="*/ 826190 h 3055171"/>
                    <a:gd name="connsiteX15" fmla="*/ 280324 w 1031144"/>
                    <a:gd name="connsiteY15" fmla="*/ 767628 h 3055171"/>
                    <a:gd name="connsiteX16" fmla="*/ 67813 w 1031144"/>
                    <a:gd name="connsiteY16" fmla="*/ 772828 h 3055171"/>
                    <a:gd name="connsiteX17" fmla="*/ 14536 w 1031144"/>
                    <a:gd name="connsiteY17" fmla="*/ 772052 h 3055171"/>
                    <a:gd name="connsiteX18" fmla="*/ 265 w 1031144"/>
                    <a:gd name="connsiteY18" fmla="*/ 1151715 h 3055171"/>
                    <a:gd name="connsiteX19" fmla="*/ 467031 w 1031144"/>
                    <a:gd name="connsiteY19" fmla="*/ 3029604 h 3055171"/>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70136 w 1031144"/>
                    <a:gd name="connsiteY4" fmla="*/ 18436 h 3052268"/>
                    <a:gd name="connsiteX5" fmla="*/ 735635 w 1031144"/>
                    <a:gd name="connsiteY5" fmla="*/ 0 h 3052268"/>
                    <a:gd name="connsiteX6" fmla="*/ 733968 w 1031144"/>
                    <a:gd name="connsiteY6" fmla="*/ 799 h 3052268"/>
                    <a:gd name="connsiteX7" fmla="*/ 789277 w 1031144"/>
                    <a:gd name="connsiteY7" fmla="*/ 522403 h 3052268"/>
                    <a:gd name="connsiteX8" fmla="*/ 798210 w 1031144"/>
                    <a:gd name="connsiteY8" fmla="*/ 734819 h 3052268"/>
                    <a:gd name="connsiteX9" fmla="*/ 798208 w 1031144"/>
                    <a:gd name="connsiteY9" fmla="*/ 734819 h 3052268"/>
                    <a:gd name="connsiteX10" fmla="*/ 802130 w 1031144"/>
                    <a:gd name="connsiteY10" fmla="*/ 828040 h 3052268"/>
                    <a:gd name="connsiteX11" fmla="*/ 804604 w 1031144"/>
                    <a:gd name="connsiteY11" fmla="*/ 1156085 h 3052268"/>
                    <a:gd name="connsiteX12" fmla="*/ 521742 w 1031144"/>
                    <a:gd name="connsiteY12" fmla="*/ 2781157 h 3052268"/>
                    <a:gd name="connsiteX13" fmla="*/ 268378 w 1031144"/>
                    <a:gd name="connsiteY13" fmla="*/ 1151235 h 3052268"/>
                    <a:gd name="connsiteX14" fmla="*/ 276799 w 1031144"/>
                    <a:gd name="connsiteY14" fmla="*/ 823287 h 3052268"/>
                    <a:gd name="connsiteX15" fmla="*/ 280324 w 1031144"/>
                    <a:gd name="connsiteY15" fmla="*/ 764725 h 3052268"/>
                    <a:gd name="connsiteX16" fmla="*/ 67813 w 1031144"/>
                    <a:gd name="connsiteY16" fmla="*/ 769925 h 3052268"/>
                    <a:gd name="connsiteX17" fmla="*/ 14536 w 1031144"/>
                    <a:gd name="connsiteY17" fmla="*/ 769149 h 3052268"/>
                    <a:gd name="connsiteX18" fmla="*/ 265 w 1031144"/>
                    <a:gd name="connsiteY18" fmla="*/ 1148812 h 3052268"/>
                    <a:gd name="connsiteX19" fmla="*/ 467031 w 1031144"/>
                    <a:gd name="connsiteY19" fmla="*/ 3026701 h 3052268"/>
                    <a:gd name="connsiteX0" fmla="*/ 467031 w 1031144"/>
                    <a:gd name="connsiteY0" fmla="*/ 3028064 h 3053631"/>
                    <a:gd name="connsiteX1" fmla="*/ 519316 w 1031144"/>
                    <a:gd name="connsiteY1" fmla="*/ 3050366 h 3053631"/>
                    <a:gd name="connsiteX2" fmla="*/ 1031094 w 1031144"/>
                    <a:gd name="connsiteY2" fmla="*/ 1171109 h 3053631"/>
                    <a:gd name="connsiteX3" fmla="*/ 986230 w 1031144"/>
                    <a:gd name="connsiteY3" fmla="*/ 134089 h 3053631"/>
                    <a:gd name="connsiteX4" fmla="*/ 970136 w 1031144"/>
                    <a:gd name="connsiteY4" fmla="*/ 19799 h 3053631"/>
                    <a:gd name="connsiteX5" fmla="*/ 735635 w 1031144"/>
                    <a:gd name="connsiteY5" fmla="*/ 1363 h 3053631"/>
                    <a:gd name="connsiteX6" fmla="*/ 735178 w 1031144"/>
                    <a:gd name="connsiteY6" fmla="*/ 111 h 3053631"/>
                    <a:gd name="connsiteX7" fmla="*/ 789277 w 1031144"/>
                    <a:gd name="connsiteY7" fmla="*/ 523766 h 3053631"/>
                    <a:gd name="connsiteX8" fmla="*/ 798210 w 1031144"/>
                    <a:gd name="connsiteY8" fmla="*/ 736182 h 3053631"/>
                    <a:gd name="connsiteX9" fmla="*/ 798208 w 1031144"/>
                    <a:gd name="connsiteY9" fmla="*/ 736182 h 3053631"/>
                    <a:gd name="connsiteX10" fmla="*/ 802130 w 1031144"/>
                    <a:gd name="connsiteY10" fmla="*/ 829403 h 3053631"/>
                    <a:gd name="connsiteX11" fmla="*/ 804604 w 1031144"/>
                    <a:gd name="connsiteY11" fmla="*/ 1157448 h 3053631"/>
                    <a:gd name="connsiteX12" fmla="*/ 521742 w 1031144"/>
                    <a:gd name="connsiteY12" fmla="*/ 2782520 h 3053631"/>
                    <a:gd name="connsiteX13" fmla="*/ 268378 w 1031144"/>
                    <a:gd name="connsiteY13" fmla="*/ 1152598 h 3053631"/>
                    <a:gd name="connsiteX14" fmla="*/ 276799 w 1031144"/>
                    <a:gd name="connsiteY14" fmla="*/ 824650 h 3053631"/>
                    <a:gd name="connsiteX15" fmla="*/ 280324 w 1031144"/>
                    <a:gd name="connsiteY15" fmla="*/ 766088 h 3053631"/>
                    <a:gd name="connsiteX16" fmla="*/ 67813 w 1031144"/>
                    <a:gd name="connsiteY16" fmla="*/ 771288 h 3053631"/>
                    <a:gd name="connsiteX17" fmla="*/ 14536 w 1031144"/>
                    <a:gd name="connsiteY17" fmla="*/ 770512 h 3053631"/>
                    <a:gd name="connsiteX18" fmla="*/ 265 w 1031144"/>
                    <a:gd name="connsiteY18" fmla="*/ 1150175 h 3053631"/>
                    <a:gd name="connsiteX19" fmla="*/ 467031 w 1031144"/>
                    <a:gd name="connsiteY19" fmla="*/ 3028064 h 3053631"/>
                    <a:gd name="connsiteX0" fmla="*/ 467031 w 1031144"/>
                    <a:gd name="connsiteY0" fmla="*/ 3028064 h 3053631"/>
                    <a:gd name="connsiteX1" fmla="*/ 519316 w 1031144"/>
                    <a:gd name="connsiteY1" fmla="*/ 3050366 h 3053631"/>
                    <a:gd name="connsiteX2" fmla="*/ 1031094 w 1031144"/>
                    <a:gd name="connsiteY2" fmla="*/ 1171109 h 3053631"/>
                    <a:gd name="connsiteX3" fmla="*/ 986230 w 1031144"/>
                    <a:gd name="connsiteY3" fmla="*/ 134089 h 3053631"/>
                    <a:gd name="connsiteX4" fmla="*/ 969294 w 1031144"/>
                    <a:gd name="connsiteY4" fmla="*/ 16538 h 3053631"/>
                    <a:gd name="connsiteX5" fmla="*/ 735635 w 1031144"/>
                    <a:gd name="connsiteY5" fmla="*/ 1363 h 3053631"/>
                    <a:gd name="connsiteX6" fmla="*/ 735178 w 1031144"/>
                    <a:gd name="connsiteY6" fmla="*/ 111 h 3053631"/>
                    <a:gd name="connsiteX7" fmla="*/ 789277 w 1031144"/>
                    <a:gd name="connsiteY7" fmla="*/ 523766 h 3053631"/>
                    <a:gd name="connsiteX8" fmla="*/ 798210 w 1031144"/>
                    <a:gd name="connsiteY8" fmla="*/ 736182 h 3053631"/>
                    <a:gd name="connsiteX9" fmla="*/ 798208 w 1031144"/>
                    <a:gd name="connsiteY9" fmla="*/ 736182 h 3053631"/>
                    <a:gd name="connsiteX10" fmla="*/ 802130 w 1031144"/>
                    <a:gd name="connsiteY10" fmla="*/ 829403 h 3053631"/>
                    <a:gd name="connsiteX11" fmla="*/ 804604 w 1031144"/>
                    <a:gd name="connsiteY11" fmla="*/ 1157448 h 3053631"/>
                    <a:gd name="connsiteX12" fmla="*/ 521742 w 1031144"/>
                    <a:gd name="connsiteY12" fmla="*/ 2782520 h 3053631"/>
                    <a:gd name="connsiteX13" fmla="*/ 268378 w 1031144"/>
                    <a:gd name="connsiteY13" fmla="*/ 1152598 h 3053631"/>
                    <a:gd name="connsiteX14" fmla="*/ 276799 w 1031144"/>
                    <a:gd name="connsiteY14" fmla="*/ 824650 h 3053631"/>
                    <a:gd name="connsiteX15" fmla="*/ 280324 w 1031144"/>
                    <a:gd name="connsiteY15" fmla="*/ 766088 h 3053631"/>
                    <a:gd name="connsiteX16" fmla="*/ 67813 w 1031144"/>
                    <a:gd name="connsiteY16" fmla="*/ 771288 h 3053631"/>
                    <a:gd name="connsiteX17" fmla="*/ 14536 w 1031144"/>
                    <a:gd name="connsiteY17" fmla="*/ 770512 h 3053631"/>
                    <a:gd name="connsiteX18" fmla="*/ 265 w 1031144"/>
                    <a:gd name="connsiteY18" fmla="*/ 1150175 h 3053631"/>
                    <a:gd name="connsiteX19" fmla="*/ 467031 w 1031144"/>
                    <a:gd name="connsiteY19" fmla="*/ 3028064 h 3053631"/>
                    <a:gd name="connsiteX0" fmla="*/ 467031 w 1031144"/>
                    <a:gd name="connsiteY0" fmla="*/ 3031266 h 3056833"/>
                    <a:gd name="connsiteX1" fmla="*/ 519316 w 1031144"/>
                    <a:gd name="connsiteY1" fmla="*/ 3053568 h 3056833"/>
                    <a:gd name="connsiteX2" fmla="*/ 1031094 w 1031144"/>
                    <a:gd name="connsiteY2" fmla="*/ 1174311 h 3056833"/>
                    <a:gd name="connsiteX3" fmla="*/ 986230 w 1031144"/>
                    <a:gd name="connsiteY3" fmla="*/ 137291 h 3056833"/>
                    <a:gd name="connsiteX4" fmla="*/ 969294 w 1031144"/>
                    <a:gd name="connsiteY4" fmla="*/ 19740 h 3056833"/>
                    <a:gd name="connsiteX5" fmla="*/ 735635 w 1031144"/>
                    <a:gd name="connsiteY5" fmla="*/ 4565 h 3056833"/>
                    <a:gd name="connsiteX6" fmla="*/ 734337 w 1031144"/>
                    <a:gd name="connsiteY6" fmla="*/ 53 h 3056833"/>
                    <a:gd name="connsiteX7" fmla="*/ 789277 w 1031144"/>
                    <a:gd name="connsiteY7" fmla="*/ 526968 h 3056833"/>
                    <a:gd name="connsiteX8" fmla="*/ 798210 w 1031144"/>
                    <a:gd name="connsiteY8" fmla="*/ 739384 h 3056833"/>
                    <a:gd name="connsiteX9" fmla="*/ 798208 w 1031144"/>
                    <a:gd name="connsiteY9" fmla="*/ 739384 h 3056833"/>
                    <a:gd name="connsiteX10" fmla="*/ 802130 w 1031144"/>
                    <a:gd name="connsiteY10" fmla="*/ 832605 h 3056833"/>
                    <a:gd name="connsiteX11" fmla="*/ 804604 w 1031144"/>
                    <a:gd name="connsiteY11" fmla="*/ 1160650 h 3056833"/>
                    <a:gd name="connsiteX12" fmla="*/ 521742 w 1031144"/>
                    <a:gd name="connsiteY12" fmla="*/ 2785722 h 3056833"/>
                    <a:gd name="connsiteX13" fmla="*/ 268378 w 1031144"/>
                    <a:gd name="connsiteY13" fmla="*/ 1155800 h 3056833"/>
                    <a:gd name="connsiteX14" fmla="*/ 276799 w 1031144"/>
                    <a:gd name="connsiteY14" fmla="*/ 827852 h 3056833"/>
                    <a:gd name="connsiteX15" fmla="*/ 280324 w 1031144"/>
                    <a:gd name="connsiteY15" fmla="*/ 769290 h 3056833"/>
                    <a:gd name="connsiteX16" fmla="*/ 67813 w 1031144"/>
                    <a:gd name="connsiteY16" fmla="*/ 774490 h 3056833"/>
                    <a:gd name="connsiteX17" fmla="*/ 14536 w 1031144"/>
                    <a:gd name="connsiteY17" fmla="*/ 773714 h 3056833"/>
                    <a:gd name="connsiteX18" fmla="*/ 265 w 1031144"/>
                    <a:gd name="connsiteY18" fmla="*/ 1153377 h 3056833"/>
                    <a:gd name="connsiteX19" fmla="*/ 467031 w 1031144"/>
                    <a:gd name="connsiteY19" fmla="*/ 3031266 h 3056833"/>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294 w 1031144"/>
                    <a:gd name="connsiteY4" fmla="*/ 15175 h 3052268"/>
                    <a:gd name="connsiteX5" fmla="*/ 735635 w 1031144"/>
                    <a:gd name="connsiteY5" fmla="*/ 0 h 3052268"/>
                    <a:gd name="connsiteX6" fmla="*/ 789277 w 1031144"/>
                    <a:gd name="connsiteY6" fmla="*/ 522403 h 3052268"/>
                    <a:gd name="connsiteX7" fmla="*/ 798210 w 1031144"/>
                    <a:gd name="connsiteY7" fmla="*/ 734819 h 3052268"/>
                    <a:gd name="connsiteX8" fmla="*/ 798208 w 1031144"/>
                    <a:gd name="connsiteY8" fmla="*/ 734819 h 3052268"/>
                    <a:gd name="connsiteX9" fmla="*/ 802130 w 1031144"/>
                    <a:gd name="connsiteY9" fmla="*/ 828040 h 3052268"/>
                    <a:gd name="connsiteX10" fmla="*/ 804604 w 1031144"/>
                    <a:gd name="connsiteY10" fmla="*/ 1156085 h 3052268"/>
                    <a:gd name="connsiteX11" fmla="*/ 521742 w 1031144"/>
                    <a:gd name="connsiteY11" fmla="*/ 2781157 h 3052268"/>
                    <a:gd name="connsiteX12" fmla="*/ 268378 w 1031144"/>
                    <a:gd name="connsiteY12" fmla="*/ 1151235 h 3052268"/>
                    <a:gd name="connsiteX13" fmla="*/ 276799 w 1031144"/>
                    <a:gd name="connsiteY13" fmla="*/ 823287 h 3052268"/>
                    <a:gd name="connsiteX14" fmla="*/ 280324 w 1031144"/>
                    <a:gd name="connsiteY14" fmla="*/ 764725 h 3052268"/>
                    <a:gd name="connsiteX15" fmla="*/ 67813 w 1031144"/>
                    <a:gd name="connsiteY15" fmla="*/ 769925 h 3052268"/>
                    <a:gd name="connsiteX16" fmla="*/ 14536 w 1031144"/>
                    <a:gd name="connsiteY16" fmla="*/ 769149 h 3052268"/>
                    <a:gd name="connsiteX17" fmla="*/ 265 w 1031144"/>
                    <a:gd name="connsiteY17" fmla="*/ 1148812 h 3052268"/>
                    <a:gd name="connsiteX18" fmla="*/ 467031 w 1031144"/>
                    <a:gd name="connsiteY18"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294 w 1031144"/>
                    <a:gd name="connsiteY4" fmla="*/ 15175 h 3052268"/>
                    <a:gd name="connsiteX5" fmla="*/ 735635 w 1031144"/>
                    <a:gd name="connsiteY5" fmla="*/ 0 h 3052268"/>
                    <a:gd name="connsiteX6" fmla="*/ 789277 w 1031144"/>
                    <a:gd name="connsiteY6" fmla="*/ 522403 h 3052268"/>
                    <a:gd name="connsiteX7" fmla="*/ 798210 w 1031144"/>
                    <a:gd name="connsiteY7" fmla="*/ 734819 h 3052268"/>
                    <a:gd name="connsiteX8" fmla="*/ 798208 w 1031144"/>
                    <a:gd name="connsiteY8" fmla="*/ 734819 h 3052268"/>
                    <a:gd name="connsiteX9" fmla="*/ 802130 w 1031144"/>
                    <a:gd name="connsiteY9" fmla="*/ 828040 h 3052268"/>
                    <a:gd name="connsiteX10" fmla="*/ 804604 w 1031144"/>
                    <a:gd name="connsiteY10" fmla="*/ 1156085 h 3052268"/>
                    <a:gd name="connsiteX11" fmla="*/ 521742 w 1031144"/>
                    <a:gd name="connsiteY11" fmla="*/ 2781157 h 3052268"/>
                    <a:gd name="connsiteX12" fmla="*/ 268378 w 1031144"/>
                    <a:gd name="connsiteY12" fmla="*/ 1151235 h 3052268"/>
                    <a:gd name="connsiteX13" fmla="*/ 276799 w 1031144"/>
                    <a:gd name="connsiteY13" fmla="*/ 823287 h 3052268"/>
                    <a:gd name="connsiteX14" fmla="*/ 280324 w 1031144"/>
                    <a:gd name="connsiteY14" fmla="*/ 764725 h 3052268"/>
                    <a:gd name="connsiteX15" fmla="*/ 67813 w 1031144"/>
                    <a:gd name="connsiteY15" fmla="*/ 769925 h 3052268"/>
                    <a:gd name="connsiteX16" fmla="*/ 14536 w 1031144"/>
                    <a:gd name="connsiteY16" fmla="*/ 769149 h 3052268"/>
                    <a:gd name="connsiteX17" fmla="*/ 265 w 1031144"/>
                    <a:gd name="connsiteY17" fmla="*/ 1148812 h 3052268"/>
                    <a:gd name="connsiteX18" fmla="*/ 467031 w 1031144"/>
                    <a:gd name="connsiteY18"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294 w 1031144"/>
                    <a:gd name="connsiteY4" fmla="*/ 15175 h 3052268"/>
                    <a:gd name="connsiteX5" fmla="*/ 735635 w 1031144"/>
                    <a:gd name="connsiteY5" fmla="*/ 0 h 3052268"/>
                    <a:gd name="connsiteX6" fmla="*/ 789277 w 1031144"/>
                    <a:gd name="connsiteY6" fmla="*/ 522403 h 3052268"/>
                    <a:gd name="connsiteX7" fmla="*/ 798210 w 1031144"/>
                    <a:gd name="connsiteY7" fmla="*/ 734819 h 3052268"/>
                    <a:gd name="connsiteX8" fmla="*/ 798208 w 1031144"/>
                    <a:gd name="connsiteY8" fmla="*/ 734819 h 3052268"/>
                    <a:gd name="connsiteX9" fmla="*/ 802130 w 1031144"/>
                    <a:gd name="connsiteY9" fmla="*/ 828040 h 3052268"/>
                    <a:gd name="connsiteX10" fmla="*/ 804604 w 1031144"/>
                    <a:gd name="connsiteY10" fmla="*/ 1156085 h 3052268"/>
                    <a:gd name="connsiteX11" fmla="*/ 521742 w 1031144"/>
                    <a:gd name="connsiteY11" fmla="*/ 2781157 h 3052268"/>
                    <a:gd name="connsiteX12" fmla="*/ 268378 w 1031144"/>
                    <a:gd name="connsiteY12" fmla="*/ 1151235 h 3052268"/>
                    <a:gd name="connsiteX13" fmla="*/ 276799 w 1031144"/>
                    <a:gd name="connsiteY13" fmla="*/ 823287 h 3052268"/>
                    <a:gd name="connsiteX14" fmla="*/ 280324 w 1031144"/>
                    <a:gd name="connsiteY14" fmla="*/ 764725 h 3052268"/>
                    <a:gd name="connsiteX15" fmla="*/ 67813 w 1031144"/>
                    <a:gd name="connsiteY15" fmla="*/ 769925 h 3052268"/>
                    <a:gd name="connsiteX16" fmla="*/ 14536 w 1031144"/>
                    <a:gd name="connsiteY16" fmla="*/ 769149 h 3052268"/>
                    <a:gd name="connsiteX17" fmla="*/ 265 w 1031144"/>
                    <a:gd name="connsiteY17" fmla="*/ 1148812 h 3052268"/>
                    <a:gd name="connsiteX18" fmla="*/ 467031 w 1031144"/>
                    <a:gd name="connsiteY18"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294 w 1031144"/>
                    <a:gd name="connsiteY4" fmla="*/ 15175 h 3052268"/>
                    <a:gd name="connsiteX5" fmla="*/ 735635 w 1031144"/>
                    <a:gd name="connsiteY5" fmla="*/ 0 h 3052268"/>
                    <a:gd name="connsiteX6" fmla="*/ 789277 w 1031144"/>
                    <a:gd name="connsiteY6" fmla="*/ 522403 h 3052268"/>
                    <a:gd name="connsiteX7" fmla="*/ 798210 w 1031144"/>
                    <a:gd name="connsiteY7" fmla="*/ 734819 h 3052268"/>
                    <a:gd name="connsiteX8" fmla="*/ 798208 w 1031144"/>
                    <a:gd name="connsiteY8" fmla="*/ 734819 h 3052268"/>
                    <a:gd name="connsiteX9" fmla="*/ 802130 w 1031144"/>
                    <a:gd name="connsiteY9" fmla="*/ 828040 h 3052268"/>
                    <a:gd name="connsiteX10" fmla="*/ 804604 w 1031144"/>
                    <a:gd name="connsiteY10" fmla="*/ 1156085 h 3052268"/>
                    <a:gd name="connsiteX11" fmla="*/ 521742 w 1031144"/>
                    <a:gd name="connsiteY11" fmla="*/ 2781157 h 3052268"/>
                    <a:gd name="connsiteX12" fmla="*/ 268378 w 1031144"/>
                    <a:gd name="connsiteY12" fmla="*/ 1151235 h 3052268"/>
                    <a:gd name="connsiteX13" fmla="*/ 276799 w 1031144"/>
                    <a:gd name="connsiteY13" fmla="*/ 823287 h 3052268"/>
                    <a:gd name="connsiteX14" fmla="*/ 280324 w 1031144"/>
                    <a:gd name="connsiteY14" fmla="*/ 764725 h 3052268"/>
                    <a:gd name="connsiteX15" fmla="*/ 67813 w 1031144"/>
                    <a:gd name="connsiteY15" fmla="*/ 769925 h 3052268"/>
                    <a:gd name="connsiteX16" fmla="*/ 14536 w 1031144"/>
                    <a:gd name="connsiteY16" fmla="*/ 769149 h 3052268"/>
                    <a:gd name="connsiteX17" fmla="*/ 265 w 1031144"/>
                    <a:gd name="connsiteY17" fmla="*/ 1148812 h 3052268"/>
                    <a:gd name="connsiteX18" fmla="*/ 467031 w 1031144"/>
                    <a:gd name="connsiteY18" fmla="*/ 3026701 h 3052268"/>
                    <a:gd name="connsiteX0" fmla="*/ 467031 w 1031144"/>
                    <a:gd name="connsiteY0" fmla="*/ 3026701 h 3052268"/>
                    <a:gd name="connsiteX1" fmla="*/ 519316 w 1031144"/>
                    <a:gd name="connsiteY1" fmla="*/ 3049003 h 3052268"/>
                    <a:gd name="connsiteX2" fmla="*/ 1031094 w 1031144"/>
                    <a:gd name="connsiteY2" fmla="*/ 1169746 h 3052268"/>
                    <a:gd name="connsiteX3" fmla="*/ 986230 w 1031144"/>
                    <a:gd name="connsiteY3" fmla="*/ 132726 h 3052268"/>
                    <a:gd name="connsiteX4" fmla="*/ 969294 w 1031144"/>
                    <a:gd name="connsiteY4" fmla="*/ 15175 h 3052268"/>
                    <a:gd name="connsiteX5" fmla="*/ 735635 w 1031144"/>
                    <a:gd name="connsiteY5" fmla="*/ 0 h 3052268"/>
                    <a:gd name="connsiteX6" fmla="*/ 789277 w 1031144"/>
                    <a:gd name="connsiteY6" fmla="*/ 522403 h 3052268"/>
                    <a:gd name="connsiteX7" fmla="*/ 798210 w 1031144"/>
                    <a:gd name="connsiteY7" fmla="*/ 734819 h 3052268"/>
                    <a:gd name="connsiteX8" fmla="*/ 798208 w 1031144"/>
                    <a:gd name="connsiteY8" fmla="*/ 734819 h 3052268"/>
                    <a:gd name="connsiteX9" fmla="*/ 802130 w 1031144"/>
                    <a:gd name="connsiteY9" fmla="*/ 828040 h 3052268"/>
                    <a:gd name="connsiteX10" fmla="*/ 804604 w 1031144"/>
                    <a:gd name="connsiteY10" fmla="*/ 1156085 h 3052268"/>
                    <a:gd name="connsiteX11" fmla="*/ 521742 w 1031144"/>
                    <a:gd name="connsiteY11" fmla="*/ 2781157 h 3052268"/>
                    <a:gd name="connsiteX12" fmla="*/ 268378 w 1031144"/>
                    <a:gd name="connsiteY12" fmla="*/ 1151235 h 3052268"/>
                    <a:gd name="connsiteX13" fmla="*/ 276799 w 1031144"/>
                    <a:gd name="connsiteY13" fmla="*/ 823287 h 3052268"/>
                    <a:gd name="connsiteX14" fmla="*/ 280324 w 1031144"/>
                    <a:gd name="connsiteY14" fmla="*/ 764725 h 3052268"/>
                    <a:gd name="connsiteX15" fmla="*/ 67813 w 1031144"/>
                    <a:gd name="connsiteY15" fmla="*/ 769925 h 3052268"/>
                    <a:gd name="connsiteX16" fmla="*/ 14536 w 1031144"/>
                    <a:gd name="connsiteY16" fmla="*/ 769149 h 3052268"/>
                    <a:gd name="connsiteX17" fmla="*/ 265 w 1031144"/>
                    <a:gd name="connsiteY17" fmla="*/ 1148812 h 3052268"/>
                    <a:gd name="connsiteX18" fmla="*/ 467031 w 1031144"/>
                    <a:gd name="connsiteY18" fmla="*/ 3026701 h 3052268"/>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0324 w 1031144"/>
                    <a:gd name="connsiteY14" fmla="*/ 766777 h 3054320"/>
                    <a:gd name="connsiteX15" fmla="*/ 67813 w 1031144"/>
                    <a:gd name="connsiteY15" fmla="*/ 771977 h 3054320"/>
                    <a:gd name="connsiteX16" fmla="*/ 14536 w 1031144"/>
                    <a:gd name="connsiteY16" fmla="*/ 771201 h 3054320"/>
                    <a:gd name="connsiteX17" fmla="*/ 265 w 1031144"/>
                    <a:gd name="connsiteY17" fmla="*/ 1150864 h 3054320"/>
                    <a:gd name="connsiteX18" fmla="*/ 467031 w 1031144"/>
                    <a:gd name="connsiteY18"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2744 w 1031144"/>
                    <a:gd name="connsiteY14" fmla="*/ 762674 h 3054320"/>
                    <a:gd name="connsiteX15" fmla="*/ 67813 w 1031144"/>
                    <a:gd name="connsiteY15" fmla="*/ 771977 h 3054320"/>
                    <a:gd name="connsiteX16" fmla="*/ 14536 w 1031144"/>
                    <a:gd name="connsiteY16" fmla="*/ 771201 h 3054320"/>
                    <a:gd name="connsiteX17" fmla="*/ 265 w 1031144"/>
                    <a:gd name="connsiteY17" fmla="*/ 1150864 h 3054320"/>
                    <a:gd name="connsiteX18" fmla="*/ 467031 w 1031144"/>
                    <a:gd name="connsiteY18"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2744 w 1031144"/>
                    <a:gd name="connsiteY14" fmla="*/ 762674 h 3054320"/>
                    <a:gd name="connsiteX15" fmla="*/ 14536 w 1031144"/>
                    <a:gd name="connsiteY15" fmla="*/ 771201 h 3054320"/>
                    <a:gd name="connsiteX16" fmla="*/ 265 w 1031144"/>
                    <a:gd name="connsiteY16" fmla="*/ 1150864 h 3054320"/>
                    <a:gd name="connsiteX17" fmla="*/ 467031 w 1031144"/>
                    <a:gd name="connsiteY17"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2744 w 1031144"/>
                    <a:gd name="connsiteY14" fmla="*/ 762674 h 3054320"/>
                    <a:gd name="connsiteX15" fmla="*/ 14168 w 1031144"/>
                    <a:gd name="connsiteY15" fmla="*/ 776514 h 3054320"/>
                    <a:gd name="connsiteX16" fmla="*/ 265 w 1031144"/>
                    <a:gd name="connsiteY16" fmla="*/ 1150864 h 3054320"/>
                    <a:gd name="connsiteX17" fmla="*/ 467031 w 1031144"/>
                    <a:gd name="connsiteY17"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6006 w 1031144"/>
                    <a:gd name="connsiteY14" fmla="*/ 761834 h 3054320"/>
                    <a:gd name="connsiteX15" fmla="*/ 14168 w 1031144"/>
                    <a:gd name="connsiteY15" fmla="*/ 776514 h 3054320"/>
                    <a:gd name="connsiteX16" fmla="*/ 265 w 1031144"/>
                    <a:gd name="connsiteY16" fmla="*/ 1150864 h 3054320"/>
                    <a:gd name="connsiteX17" fmla="*/ 467031 w 1031144"/>
                    <a:gd name="connsiteY17"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81904 w 1031144"/>
                    <a:gd name="connsiteY14" fmla="*/ 759414 h 3054320"/>
                    <a:gd name="connsiteX15" fmla="*/ 14168 w 1031144"/>
                    <a:gd name="connsiteY15" fmla="*/ 776514 h 3054320"/>
                    <a:gd name="connsiteX16" fmla="*/ 265 w 1031144"/>
                    <a:gd name="connsiteY16" fmla="*/ 1150864 h 3054320"/>
                    <a:gd name="connsiteX17" fmla="*/ 467031 w 1031144"/>
                    <a:gd name="connsiteY17"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14168 w 1031144"/>
                    <a:gd name="connsiteY14" fmla="*/ 776514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6799 w 1031144"/>
                    <a:gd name="connsiteY13" fmla="*/ 8253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70329 w 1031144"/>
                    <a:gd name="connsiteY13" fmla="*/ 887872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7968 w 1031144"/>
                    <a:gd name="connsiteY13" fmla="*/ 92757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7968 w 1031144"/>
                    <a:gd name="connsiteY13" fmla="*/ 92757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1133 w 1031144"/>
                    <a:gd name="connsiteY13" fmla="*/ 88760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1133 w 1031144"/>
                    <a:gd name="connsiteY13" fmla="*/ 88760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1133 w 1031144"/>
                    <a:gd name="connsiteY13" fmla="*/ 88760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51133 w 1031144"/>
                    <a:gd name="connsiteY13" fmla="*/ 88760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240 w 1031144"/>
                    <a:gd name="connsiteY13" fmla="*/ 883139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608 w 1031144"/>
                    <a:gd name="connsiteY13" fmla="*/ 877828 h 3054320"/>
                    <a:gd name="connsiteX14" fmla="*/ 21055 w 1031144"/>
                    <a:gd name="connsiteY14" fmla="*/ 877335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608 w 1031144"/>
                    <a:gd name="connsiteY13" fmla="*/ 877828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608 w 1031144"/>
                    <a:gd name="connsiteY13" fmla="*/ 877828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8608 w 1031144"/>
                    <a:gd name="connsiteY13" fmla="*/ 877828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8378 w 1031144"/>
                    <a:gd name="connsiteY12" fmla="*/ 1153287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0913 w 1031144"/>
                    <a:gd name="connsiteY12" fmla="*/ 1148884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0913 w 1031144"/>
                    <a:gd name="connsiteY12" fmla="*/ 1148884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0913 w 1031144"/>
                    <a:gd name="connsiteY12" fmla="*/ 1148884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28753 h 3054320"/>
                    <a:gd name="connsiteX1" fmla="*/ 519316 w 1031144"/>
                    <a:gd name="connsiteY1" fmla="*/ 3051055 h 3054320"/>
                    <a:gd name="connsiteX2" fmla="*/ 1031094 w 1031144"/>
                    <a:gd name="connsiteY2" fmla="*/ 1171798 h 3054320"/>
                    <a:gd name="connsiteX3" fmla="*/ 986230 w 1031144"/>
                    <a:gd name="connsiteY3" fmla="*/ 134778 h 3054320"/>
                    <a:gd name="connsiteX4" fmla="*/ 969294 w 1031144"/>
                    <a:gd name="connsiteY4" fmla="*/ 17227 h 3054320"/>
                    <a:gd name="connsiteX5" fmla="*/ 736846 w 1031144"/>
                    <a:gd name="connsiteY5" fmla="*/ 0 h 3054320"/>
                    <a:gd name="connsiteX6" fmla="*/ 789277 w 1031144"/>
                    <a:gd name="connsiteY6" fmla="*/ 524455 h 3054320"/>
                    <a:gd name="connsiteX7" fmla="*/ 798210 w 1031144"/>
                    <a:gd name="connsiteY7" fmla="*/ 736871 h 3054320"/>
                    <a:gd name="connsiteX8" fmla="*/ 798208 w 1031144"/>
                    <a:gd name="connsiteY8" fmla="*/ 736871 h 3054320"/>
                    <a:gd name="connsiteX9" fmla="*/ 802130 w 1031144"/>
                    <a:gd name="connsiteY9" fmla="*/ 830092 h 3054320"/>
                    <a:gd name="connsiteX10" fmla="*/ 804604 w 1031144"/>
                    <a:gd name="connsiteY10" fmla="*/ 1158137 h 3054320"/>
                    <a:gd name="connsiteX11" fmla="*/ 521742 w 1031144"/>
                    <a:gd name="connsiteY11" fmla="*/ 2783209 h 3054320"/>
                    <a:gd name="connsiteX12" fmla="*/ 260913 w 1031144"/>
                    <a:gd name="connsiteY12" fmla="*/ 1148884 h 3054320"/>
                    <a:gd name="connsiteX13" fmla="*/ 246557 w 1031144"/>
                    <a:gd name="connsiteY13" fmla="*/ 876619 h 3054320"/>
                    <a:gd name="connsiteX14" fmla="*/ 16952 w 1031144"/>
                    <a:gd name="connsiteY14" fmla="*/ 874916 h 3054320"/>
                    <a:gd name="connsiteX15" fmla="*/ 265 w 1031144"/>
                    <a:gd name="connsiteY15" fmla="*/ 1150864 h 3054320"/>
                    <a:gd name="connsiteX16" fmla="*/ 467031 w 1031144"/>
                    <a:gd name="connsiteY16" fmla="*/ 3028753 h 3054320"/>
                    <a:gd name="connsiteX0" fmla="*/ 467031 w 1031144"/>
                    <a:gd name="connsiteY0" fmla="*/ 3011526 h 3037093"/>
                    <a:gd name="connsiteX1" fmla="*/ 519316 w 1031144"/>
                    <a:gd name="connsiteY1" fmla="*/ 3033828 h 3037093"/>
                    <a:gd name="connsiteX2" fmla="*/ 1031094 w 1031144"/>
                    <a:gd name="connsiteY2" fmla="*/ 1154571 h 3037093"/>
                    <a:gd name="connsiteX3" fmla="*/ 986230 w 1031144"/>
                    <a:gd name="connsiteY3" fmla="*/ 117551 h 3037093"/>
                    <a:gd name="connsiteX4" fmla="*/ 969294 w 1031144"/>
                    <a:gd name="connsiteY4" fmla="*/ 0 h 3037093"/>
                    <a:gd name="connsiteX5" fmla="*/ 730454 w 1031144"/>
                    <a:gd name="connsiteY5" fmla="*/ 74966 h 3037093"/>
                    <a:gd name="connsiteX6" fmla="*/ 789277 w 1031144"/>
                    <a:gd name="connsiteY6" fmla="*/ 507228 h 3037093"/>
                    <a:gd name="connsiteX7" fmla="*/ 798210 w 1031144"/>
                    <a:gd name="connsiteY7" fmla="*/ 719644 h 3037093"/>
                    <a:gd name="connsiteX8" fmla="*/ 798208 w 1031144"/>
                    <a:gd name="connsiteY8" fmla="*/ 719644 h 3037093"/>
                    <a:gd name="connsiteX9" fmla="*/ 802130 w 1031144"/>
                    <a:gd name="connsiteY9" fmla="*/ 812865 h 3037093"/>
                    <a:gd name="connsiteX10" fmla="*/ 804604 w 1031144"/>
                    <a:gd name="connsiteY10" fmla="*/ 1140910 h 3037093"/>
                    <a:gd name="connsiteX11" fmla="*/ 521742 w 1031144"/>
                    <a:gd name="connsiteY11" fmla="*/ 2765982 h 3037093"/>
                    <a:gd name="connsiteX12" fmla="*/ 260913 w 1031144"/>
                    <a:gd name="connsiteY12" fmla="*/ 1131657 h 3037093"/>
                    <a:gd name="connsiteX13" fmla="*/ 246557 w 1031144"/>
                    <a:gd name="connsiteY13" fmla="*/ 859392 h 3037093"/>
                    <a:gd name="connsiteX14" fmla="*/ 16952 w 1031144"/>
                    <a:gd name="connsiteY14" fmla="*/ 857689 h 3037093"/>
                    <a:gd name="connsiteX15" fmla="*/ 265 w 1031144"/>
                    <a:gd name="connsiteY15" fmla="*/ 1133637 h 3037093"/>
                    <a:gd name="connsiteX16" fmla="*/ 467031 w 1031144"/>
                    <a:gd name="connsiteY16" fmla="*/ 3011526 h 3037093"/>
                    <a:gd name="connsiteX0" fmla="*/ 467031 w 1031144"/>
                    <a:gd name="connsiteY0" fmla="*/ 2936560 h 2962127"/>
                    <a:gd name="connsiteX1" fmla="*/ 519316 w 1031144"/>
                    <a:gd name="connsiteY1" fmla="*/ 2958862 h 2962127"/>
                    <a:gd name="connsiteX2" fmla="*/ 1031094 w 1031144"/>
                    <a:gd name="connsiteY2" fmla="*/ 1079605 h 2962127"/>
                    <a:gd name="connsiteX3" fmla="*/ 986230 w 1031144"/>
                    <a:gd name="connsiteY3" fmla="*/ 42585 h 2962127"/>
                    <a:gd name="connsiteX4" fmla="*/ 730454 w 1031144"/>
                    <a:gd name="connsiteY4" fmla="*/ 0 h 2962127"/>
                    <a:gd name="connsiteX5" fmla="*/ 789277 w 1031144"/>
                    <a:gd name="connsiteY5" fmla="*/ 432262 h 2962127"/>
                    <a:gd name="connsiteX6" fmla="*/ 798210 w 1031144"/>
                    <a:gd name="connsiteY6" fmla="*/ 644678 h 2962127"/>
                    <a:gd name="connsiteX7" fmla="*/ 798208 w 1031144"/>
                    <a:gd name="connsiteY7" fmla="*/ 644678 h 2962127"/>
                    <a:gd name="connsiteX8" fmla="*/ 802130 w 1031144"/>
                    <a:gd name="connsiteY8" fmla="*/ 737899 h 2962127"/>
                    <a:gd name="connsiteX9" fmla="*/ 804604 w 1031144"/>
                    <a:gd name="connsiteY9" fmla="*/ 1065944 h 2962127"/>
                    <a:gd name="connsiteX10" fmla="*/ 521742 w 1031144"/>
                    <a:gd name="connsiteY10" fmla="*/ 2691016 h 2962127"/>
                    <a:gd name="connsiteX11" fmla="*/ 260913 w 1031144"/>
                    <a:gd name="connsiteY11" fmla="*/ 1056691 h 2962127"/>
                    <a:gd name="connsiteX12" fmla="*/ 246557 w 1031144"/>
                    <a:gd name="connsiteY12" fmla="*/ 784426 h 2962127"/>
                    <a:gd name="connsiteX13" fmla="*/ 16952 w 1031144"/>
                    <a:gd name="connsiteY13" fmla="*/ 782723 h 2962127"/>
                    <a:gd name="connsiteX14" fmla="*/ 265 w 1031144"/>
                    <a:gd name="connsiteY14" fmla="*/ 1058671 h 2962127"/>
                    <a:gd name="connsiteX15" fmla="*/ 467031 w 1031144"/>
                    <a:gd name="connsiteY15" fmla="*/ 2936560 h 2962127"/>
                    <a:gd name="connsiteX0" fmla="*/ 467031 w 1031144"/>
                    <a:gd name="connsiteY0" fmla="*/ 2920586 h 2946153"/>
                    <a:gd name="connsiteX1" fmla="*/ 519316 w 1031144"/>
                    <a:gd name="connsiteY1" fmla="*/ 2942888 h 2946153"/>
                    <a:gd name="connsiteX2" fmla="*/ 1031094 w 1031144"/>
                    <a:gd name="connsiteY2" fmla="*/ 1063631 h 2946153"/>
                    <a:gd name="connsiteX3" fmla="*/ 986230 w 1031144"/>
                    <a:gd name="connsiteY3" fmla="*/ 26611 h 2946153"/>
                    <a:gd name="connsiteX4" fmla="*/ 727030 w 1031144"/>
                    <a:gd name="connsiteY4" fmla="*/ 0 h 2946153"/>
                    <a:gd name="connsiteX5" fmla="*/ 789277 w 1031144"/>
                    <a:gd name="connsiteY5" fmla="*/ 416288 h 2946153"/>
                    <a:gd name="connsiteX6" fmla="*/ 798210 w 1031144"/>
                    <a:gd name="connsiteY6" fmla="*/ 628704 h 2946153"/>
                    <a:gd name="connsiteX7" fmla="*/ 798208 w 1031144"/>
                    <a:gd name="connsiteY7" fmla="*/ 628704 h 2946153"/>
                    <a:gd name="connsiteX8" fmla="*/ 802130 w 1031144"/>
                    <a:gd name="connsiteY8" fmla="*/ 721925 h 2946153"/>
                    <a:gd name="connsiteX9" fmla="*/ 804604 w 1031144"/>
                    <a:gd name="connsiteY9" fmla="*/ 1049970 h 2946153"/>
                    <a:gd name="connsiteX10" fmla="*/ 521742 w 1031144"/>
                    <a:gd name="connsiteY10" fmla="*/ 2675042 h 2946153"/>
                    <a:gd name="connsiteX11" fmla="*/ 260913 w 1031144"/>
                    <a:gd name="connsiteY11" fmla="*/ 1040717 h 2946153"/>
                    <a:gd name="connsiteX12" fmla="*/ 246557 w 1031144"/>
                    <a:gd name="connsiteY12" fmla="*/ 768452 h 2946153"/>
                    <a:gd name="connsiteX13" fmla="*/ 16952 w 1031144"/>
                    <a:gd name="connsiteY13" fmla="*/ 766749 h 2946153"/>
                    <a:gd name="connsiteX14" fmla="*/ 265 w 1031144"/>
                    <a:gd name="connsiteY14" fmla="*/ 1042697 h 2946153"/>
                    <a:gd name="connsiteX15" fmla="*/ 467031 w 1031144"/>
                    <a:gd name="connsiteY15" fmla="*/ 2920586 h 2946153"/>
                    <a:gd name="connsiteX0" fmla="*/ 467031 w 1031144"/>
                    <a:gd name="connsiteY0" fmla="*/ 2920586 h 2946153"/>
                    <a:gd name="connsiteX1" fmla="*/ 519316 w 1031144"/>
                    <a:gd name="connsiteY1" fmla="*/ 2942888 h 2946153"/>
                    <a:gd name="connsiteX2" fmla="*/ 1031094 w 1031144"/>
                    <a:gd name="connsiteY2" fmla="*/ 1063631 h 2946153"/>
                    <a:gd name="connsiteX3" fmla="*/ 984633 w 1031144"/>
                    <a:gd name="connsiteY3" fmla="*/ 49659 h 2946153"/>
                    <a:gd name="connsiteX4" fmla="*/ 727030 w 1031144"/>
                    <a:gd name="connsiteY4" fmla="*/ 0 h 2946153"/>
                    <a:gd name="connsiteX5" fmla="*/ 789277 w 1031144"/>
                    <a:gd name="connsiteY5" fmla="*/ 416288 h 2946153"/>
                    <a:gd name="connsiteX6" fmla="*/ 798210 w 1031144"/>
                    <a:gd name="connsiteY6" fmla="*/ 628704 h 2946153"/>
                    <a:gd name="connsiteX7" fmla="*/ 798208 w 1031144"/>
                    <a:gd name="connsiteY7" fmla="*/ 628704 h 2946153"/>
                    <a:gd name="connsiteX8" fmla="*/ 802130 w 1031144"/>
                    <a:gd name="connsiteY8" fmla="*/ 721925 h 2946153"/>
                    <a:gd name="connsiteX9" fmla="*/ 804604 w 1031144"/>
                    <a:gd name="connsiteY9" fmla="*/ 1049970 h 2946153"/>
                    <a:gd name="connsiteX10" fmla="*/ 521742 w 1031144"/>
                    <a:gd name="connsiteY10" fmla="*/ 2675042 h 2946153"/>
                    <a:gd name="connsiteX11" fmla="*/ 260913 w 1031144"/>
                    <a:gd name="connsiteY11" fmla="*/ 1040717 h 2946153"/>
                    <a:gd name="connsiteX12" fmla="*/ 246557 w 1031144"/>
                    <a:gd name="connsiteY12" fmla="*/ 768452 h 2946153"/>
                    <a:gd name="connsiteX13" fmla="*/ 16952 w 1031144"/>
                    <a:gd name="connsiteY13" fmla="*/ 766749 h 2946153"/>
                    <a:gd name="connsiteX14" fmla="*/ 265 w 1031144"/>
                    <a:gd name="connsiteY14" fmla="*/ 1042697 h 2946153"/>
                    <a:gd name="connsiteX15" fmla="*/ 467031 w 1031144"/>
                    <a:gd name="connsiteY15" fmla="*/ 2920586 h 2946153"/>
                    <a:gd name="connsiteX0" fmla="*/ 467031 w 1031144"/>
                    <a:gd name="connsiteY0" fmla="*/ 2920586 h 2946153"/>
                    <a:gd name="connsiteX1" fmla="*/ 519316 w 1031144"/>
                    <a:gd name="connsiteY1" fmla="*/ 2942888 h 2946153"/>
                    <a:gd name="connsiteX2" fmla="*/ 1031094 w 1031144"/>
                    <a:gd name="connsiteY2" fmla="*/ 1063631 h 2946153"/>
                    <a:gd name="connsiteX3" fmla="*/ 981781 w 1031144"/>
                    <a:gd name="connsiteY3" fmla="*/ 23987 h 2946153"/>
                    <a:gd name="connsiteX4" fmla="*/ 727030 w 1031144"/>
                    <a:gd name="connsiteY4" fmla="*/ 0 h 2946153"/>
                    <a:gd name="connsiteX5" fmla="*/ 789277 w 1031144"/>
                    <a:gd name="connsiteY5" fmla="*/ 416288 h 2946153"/>
                    <a:gd name="connsiteX6" fmla="*/ 798210 w 1031144"/>
                    <a:gd name="connsiteY6" fmla="*/ 628704 h 2946153"/>
                    <a:gd name="connsiteX7" fmla="*/ 798208 w 1031144"/>
                    <a:gd name="connsiteY7" fmla="*/ 628704 h 2946153"/>
                    <a:gd name="connsiteX8" fmla="*/ 802130 w 1031144"/>
                    <a:gd name="connsiteY8" fmla="*/ 721925 h 2946153"/>
                    <a:gd name="connsiteX9" fmla="*/ 804604 w 1031144"/>
                    <a:gd name="connsiteY9" fmla="*/ 1049970 h 2946153"/>
                    <a:gd name="connsiteX10" fmla="*/ 521742 w 1031144"/>
                    <a:gd name="connsiteY10" fmla="*/ 2675042 h 2946153"/>
                    <a:gd name="connsiteX11" fmla="*/ 260913 w 1031144"/>
                    <a:gd name="connsiteY11" fmla="*/ 1040717 h 2946153"/>
                    <a:gd name="connsiteX12" fmla="*/ 246557 w 1031144"/>
                    <a:gd name="connsiteY12" fmla="*/ 768452 h 2946153"/>
                    <a:gd name="connsiteX13" fmla="*/ 16952 w 1031144"/>
                    <a:gd name="connsiteY13" fmla="*/ 766749 h 2946153"/>
                    <a:gd name="connsiteX14" fmla="*/ 265 w 1031144"/>
                    <a:gd name="connsiteY14" fmla="*/ 1042697 h 2946153"/>
                    <a:gd name="connsiteX15" fmla="*/ 467031 w 1031144"/>
                    <a:gd name="connsiteY15" fmla="*/ 2920586 h 2946153"/>
                    <a:gd name="connsiteX0" fmla="*/ 467031 w 1031144"/>
                    <a:gd name="connsiteY0" fmla="*/ 2928686 h 2954253"/>
                    <a:gd name="connsiteX1" fmla="*/ 519316 w 1031144"/>
                    <a:gd name="connsiteY1" fmla="*/ 2950988 h 2954253"/>
                    <a:gd name="connsiteX2" fmla="*/ 1031094 w 1031144"/>
                    <a:gd name="connsiteY2" fmla="*/ 1071731 h 2954253"/>
                    <a:gd name="connsiteX3" fmla="*/ 981781 w 1031144"/>
                    <a:gd name="connsiteY3" fmla="*/ 32087 h 2954253"/>
                    <a:gd name="connsiteX4" fmla="*/ 743803 w 1031144"/>
                    <a:gd name="connsiteY4" fmla="*/ 0 h 2954253"/>
                    <a:gd name="connsiteX5" fmla="*/ 789277 w 1031144"/>
                    <a:gd name="connsiteY5" fmla="*/ 424388 h 2954253"/>
                    <a:gd name="connsiteX6" fmla="*/ 798210 w 1031144"/>
                    <a:gd name="connsiteY6" fmla="*/ 636804 h 2954253"/>
                    <a:gd name="connsiteX7" fmla="*/ 798208 w 1031144"/>
                    <a:gd name="connsiteY7" fmla="*/ 636804 h 2954253"/>
                    <a:gd name="connsiteX8" fmla="*/ 802130 w 1031144"/>
                    <a:gd name="connsiteY8" fmla="*/ 730025 h 2954253"/>
                    <a:gd name="connsiteX9" fmla="*/ 804604 w 1031144"/>
                    <a:gd name="connsiteY9" fmla="*/ 1058070 h 2954253"/>
                    <a:gd name="connsiteX10" fmla="*/ 521742 w 1031144"/>
                    <a:gd name="connsiteY10" fmla="*/ 2683142 h 2954253"/>
                    <a:gd name="connsiteX11" fmla="*/ 260913 w 1031144"/>
                    <a:gd name="connsiteY11" fmla="*/ 1048817 h 2954253"/>
                    <a:gd name="connsiteX12" fmla="*/ 246557 w 1031144"/>
                    <a:gd name="connsiteY12" fmla="*/ 776552 h 2954253"/>
                    <a:gd name="connsiteX13" fmla="*/ 16952 w 1031144"/>
                    <a:gd name="connsiteY13" fmla="*/ 774849 h 2954253"/>
                    <a:gd name="connsiteX14" fmla="*/ 265 w 1031144"/>
                    <a:gd name="connsiteY14" fmla="*/ 1050797 h 2954253"/>
                    <a:gd name="connsiteX15" fmla="*/ 467031 w 1031144"/>
                    <a:gd name="connsiteY15" fmla="*/ 2928686 h 2954253"/>
                    <a:gd name="connsiteX0" fmla="*/ 467031 w 1031144"/>
                    <a:gd name="connsiteY0" fmla="*/ 2928686 h 2954253"/>
                    <a:gd name="connsiteX1" fmla="*/ 519316 w 1031144"/>
                    <a:gd name="connsiteY1" fmla="*/ 2950988 h 2954253"/>
                    <a:gd name="connsiteX2" fmla="*/ 1031094 w 1031144"/>
                    <a:gd name="connsiteY2" fmla="*/ 1071731 h 2954253"/>
                    <a:gd name="connsiteX3" fmla="*/ 981781 w 1031144"/>
                    <a:gd name="connsiteY3" fmla="*/ 32087 h 2954253"/>
                    <a:gd name="connsiteX4" fmla="*/ 743803 w 1031144"/>
                    <a:gd name="connsiteY4" fmla="*/ 0 h 2954253"/>
                    <a:gd name="connsiteX5" fmla="*/ 789277 w 1031144"/>
                    <a:gd name="connsiteY5" fmla="*/ 424388 h 2954253"/>
                    <a:gd name="connsiteX6" fmla="*/ 798210 w 1031144"/>
                    <a:gd name="connsiteY6" fmla="*/ 636804 h 2954253"/>
                    <a:gd name="connsiteX7" fmla="*/ 798208 w 1031144"/>
                    <a:gd name="connsiteY7" fmla="*/ 636804 h 2954253"/>
                    <a:gd name="connsiteX8" fmla="*/ 802130 w 1031144"/>
                    <a:gd name="connsiteY8" fmla="*/ 730025 h 2954253"/>
                    <a:gd name="connsiteX9" fmla="*/ 804604 w 1031144"/>
                    <a:gd name="connsiteY9" fmla="*/ 1058070 h 2954253"/>
                    <a:gd name="connsiteX10" fmla="*/ 521742 w 1031144"/>
                    <a:gd name="connsiteY10" fmla="*/ 2683142 h 2954253"/>
                    <a:gd name="connsiteX11" fmla="*/ 260913 w 1031144"/>
                    <a:gd name="connsiteY11" fmla="*/ 1048817 h 2954253"/>
                    <a:gd name="connsiteX12" fmla="*/ 246557 w 1031144"/>
                    <a:gd name="connsiteY12" fmla="*/ 776552 h 2954253"/>
                    <a:gd name="connsiteX13" fmla="*/ 16952 w 1031144"/>
                    <a:gd name="connsiteY13" fmla="*/ 774849 h 2954253"/>
                    <a:gd name="connsiteX14" fmla="*/ 265 w 1031144"/>
                    <a:gd name="connsiteY14" fmla="*/ 1050797 h 2954253"/>
                    <a:gd name="connsiteX15" fmla="*/ 467031 w 1031144"/>
                    <a:gd name="connsiteY15" fmla="*/ 2928686 h 2954253"/>
                    <a:gd name="connsiteX0" fmla="*/ 467031 w 1031144"/>
                    <a:gd name="connsiteY0" fmla="*/ 2920114 h 2945681"/>
                    <a:gd name="connsiteX1" fmla="*/ 519316 w 1031144"/>
                    <a:gd name="connsiteY1" fmla="*/ 2942416 h 2945681"/>
                    <a:gd name="connsiteX2" fmla="*/ 1031094 w 1031144"/>
                    <a:gd name="connsiteY2" fmla="*/ 1063159 h 2945681"/>
                    <a:gd name="connsiteX3" fmla="*/ 981781 w 1031144"/>
                    <a:gd name="connsiteY3" fmla="*/ 23515 h 2945681"/>
                    <a:gd name="connsiteX4" fmla="*/ 744277 w 1031144"/>
                    <a:gd name="connsiteY4" fmla="*/ 0 h 2945681"/>
                    <a:gd name="connsiteX5" fmla="*/ 789277 w 1031144"/>
                    <a:gd name="connsiteY5" fmla="*/ 415816 h 2945681"/>
                    <a:gd name="connsiteX6" fmla="*/ 798210 w 1031144"/>
                    <a:gd name="connsiteY6" fmla="*/ 628232 h 2945681"/>
                    <a:gd name="connsiteX7" fmla="*/ 798208 w 1031144"/>
                    <a:gd name="connsiteY7" fmla="*/ 628232 h 2945681"/>
                    <a:gd name="connsiteX8" fmla="*/ 802130 w 1031144"/>
                    <a:gd name="connsiteY8" fmla="*/ 721453 h 2945681"/>
                    <a:gd name="connsiteX9" fmla="*/ 804604 w 1031144"/>
                    <a:gd name="connsiteY9" fmla="*/ 1049498 h 2945681"/>
                    <a:gd name="connsiteX10" fmla="*/ 521742 w 1031144"/>
                    <a:gd name="connsiteY10" fmla="*/ 2674570 h 2945681"/>
                    <a:gd name="connsiteX11" fmla="*/ 260913 w 1031144"/>
                    <a:gd name="connsiteY11" fmla="*/ 1040245 h 2945681"/>
                    <a:gd name="connsiteX12" fmla="*/ 246557 w 1031144"/>
                    <a:gd name="connsiteY12" fmla="*/ 767980 h 2945681"/>
                    <a:gd name="connsiteX13" fmla="*/ 16952 w 1031144"/>
                    <a:gd name="connsiteY13" fmla="*/ 766277 h 2945681"/>
                    <a:gd name="connsiteX14" fmla="*/ 265 w 1031144"/>
                    <a:gd name="connsiteY14" fmla="*/ 1042225 h 2945681"/>
                    <a:gd name="connsiteX15" fmla="*/ 467031 w 1031144"/>
                    <a:gd name="connsiteY15" fmla="*/ 2920114 h 2945681"/>
                    <a:gd name="connsiteX0" fmla="*/ 467031 w 1031144"/>
                    <a:gd name="connsiteY0" fmla="*/ 2920114 h 2945681"/>
                    <a:gd name="connsiteX1" fmla="*/ 519316 w 1031144"/>
                    <a:gd name="connsiteY1" fmla="*/ 2942416 h 2945681"/>
                    <a:gd name="connsiteX2" fmla="*/ 1031094 w 1031144"/>
                    <a:gd name="connsiteY2" fmla="*/ 1063159 h 2945681"/>
                    <a:gd name="connsiteX3" fmla="*/ 982990 w 1031144"/>
                    <a:gd name="connsiteY3" fmla="*/ 21464 h 2945681"/>
                    <a:gd name="connsiteX4" fmla="*/ 744277 w 1031144"/>
                    <a:gd name="connsiteY4" fmla="*/ 0 h 2945681"/>
                    <a:gd name="connsiteX5" fmla="*/ 789277 w 1031144"/>
                    <a:gd name="connsiteY5" fmla="*/ 415816 h 2945681"/>
                    <a:gd name="connsiteX6" fmla="*/ 798210 w 1031144"/>
                    <a:gd name="connsiteY6" fmla="*/ 628232 h 2945681"/>
                    <a:gd name="connsiteX7" fmla="*/ 798208 w 1031144"/>
                    <a:gd name="connsiteY7" fmla="*/ 628232 h 2945681"/>
                    <a:gd name="connsiteX8" fmla="*/ 802130 w 1031144"/>
                    <a:gd name="connsiteY8" fmla="*/ 721453 h 2945681"/>
                    <a:gd name="connsiteX9" fmla="*/ 804604 w 1031144"/>
                    <a:gd name="connsiteY9" fmla="*/ 1049498 h 2945681"/>
                    <a:gd name="connsiteX10" fmla="*/ 521742 w 1031144"/>
                    <a:gd name="connsiteY10" fmla="*/ 2674570 h 2945681"/>
                    <a:gd name="connsiteX11" fmla="*/ 260913 w 1031144"/>
                    <a:gd name="connsiteY11" fmla="*/ 1040245 h 2945681"/>
                    <a:gd name="connsiteX12" fmla="*/ 246557 w 1031144"/>
                    <a:gd name="connsiteY12" fmla="*/ 767980 h 2945681"/>
                    <a:gd name="connsiteX13" fmla="*/ 16952 w 1031144"/>
                    <a:gd name="connsiteY13" fmla="*/ 766277 h 2945681"/>
                    <a:gd name="connsiteX14" fmla="*/ 265 w 1031144"/>
                    <a:gd name="connsiteY14" fmla="*/ 1042225 h 2945681"/>
                    <a:gd name="connsiteX15" fmla="*/ 467031 w 1031144"/>
                    <a:gd name="connsiteY15" fmla="*/ 2920114 h 2945681"/>
                    <a:gd name="connsiteX0" fmla="*/ 467031 w 1031144"/>
                    <a:gd name="connsiteY0" fmla="*/ 2922166 h 2947733"/>
                    <a:gd name="connsiteX1" fmla="*/ 519316 w 1031144"/>
                    <a:gd name="connsiteY1" fmla="*/ 2944468 h 2947733"/>
                    <a:gd name="connsiteX2" fmla="*/ 1031094 w 1031144"/>
                    <a:gd name="connsiteY2" fmla="*/ 1065211 h 2947733"/>
                    <a:gd name="connsiteX3" fmla="*/ 982990 w 1031144"/>
                    <a:gd name="connsiteY3" fmla="*/ 23516 h 2947733"/>
                    <a:gd name="connsiteX4" fmla="*/ 745487 w 1031144"/>
                    <a:gd name="connsiteY4" fmla="*/ 0 h 2947733"/>
                    <a:gd name="connsiteX5" fmla="*/ 789277 w 1031144"/>
                    <a:gd name="connsiteY5" fmla="*/ 417868 h 2947733"/>
                    <a:gd name="connsiteX6" fmla="*/ 798210 w 1031144"/>
                    <a:gd name="connsiteY6" fmla="*/ 630284 h 2947733"/>
                    <a:gd name="connsiteX7" fmla="*/ 798208 w 1031144"/>
                    <a:gd name="connsiteY7" fmla="*/ 630284 h 2947733"/>
                    <a:gd name="connsiteX8" fmla="*/ 802130 w 1031144"/>
                    <a:gd name="connsiteY8" fmla="*/ 723505 h 2947733"/>
                    <a:gd name="connsiteX9" fmla="*/ 804604 w 1031144"/>
                    <a:gd name="connsiteY9" fmla="*/ 1051550 h 2947733"/>
                    <a:gd name="connsiteX10" fmla="*/ 521742 w 1031144"/>
                    <a:gd name="connsiteY10" fmla="*/ 2676622 h 2947733"/>
                    <a:gd name="connsiteX11" fmla="*/ 260913 w 1031144"/>
                    <a:gd name="connsiteY11" fmla="*/ 1042297 h 2947733"/>
                    <a:gd name="connsiteX12" fmla="*/ 246557 w 1031144"/>
                    <a:gd name="connsiteY12" fmla="*/ 770032 h 2947733"/>
                    <a:gd name="connsiteX13" fmla="*/ 16952 w 1031144"/>
                    <a:gd name="connsiteY13" fmla="*/ 768329 h 2947733"/>
                    <a:gd name="connsiteX14" fmla="*/ 265 w 1031144"/>
                    <a:gd name="connsiteY14" fmla="*/ 1044277 h 2947733"/>
                    <a:gd name="connsiteX15" fmla="*/ 467031 w 1031144"/>
                    <a:gd name="connsiteY15" fmla="*/ 2922166 h 2947733"/>
                    <a:gd name="connsiteX0" fmla="*/ 467031 w 1031144"/>
                    <a:gd name="connsiteY0" fmla="*/ 2922166 h 2947733"/>
                    <a:gd name="connsiteX1" fmla="*/ 519316 w 1031144"/>
                    <a:gd name="connsiteY1" fmla="*/ 2944468 h 2947733"/>
                    <a:gd name="connsiteX2" fmla="*/ 1031094 w 1031144"/>
                    <a:gd name="connsiteY2" fmla="*/ 1065211 h 2947733"/>
                    <a:gd name="connsiteX3" fmla="*/ 982990 w 1031144"/>
                    <a:gd name="connsiteY3" fmla="*/ 23516 h 2947733"/>
                    <a:gd name="connsiteX4" fmla="*/ 745487 w 1031144"/>
                    <a:gd name="connsiteY4" fmla="*/ 0 h 2947733"/>
                    <a:gd name="connsiteX5" fmla="*/ 789277 w 1031144"/>
                    <a:gd name="connsiteY5" fmla="*/ 417868 h 2947733"/>
                    <a:gd name="connsiteX6" fmla="*/ 798210 w 1031144"/>
                    <a:gd name="connsiteY6" fmla="*/ 630284 h 2947733"/>
                    <a:gd name="connsiteX7" fmla="*/ 798208 w 1031144"/>
                    <a:gd name="connsiteY7" fmla="*/ 630284 h 2947733"/>
                    <a:gd name="connsiteX8" fmla="*/ 802130 w 1031144"/>
                    <a:gd name="connsiteY8" fmla="*/ 723505 h 2947733"/>
                    <a:gd name="connsiteX9" fmla="*/ 804604 w 1031144"/>
                    <a:gd name="connsiteY9" fmla="*/ 1051550 h 2947733"/>
                    <a:gd name="connsiteX10" fmla="*/ 521742 w 1031144"/>
                    <a:gd name="connsiteY10" fmla="*/ 2676622 h 2947733"/>
                    <a:gd name="connsiteX11" fmla="*/ 260913 w 1031144"/>
                    <a:gd name="connsiteY11" fmla="*/ 1042297 h 2947733"/>
                    <a:gd name="connsiteX12" fmla="*/ 246557 w 1031144"/>
                    <a:gd name="connsiteY12" fmla="*/ 770032 h 2947733"/>
                    <a:gd name="connsiteX13" fmla="*/ 16952 w 1031144"/>
                    <a:gd name="connsiteY13" fmla="*/ 768329 h 2947733"/>
                    <a:gd name="connsiteX14" fmla="*/ 265 w 1031144"/>
                    <a:gd name="connsiteY14" fmla="*/ 1044277 h 2947733"/>
                    <a:gd name="connsiteX15" fmla="*/ 467031 w 1031144"/>
                    <a:gd name="connsiteY15" fmla="*/ 2922166 h 2947733"/>
                    <a:gd name="connsiteX0" fmla="*/ 467031 w 1031144"/>
                    <a:gd name="connsiteY0" fmla="*/ 2922166 h 2947733"/>
                    <a:gd name="connsiteX1" fmla="*/ 519316 w 1031144"/>
                    <a:gd name="connsiteY1" fmla="*/ 2944468 h 2947733"/>
                    <a:gd name="connsiteX2" fmla="*/ 1031094 w 1031144"/>
                    <a:gd name="connsiteY2" fmla="*/ 1065211 h 2947733"/>
                    <a:gd name="connsiteX3" fmla="*/ 982990 w 1031144"/>
                    <a:gd name="connsiteY3" fmla="*/ 23516 h 2947733"/>
                    <a:gd name="connsiteX4" fmla="*/ 745487 w 1031144"/>
                    <a:gd name="connsiteY4" fmla="*/ 0 h 2947733"/>
                    <a:gd name="connsiteX5" fmla="*/ 789277 w 1031144"/>
                    <a:gd name="connsiteY5" fmla="*/ 417868 h 2947733"/>
                    <a:gd name="connsiteX6" fmla="*/ 798210 w 1031144"/>
                    <a:gd name="connsiteY6" fmla="*/ 630284 h 2947733"/>
                    <a:gd name="connsiteX7" fmla="*/ 798208 w 1031144"/>
                    <a:gd name="connsiteY7" fmla="*/ 630284 h 2947733"/>
                    <a:gd name="connsiteX8" fmla="*/ 802130 w 1031144"/>
                    <a:gd name="connsiteY8" fmla="*/ 723505 h 2947733"/>
                    <a:gd name="connsiteX9" fmla="*/ 804604 w 1031144"/>
                    <a:gd name="connsiteY9" fmla="*/ 1051550 h 2947733"/>
                    <a:gd name="connsiteX10" fmla="*/ 521742 w 1031144"/>
                    <a:gd name="connsiteY10" fmla="*/ 2676622 h 2947733"/>
                    <a:gd name="connsiteX11" fmla="*/ 260913 w 1031144"/>
                    <a:gd name="connsiteY11" fmla="*/ 1042297 h 2947733"/>
                    <a:gd name="connsiteX12" fmla="*/ 246557 w 1031144"/>
                    <a:gd name="connsiteY12" fmla="*/ 770032 h 2947733"/>
                    <a:gd name="connsiteX13" fmla="*/ 16952 w 1031144"/>
                    <a:gd name="connsiteY13" fmla="*/ 768329 h 2947733"/>
                    <a:gd name="connsiteX14" fmla="*/ 265 w 1031144"/>
                    <a:gd name="connsiteY14" fmla="*/ 1044277 h 2947733"/>
                    <a:gd name="connsiteX15" fmla="*/ 467031 w 1031144"/>
                    <a:gd name="connsiteY15" fmla="*/ 2922166 h 2947733"/>
                    <a:gd name="connsiteX0" fmla="*/ 467031 w 1031144"/>
                    <a:gd name="connsiteY0" fmla="*/ 2929142 h 2954709"/>
                    <a:gd name="connsiteX1" fmla="*/ 519316 w 1031144"/>
                    <a:gd name="connsiteY1" fmla="*/ 2951444 h 2954709"/>
                    <a:gd name="connsiteX2" fmla="*/ 1031094 w 1031144"/>
                    <a:gd name="connsiteY2" fmla="*/ 1072187 h 2954709"/>
                    <a:gd name="connsiteX3" fmla="*/ 982990 w 1031144"/>
                    <a:gd name="connsiteY3" fmla="*/ 30492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6557 w 1031144"/>
                    <a:gd name="connsiteY12" fmla="*/ 777008 h 2954709"/>
                    <a:gd name="connsiteX13" fmla="*/ 16952 w 1031144"/>
                    <a:gd name="connsiteY13" fmla="*/ 775305 h 2954709"/>
                    <a:gd name="connsiteX14" fmla="*/ 265 w 1031144"/>
                    <a:gd name="connsiteY14" fmla="*/ 1051253 h 2954709"/>
                    <a:gd name="connsiteX15" fmla="*/ 467031 w 1031144"/>
                    <a:gd name="connsiteY15" fmla="*/ 2929142 h 2954709"/>
                    <a:gd name="connsiteX0" fmla="*/ 467031 w 1031144"/>
                    <a:gd name="connsiteY0" fmla="*/ 2929142 h 2954709"/>
                    <a:gd name="connsiteX1" fmla="*/ 519316 w 1031144"/>
                    <a:gd name="connsiteY1" fmla="*/ 2951444 h 2954709"/>
                    <a:gd name="connsiteX2" fmla="*/ 1031094 w 1031144"/>
                    <a:gd name="connsiteY2" fmla="*/ 1072187 h 2954709"/>
                    <a:gd name="connsiteX3" fmla="*/ 982232 w 1031144"/>
                    <a:gd name="connsiteY3" fmla="*/ 27550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6557 w 1031144"/>
                    <a:gd name="connsiteY12" fmla="*/ 777008 h 2954709"/>
                    <a:gd name="connsiteX13" fmla="*/ 16952 w 1031144"/>
                    <a:gd name="connsiteY13" fmla="*/ 775305 h 2954709"/>
                    <a:gd name="connsiteX14" fmla="*/ 265 w 1031144"/>
                    <a:gd name="connsiteY14" fmla="*/ 1051253 h 2954709"/>
                    <a:gd name="connsiteX15" fmla="*/ 467031 w 1031144"/>
                    <a:gd name="connsiteY15" fmla="*/ 2929142 h 2954709"/>
                    <a:gd name="connsiteX0" fmla="*/ 467031 w 1031144"/>
                    <a:gd name="connsiteY0" fmla="*/ 2929142 h 2954709"/>
                    <a:gd name="connsiteX1" fmla="*/ 519316 w 1031144"/>
                    <a:gd name="connsiteY1" fmla="*/ 2951444 h 2954709"/>
                    <a:gd name="connsiteX2" fmla="*/ 1031094 w 1031144"/>
                    <a:gd name="connsiteY2" fmla="*/ 1072187 h 2954709"/>
                    <a:gd name="connsiteX3" fmla="*/ 982232 w 1031144"/>
                    <a:gd name="connsiteY3" fmla="*/ 27550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6557 w 1031144"/>
                    <a:gd name="connsiteY12" fmla="*/ 777008 h 2954709"/>
                    <a:gd name="connsiteX13" fmla="*/ 14342 w 1031144"/>
                    <a:gd name="connsiteY13" fmla="*/ 771271 h 2954709"/>
                    <a:gd name="connsiteX14" fmla="*/ 265 w 1031144"/>
                    <a:gd name="connsiteY14" fmla="*/ 1051253 h 2954709"/>
                    <a:gd name="connsiteX15" fmla="*/ 467031 w 1031144"/>
                    <a:gd name="connsiteY15" fmla="*/ 2929142 h 2954709"/>
                    <a:gd name="connsiteX0" fmla="*/ 467031 w 1031144"/>
                    <a:gd name="connsiteY0" fmla="*/ 2929142 h 2954709"/>
                    <a:gd name="connsiteX1" fmla="*/ 519316 w 1031144"/>
                    <a:gd name="connsiteY1" fmla="*/ 2951444 h 2954709"/>
                    <a:gd name="connsiteX2" fmla="*/ 1031094 w 1031144"/>
                    <a:gd name="connsiteY2" fmla="*/ 1072187 h 2954709"/>
                    <a:gd name="connsiteX3" fmla="*/ 982232 w 1031144"/>
                    <a:gd name="connsiteY3" fmla="*/ 27550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3947 w 1031144"/>
                    <a:gd name="connsiteY12" fmla="*/ 772974 h 2954709"/>
                    <a:gd name="connsiteX13" fmla="*/ 14342 w 1031144"/>
                    <a:gd name="connsiteY13" fmla="*/ 771271 h 2954709"/>
                    <a:gd name="connsiteX14" fmla="*/ 265 w 1031144"/>
                    <a:gd name="connsiteY14" fmla="*/ 1051253 h 2954709"/>
                    <a:gd name="connsiteX15" fmla="*/ 467031 w 1031144"/>
                    <a:gd name="connsiteY15" fmla="*/ 2929142 h 2954709"/>
                    <a:gd name="connsiteX0" fmla="*/ 467031 w 1031144"/>
                    <a:gd name="connsiteY0" fmla="*/ 2929142 h 2954709"/>
                    <a:gd name="connsiteX1" fmla="*/ 519316 w 1031144"/>
                    <a:gd name="connsiteY1" fmla="*/ 2951444 h 2954709"/>
                    <a:gd name="connsiteX2" fmla="*/ 1031094 w 1031144"/>
                    <a:gd name="connsiteY2" fmla="*/ 1072187 h 2954709"/>
                    <a:gd name="connsiteX3" fmla="*/ 982232 w 1031144"/>
                    <a:gd name="connsiteY3" fmla="*/ 27550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5038 w 1031144"/>
                    <a:gd name="connsiteY12" fmla="*/ 771123 h 2954709"/>
                    <a:gd name="connsiteX13" fmla="*/ 14342 w 1031144"/>
                    <a:gd name="connsiteY13" fmla="*/ 771271 h 2954709"/>
                    <a:gd name="connsiteX14" fmla="*/ 265 w 1031144"/>
                    <a:gd name="connsiteY14" fmla="*/ 1051253 h 2954709"/>
                    <a:gd name="connsiteX15" fmla="*/ 467031 w 1031144"/>
                    <a:gd name="connsiteY15" fmla="*/ 2929142 h 2954709"/>
                    <a:gd name="connsiteX0" fmla="*/ 467031 w 1031144"/>
                    <a:gd name="connsiteY0" fmla="*/ 2929142 h 2954709"/>
                    <a:gd name="connsiteX1" fmla="*/ 519316 w 1031144"/>
                    <a:gd name="connsiteY1" fmla="*/ 2951444 h 2954709"/>
                    <a:gd name="connsiteX2" fmla="*/ 1031094 w 1031144"/>
                    <a:gd name="connsiteY2" fmla="*/ 1072187 h 2954709"/>
                    <a:gd name="connsiteX3" fmla="*/ 979639 w 1031144"/>
                    <a:gd name="connsiteY3" fmla="*/ 9391 h 2954709"/>
                    <a:gd name="connsiteX4" fmla="*/ 742118 w 1031144"/>
                    <a:gd name="connsiteY4" fmla="*/ 0 h 2954709"/>
                    <a:gd name="connsiteX5" fmla="*/ 789277 w 1031144"/>
                    <a:gd name="connsiteY5" fmla="*/ 424844 h 2954709"/>
                    <a:gd name="connsiteX6" fmla="*/ 798210 w 1031144"/>
                    <a:gd name="connsiteY6" fmla="*/ 637260 h 2954709"/>
                    <a:gd name="connsiteX7" fmla="*/ 798208 w 1031144"/>
                    <a:gd name="connsiteY7" fmla="*/ 637260 h 2954709"/>
                    <a:gd name="connsiteX8" fmla="*/ 802130 w 1031144"/>
                    <a:gd name="connsiteY8" fmla="*/ 730481 h 2954709"/>
                    <a:gd name="connsiteX9" fmla="*/ 804604 w 1031144"/>
                    <a:gd name="connsiteY9" fmla="*/ 1058526 h 2954709"/>
                    <a:gd name="connsiteX10" fmla="*/ 521742 w 1031144"/>
                    <a:gd name="connsiteY10" fmla="*/ 2683598 h 2954709"/>
                    <a:gd name="connsiteX11" fmla="*/ 260913 w 1031144"/>
                    <a:gd name="connsiteY11" fmla="*/ 1049273 h 2954709"/>
                    <a:gd name="connsiteX12" fmla="*/ 245038 w 1031144"/>
                    <a:gd name="connsiteY12" fmla="*/ 771123 h 2954709"/>
                    <a:gd name="connsiteX13" fmla="*/ 14342 w 1031144"/>
                    <a:gd name="connsiteY13" fmla="*/ 771271 h 2954709"/>
                    <a:gd name="connsiteX14" fmla="*/ 265 w 1031144"/>
                    <a:gd name="connsiteY14" fmla="*/ 1051253 h 2954709"/>
                    <a:gd name="connsiteX15" fmla="*/ 467031 w 1031144"/>
                    <a:gd name="connsiteY15" fmla="*/ 2929142 h 2954709"/>
                    <a:gd name="connsiteX0" fmla="*/ 467031 w 1031144"/>
                    <a:gd name="connsiteY0" fmla="*/ 2943378 h 2968945"/>
                    <a:gd name="connsiteX1" fmla="*/ 519316 w 1031144"/>
                    <a:gd name="connsiteY1" fmla="*/ 2965680 h 2968945"/>
                    <a:gd name="connsiteX2" fmla="*/ 1031094 w 1031144"/>
                    <a:gd name="connsiteY2" fmla="*/ 1086423 h 2968945"/>
                    <a:gd name="connsiteX3" fmla="*/ 979639 w 1031144"/>
                    <a:gd name="connsiteY3" fmla="*/ 23627 h 2968945"/>
                    <a:gd name="connsiteX4" fmla="*/ 740537 w 1031144"/>
                    <a:gd name="connsiteY4" fmla="*/ 0 h 2968945"/>
                    <a:gd name="connsiteX5" fmla="*/ 789277 w 1031144"/>
                    <a:gd name="connsiteY5" fmla="*/ 439080 h 2968945"/>
                    <a:gd name="connsiteX6" fmla="*/ 798210 w 1031144"/>
                    <a:gd name="connsiteY6" fmla="*/ 651496 h 2968945"/>
                    <a:gd name="connsiteX7" fmla="*/ 798208 w 1031144"/>
                    <a:gd name="connsiteY7" fmla="*/ 651496 h 2968945"/>
                    <a:gd name="connsiteX8" fmla="*/ 802130 w 1031144"/>
                    <a:gd name="connsiteY8" fmla="*/ 744717 h 2968945"/>
                    <a:gd name="connsiteX9" fmla="*/ 804604 w 1031144"/>
                    <a:gd name="connsiteY9" fmla="*/ 1072762 h 2968945"/>
                    <a:gd name="connsiteX10" fmla="*/ 521742 w 1031144"/>
                    <a:gd name="connsiteY10" fmla="*/ 2697834 h 2968945"/>
                    <a:gd name="connsiteX11" fmla="*/ 260913 w 1031144"/>
                    <a:gd name="connsiteY11" fmla="*/ 1063509 h 2968945"/>
                    <a:gd name="connsiteX12" fmla="*/ 245038 w 1031144"/>
                    <a:gd name="connsiteY12" fmla="*/ 785359 h 2968945"/>
                    <a:gd name="connsiteX13" fmla="*/ 14342 w 1031144"/>
                    <a:gd name="connsiteY13" fmla="*/ 785507 h 2968945"/>
                    <a:gd name="connsiteX14" fmla="*/ 265 w 1031144"/>
                    <a:gd name="connsiteY14" fmla="*/ 1065489 h 2968945"/>
                    <a:gd name="connsiteX15" fmla="*/ 467031 w 1031144"/>
                    <a:gd name="connsiteY15" fmla="*/ 2943378 h 2968945"/>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5038 w 1031144"/>
                    <a:gd name="connsiteY12" fmla="*/ 786814 h 2970400"/>
                    <a:gd name="connsiteX13" fmla="*/ 14342 w 1031144"/>
                    <a:gd name="connsiteY13" fmla="*/ 786962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6368 w 1031144"/>
                    <a:gd name="connsiteY12" fmla="*/ 767645 h 2970400"/>
                    <a:gd name="connsiteX13" fmla="*/ 14342 w 1031144"/>
                    <a:gd name="connsiteY13" fmla="*/ 786962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6368 w 1031144"/>
                    <a:gd name="connsiteY12" fmla="*/ 767645 h 2970400"/>
                    <a:gd name="connsiteX13" fmla="*/ 15671 w 1031144"/>
                    <a:gd name="connsiteY13" fmla="*/ 767791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7380 w 1031144"/>
                    <a:gd name="connsiteY12" fmla="*/ 771568 h 2970400"/>
                    <a:gd name="connsiteX13" fmla="*/ 15671 w 1031144"/>
                    <a:gd name="connsiteY13" fmla="*/ 767791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7380 w 1031144"/>
                    <a:gd name="connsiteY12" fmla="*/ 771568 h 2970400"/>
                    <a:gd name="connsiteX13" fmla="*/ 13773 w 1031144"/>
                    <a:gd name="connsiteY13" fmla="*/ 776649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7380 w 1031144"/>
                    <a:gd name="connsiteY12" fmla="*/ 771568 h 2970400"/>
                    <a:gd name="connsiteX13" fmla="*/ 15229 w 1031144"/>
                    <a:gd name="connsiteY13" fmla="*/ 774183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7380 w 1031144"/>
                    <a:gd name="connsiteY12" fmla="*/ 771568 h 2970400"/>
                    <a:gd name="connsiteX13" fmla="*/ 19151 w 1031144"/>
                    <a:gd name="connsiteY13" fmla="*/ 773170 h 2970400"/>
                    <a:gd name="connsiteX14" fmla="*/ 265 w 1031144"/>
                    <a:gd name="connsiteY14" fmla="*/ 1066944 h 2970400"/>
                    <a:gd name="connsiteX15" fmla="*/ 467031 w 1031144"/>
                    <a:gd name="connsiteY15" fmla="*/ 2944833 h 2970400"/>
                    <a:gd name="connsiteX0" fmla="*/ 467031 w 1031144"/>
                    <a:gd name="connsiteY0" fmla="*/ 2944833 h 2970400"/>
                    <a:gd name="connsiteX1" fmla="*/ 519316 w 1031144"/>
                    <a:gd name="connsiteY1" fmla="*/ 2967135 h 2970400"/>
                    <a:gd name="connsiteX2" fmla="*/ 1031094 w 1031144"/>
                    <a:gd name="connsiteY2" fmla="*/ 1087878 h 2970400"/>
                    <a:gd name="connsiteX3" fmla="*/ 979639 w 1031144"/>
                    <a:gd name="connsiteY3" fmla="*/ 25082 h 2970400"/>
                    <a:gd name="connsiteX4" fmla="*/ 738070 w 1031144"/>
                    <a:gd name="connsiteY4" fmla="*/ 0 h 2970400"/>
                    <a:gd name="connsiteX5" fmla="*/ 789277 w 1031144"/>
                    <a:gd name="connsiteY5" fmla="*/ 440535 h 2970400"/>
                    <a:gd name="connsiteX6" fmla="*/ 798210 w 1031144"/>
                    <a:gd name="connsiteY6" fmla="*/ 652951 h 2970400"/>
                    <a:gd name="connsiteX7" fmla="*/ 798208 w 1031144"/>
                    <a:gd name="connsiteY7" fmla="*/ 652951 h 2970400"/>
                    <a:gd name="connsiteX8" fmla="*/ 802130 w 1031144"/>
                    <a:gd name="connsiteY8" fmla="*/ 746172 h 2970400"/>
                    <a:gd name="connsiteX9" fmla="*/ 804604 w 1031144"/>
                    <a:gd name="connsiteY9" fmla="*/ 1074217 h 2970400"/>
                    <a:gd name="connsiteX10" fmla="*/ 521742 w 1031144"/>
                    <a:gd name="connsiteY10" fmla="*/ 2699289 h 2970400"/>
                    <a:gd name="connsiteX11" fmla="*/ 260913 w 1031144"/>
                    <a:gd name="connsiteY11" fmla="*/ 1064964 h 2970400"/>
                    <a:gd name="connsiteX12" fmla="*/ 247380 w 1031144"/>
                    <a:gd name="connsiteY12" fmla="*/ 771568 h 2970400"/>
                    <a:gd name="connsiteX13" fmla="*/ 20607 w 1031144"/>
                    <a:gd name="connsiteY13" fmla="*/ 770703 h 2970400"/>
                    <a:gd name="connsiteX14" fmla="*/ 265 w 1031144"/>
                    <a:gd name="connsiteY14" fmla="*/ 1066944 h 2970400"/>
                    <a:gd name="connsiteX15" fmla="*/ 467031 w 1031144"/>
                    <a:gd name="connsiteY15" fmla="*/ 2944833 h 2970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31144" h="2970400">
                      <a:moveTo>
                        <a:pt x="467031" y="2944833"/>
                      </a:moveTo>
                      <a:cubicBezTo>
                        <a:pt x="484291" y="2954939"/>
                        <a:pt x="501737" y="2962408"/>
                        <a:pt x="519316" y="2967135"/>
                      </a:cubicBezTo>
                      <a:cubicBezTo>
                        <a:pt x="800584" y="3042757"/>
                        <a:pt x="1035100" y="1786916"/>
                        <a:pt x="1031094" y="1087878"/>
                      </a:cubicBezTo>
                      <a:cubicBezTo>
                        <a:pt x="1028740" y="677018"/>
                        <a:pt x="1027336" y="386371"/>
                        <a:pt x="979639" y="25082"/>
                      </a:cubicBezTo>
                      <a:cubicBezTo>
                        <a:pt x="899998" y="8670"/>
                        <a:pt x="816395" y="4578"/>
                        <a:pt x="738070" y="0"/>
                      </a:cubicBezTo>
                      <a:cubicBezTo>
                        <a:pt x="754611" y="136869"/>
                        <a:pt x="781635" y="308651"/>
                        <a:pt x="789277" y="440535"/>
                      </a:cubicBezTo>
                      <a:lnTo>
                        <a:pt x="798210" y="652951"/>
                      </a:lnTo>
                      <a:lnTo>
                        <a:pt x="798208" y="652951"/>
                      </a:lnTo>
                      <a:cubicBezTo>
                        <a:pt x="799516" y="684024"/>
                        <a:pt x="800822" y="715098"/>
                        <a:pt x="802130" y="746172"/>
                      </a:cubicBezTo>
                      <a:cubicBezTo>
                        <a:pt x="804740" y="852150"/>
                        <a:pt x="802314" y="961882"/>
                        <a:pt x="804604" y="1074217"/>
                      </a:cubicBezTo>
                      <a:cubicBezTo>
                        <a:pt x="825744" y="2111080"/>
                        <a:pt x="634081" y="2723708"/>
                        <a:pt x="521742" y="2699289"/>
                      </a:cubicBezTo>
                      <a:cubicBezTo>
                        <a:pt x="433182" y="2680039"/>
                        <a:pt x="283298" y="1971754"/>
                        <a:pt x="260913" y="1064964"/>
                      </a:cubicBezTo>
                      <a:cubicBezTo>
                        <a:pt x="248629" y="906554"/>
                        <a:pt x="256563" y="869977"/>
                        <a:pt x="247380" y="771568"/>
                      </a:cubicBezTo>
                      <a:lnTo>
                        <a:pt x="20607" y="770703"/>
                      </a:lnTo>
                      <a:lnTo>
                        <a:pt x="265" y="1066944"/>
                      </a:lnTo>
                      <a:cubicBezTo>
                        <a:pt x="-8629" y="2048290"/>
                        <a:pt x="208142" y="2793237"/>
                        <a:pt x="467031" y="2944833"/>
                      </a:cubicBezTo>
                      <a:close/>
                    </a:path>
                  </a:pathLst>
                </a:custGeom>
                <a:gradFill flip="none" rotWithShape="1">
                  <a:gsLst>
                    <a:gs pos="0">
                      <a:srgbClr val="69BEE9"/>
                    </a:gs>
                    <a:gs pos="100000">
                      <a:srgbClr val="0091DA"/>
                    </a:gs>
                  </a:gsLst>
                  <a:lin ang="1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3" name="Freeform 112"/>
                <p:cNvSpPr/>
                <p:nvPr/>
              </p:nvSpPr>
              <p:spPr>
                <a:xfrm rot="18013702">
                  <a:off x="4440089" y="2930160"/>
                  <a:ext cx="3271834" cy="1380949"/>
                </a:xfrm>
                <a:custGeom>
                  <a:avLst/>
                  <a:gdLst>
                    <a:gd name="connsiteX0" fmla="*/ 3033194 w 3033257"/>
                    <a:gd name="connsiteY0" fmla="*/ 0 h 1223002"/>
                    <a:gd name="connsiteX1" fmla="*/ 3029739 w 3033257"/>
                    <a:gd name="connsiteY1" fmla="*/ 837511 h 1223002"/>
                    <a:gd name="connsiteX2" fmla="*/ 234335 w 3033257"/>
                    <a:gd name="connsiteY2" fmla="*/ 1173199 h 1223002"/>
                    <a:gd name="connsiteX3" fmla="*/ 141901 w 3033257"/>
                    <a:gd name="connsiteY3" fmla="*/ 1159511 h 1223002"/>
                    <a:gd name="connsiteX4" fmla="*/ 105572 w 3033257"/>
                    <a:gd name="connsiteY4" fmla="*/ 1023881 h 1223002"/>
                    <a:gd name="connsiteX5" fmla="*/ 23879 w 3033257"/>
                    <a:gd name="connsiteY5" fmla="*/ 596103 h 1223002"/>
                    <a:gd name="connsiteX6" fmla="*/ 0 w 3033257"/>
                    <a:gd name="connsiteY6" fmla="*/ 416868 h 1223002"/>
                    <a:gd name="connsiteX7" fmla="*/ 98958 w 3033257"/>
                    <a:gd name="connsiteY7" fmla="*/ 435061 h 1223002"/>
                    <a:gd name="connsiteX8" fmla="*/ 3033194 w 3033257"/>
                    <a:gd name="connsiteY8" fmla="*/ 0 h 1223002"/>
                    <a:gd name="connsiteX0" fmla="*/ 3033194 w 3033257"/>
                    <a:gd name="connsiteY0" fmla="*/ 0 h 1223002"/>
                    <a:gd name="connsiteX1" fmla="*/ 3029739 w 3033257"/>
                    <a:gd name="connsiteY1" fmla="*/ 837511 h 1223002"/>
                    <a:gd name="connsiteX2" fmla="*/ 234335 w 3033257"/>
                    <a:gd name="connsiteY2" fmla="*/ 1173199 h 1223002"/>
                    <a:gd name="connsiteX3" fmla="*/ 134530 w 3033257"/>
                    <a:gd name="connsiteY3" fmla="*/ 1161051 h 1223002"/>
                    <a:gd name="connsiteX4" fmla="*/ 105572 w 3033257"/>
                    <a:gd name="connsiteY4" fmla="*/ 1023881 h 1223002"/>
                    <a:gd name="connsiteX5" fmla="*/ 23879 w 3033257"/>
                    <a:gd name="connsiteY5" fmla="*/ 596103 h 1223002"/>
                    <a:gd name="connsiteX6" fmla="*/ 0 w 3033257"/>
                    <a:gd name="connsiteY6" fmla="*/ 416868 h 1223002"/>
                    <a:gd name="connsiteX7" fmla="*/ 98958 w 3033257"/>
                    <a:gd name="connsiteY7" fmla="*/ 435061 h 1223002"/>
                    <a:gd name="connsiteX8" fmla="*/ 3033194 w 3033257"/>
                    <a:gd name="connsiteY8" fmla="*/ 0 h 1223002"/>
                    <a:gd name="connsiteX0" fmla="*/ 3033194 w 3033257"/>
                    <a:gd name="connsiteY0" fmla="*/ 0 h 1223002"/>
                    <a:gd name="connsiteX1" fmla="*/ 3029739 w 3033257"/>
                    <a:gd name="connsiteY1" fmla="*/ 837511 h 1223002"/>
                    <a:gd name="connsiteX2" fmla="*/ 234335 w 3033257"/>
                    <a:gd name="connsiteY2" fmla="*/ 1173199 h 1223002"/>
                    <a:gd name="connsiteX3" fmla="*/ 134530 w 3033257"/>
                    <a:gd name="connsiteY3" fmla="*/ 1161051 h 1223002"/>
                    <a:gd name="connsiteX4" fmla="*/ 23879 w 3033257"/>
                    <a:gd name="connsiteY4" fmla="*/ 596103 h 1223002"/>
                    <a:gd name="connsiteX5" fmla="*/ 0 w 3033257"/>
                    <a:gd name="connsiteY5" fmla="*/ 416868 h 1223002"/>
                    <a:gd name="connsiteX6" fmla="*/ 98958 w 3033257"/>
                    <a:gd name="connsiteY6" fmla="*/ 435061 h 1223002"/>
                    <a:gd name="connsiteX7" fmla="*/ 3033194 w 3033257"/>
                    <a:gd name="connsiteY7" fmla="*/ 0 h 1223002"/>
                    <a:gd name="connsiteX0" fmla="*/ 3033194 w 3033257"/>
                    <a:gd name="connsiteY0" fmla="*/ 0 h 1223002"/>
                    <a:gd name="connsiteX1" fmla="*/ 3029739 w 3033257"/>
                    <a:gd name="connsiteY1" fmla="*/ 837511 h 1223002"/>
                    <a:gd name="connsiteX2" fmla="*/ 234335 w 3033257"/>
                    <a:gd name="connsiteY2" fmla="*/ 1173199 h 1223002"/>
                    <a:gd name="connsiteX3" fmla="*/ 134530 w 3033257"/>
                    <a:gd name="connsiteY3" fmla="*/ 1161051 h 1223002"/>
                    <a:gd name="connsiteX4" fmla="*/ 15309 w 3033257"/>
                    <a:gd name="connsiteY4" fmla="*/ 595585 h 1223002"/>
                    <a:gd name="connsiteX5" fmla="*/ 0 w 3033257"/>
                    <a:gd name="connsiteY5" fmla="*/ 416868 h 1223002"/>
                    <a:gd name="connsiteX6" fmla="*/ 98958 w 3033257"/>
                    <a:gd name="connsiteY6" fmla="*/ 435061 h 1223002"/>
                    <a:gd name="connsiteX7" fmla="*/ 3033194 w 3033257"/>
                    <a:gd name="connsiteY7" fmla="*/ 0 h 1223002"/>
                    <a:gd name="connsiteX0" fmla="*/ 3033194 w 3033257"/>
                    <a:gd name="connsiteY0" fmla="*/ 0 h 1223002"/>
                    <a:gd name="connsiteX1" fmla="*/ 3029739 w 3033257"/>
                    <a:gd name="connsiteY1" fmla="*/ 837511 h 1223002"/>
                    <a:gd name="connsiteX2" fmla="*/ 234335 w 3033257"/>
                    <a:gd name="connsiteY2" fmla="*/ 1173199 h 1223002"/>
                    <a:gd name="connsiteX3" fmla="*/ 134530 w 3033257"/>
                    <a:gd name="connsiteY3" fmla="*/ 1161051 h 1223002"/>
                    <a:gd name="connsiteX4" fmla="*/ 15309 w 3033257"/>
                    <a:gd name="connsiteY4" fmla="*/ 595585 h 1223002"/>
                    <a:gd name="connsiteX5" fmla="*/ 0 w 3033257"/>
                    <a:gd name="connsiteY5" fmla="*/ 416868 h 1223002"/>
                    <a:gd name="connsiteX6" fmla="*/ 98958 w 3033257"/>
                    <a:gd name="connsiteY6" fmla="*/ 435061 h 1223002"/>
                    <a:gd name="connsiteX7" fmla="*/ 3033194 w 3033257"/>
                    <a:gd name="connsiteY7" fmla="*/ 0 h 1223002"/>
                    <a:gd name="connsiteX0" fmla="*/ 3033194 w 3033257"/>
                    <a:gd name="connsiteY0" fmla="*/ 0 h 1223002"/>
                    <a:gd name="connsiteX1" fmla="*/ 3029739 w 3033257"/>
                    <a:gd name="connsiteY1" fmla="*/ 837511 h 1223002"/>
                    <a:gd name="connsiteX2" fmla="*/ 234335 w 3033257"/>
                    <a:gd name="connsiteY2" fmla="*/ 1173199 h 1223002"/>
                    <a:gd name="connsiteX3" fmla="*/ 134530 w 3033257"/>
                    <a:gd name="connsiteY3" fmla="*/ 1161051 h 1223002"/>
                    <a:gd name="connsiteX4" fmla="*/ 15309 w 3033257"/>
                    <a:gd name="connsiteY4" fmla="*/ 595585 h 1223002"/>
                    <a:gd name="connsiteX5" fmla="*/ 0 w 3033257"/>
                    <a:gd name="connsiteY5" fmla="*/ 416868 h 1223002"/>
                    <a:gd name="connsiteX6" fmla="*/ 98958 w 3033257"/>
                    <a:gd name="connsiteY6" fmla="*/ 435061 h 1223002"/>
                    <a:gd name="connsiteX7" fmla="*/ 3033194 w 3033257"/>
                    <a:gd name="connsiteY7" fmla="*/ 0 h 1223002"/>
                    <a:gd name="connsiteX0" fmla="*/ 3037310 w 3037373"/>
                    <a:gd name="connsiteY0" fmla="*/ 0 h 1223002"/>
                    <a:gd name="connsiteX1" fmla="*/ 3033855 w 3037373"/>
                    <a:gd name="connsiteY1" fmla="*/ 837511 h 1223002"/>
                    <a:gd name="connsiteX2" fmla="*/ 238451 w 3037373"/>
                    <a:gd name="connsiteY2" fmla="*/ 1173199 h 1223002"/>
                    <a:gd name="connsiteX3" fmla="*/ 138646 w 3037373"/>
                    <a:gd name="connsiteY3" fmla="*/ 1161051 h 1223002"/>
                    <a:gd name="connsiteX4" fmla="*/ 19425 w 3037373"/>
                    <a:gd name="connsiteY4" fmla="*/ 595585 h 1223002"/>
                    <a:gd name="connsiteX5" fmla="*/ 0 w 3037373"/>
                    <a:gd name="connsiteY5" fmla="*/ 419266 h 1223002"/>
                    <a:gd name="connsiteX6" fmla="*/ 103074 w 3037373"/>
                    <a:gd name="connsiteY6" fmla="*/ 435061 h 1223002"/>
                    <a:gd name="connsiteX7" fmla="*/ 3037310 w 3037373"/>
                    <a:gd name="connsiteY7" fmla="*/ 0 h 1223002"/>
                    <a:gd name="connsiteX0" fmla="*/ 3034912 w 3034975"/>
                    <a:gd name="connsiteY0" fmla="*/ 0 h 1223002"/>
                    <a:gd name="connsiteX1" fmla="*/ 3031457 w 3034975"/>
                    <a:gd name="connsiteY1" fmla="*/ 837511 h 1223002"/>
                    <a:gd name="connsiteX2" fmla="*/ 236053 w 3034975"/>
                    <a:gd name="connsiteY2" fmla="*/ 1173199 h 1223002"/>
                    <a:gd name="connsiteX3" fmla="*/ 136248 w 3034975"/>
                    <a:gd name="connsiteY3" fmla="*/ 1161051 h 1223002"/>
                    <a:gd name="connsiteX4" fmla="*/ 17027 w 3034975"/>
                    <a:gd name="connsiteY4" fmla="*/ 595585 h 1223002"/>
                    <a:gd name="connsiteX5" fmla="*/ 0 w 3034975"/>
                    <a:gd name="connsiteY5" fmla="*/ 423381 h 1223002"/>
                    <a:gd name="connsiteX6" fmla="*/ 100676 w 3034975"/>
                    <a:gd name="connsiteY6" fmla="*/ 435061 h 1223002"/>
                    <a:gd name="connsiteX7" fmla="*/ 3034912 w 3034975"/>
                    <a:gd name="connsiteY7" fmla="*/ 0 h 1223002"/>
                    <a:gd name="connsiteX0" fmla="*/ 3038169 w 3038232"/>
                    <a:gd name="connsiteY0" fmla="*/ 0 h 1223002"/>
                    <a:gd name="connsiteX1" fmla="*/ 3034714 w 3038232"/>
                    <a:gd name="connsiteY1" fmla="*/ 837511 h 1223002"/>
                    <a:gd name="connsiteX2" fmla="*/ 239310 w 3038232"/>
                    <a:gd name="connsiteY2" fmla="*/ 1173199 h 1223002"/>
                    <a:gd name="connsiteX3" fmla="*/ 139505 w 3038232"/>
                    <a:gd name="connsiteY3" fmla="*/ 1161051 h 1223002"/>
                    <a:gd name="connsiteX4" fmla="*/ 20284 w 3038232"/>
                    <a:gd name="connsiteY4" fmla="*/ 595585 h 1223002"/>
                    <a:gd name="connsiteX5" fmla="*/ 0 w 3038232"/>
                    <a:gd name="connsiteY5" fmla="*/ 422523 h 1223002"/>
                    <a:gd name="connsiteX6" fmla="*/ 103933 w 3038232"/>
                    <a:gd name="connsiteY6" fmla="*/ 435061 h 1223002"/>
                    <a:gd name="connsiteX7" fmla="*/ 3038169 w 3038232"/>
                    <a:gd name="connsiteY7" fmla="*/ 0 h 1223002"/>
                    <a:gd name="connsiteX0" fmla="*/ 3038169 w 3038232"/>
                    <a:gd name="connsiteY0" fmla="*/ 0 h 1223002"/>
                    <a:gd name="connsiteX1" fmla="*/ 3034714 w 3038232"/>
                    <a:gd name="connsiteY1" fmla="*/ 837511 h 1223002"/>
                    <a:gd name="connsiteX2" fmla="*/ 239310 w 3038232"/>
                    <a:gd name="connsiteY2" fmla="*/ 1173199 h 1223002"/>
                    <a:gd name="connsiteX3" fmla="*/ 139505 w 3038232"/>
                    <a:gd name="connsiteY3" fmla="*/ 1161051 h 1223002"/>
                    <a:gd name="connsiteX4" fmla="*/ 17028 w 3038232"/>
                    <a:gd name="connsiteY4" fmla="*/ 594726 h 1223002"/>
                    <a:gd name="connsiteX5" fmla="*/ 0 w 3038232"/>
                    <a:gd name="connsiteY5" fmla="*/ 422523 h 1223002"/>
                    <a:gd name="connsiteX6" fmla="*/ 103933 w 3038232"/>
                    <a:gd name="connsiteY6" fmla="*/ 435061 h 1223002"/>
                    <a:gd name="connsiteX7" fmla="*/ 3038169 w 3038232"/>
                    <a:gd name="connsiteY7" fmla="*/ 0 h 1223002"/>
                    <a:gd name="connsiteX0" fmla="*/ 3031138 w 3031201"/>
                    <a:gd name="connsiteY0" fmla="*/ 0 h 1223002"/>
                    <a:gd name="connsiteX1" fmla="*/ 3027683 w 3031201"/>
                    <a:gd name="connsiteY1" fmla="*/ 837511 h 1223002"/>
                    <a:gd name="connsiteX2" fmla="*/ 232279 w 3031201"/>
                    <a:gd name="connsiteY2" fmla="*/ 1173199 h 1223002"/>
                    <a:gd name="connsiteX3" fmla="*/ 132474 w 3031201"/>
                    <a:gd name="connsiteY3" fmla="*/ 1161051 h 1223002"/>
                    <a:gd name="connsiteX4" fmla="*/ 9997 w 3031201"/>
                    <a:gd name="connsiteY4" fmla="*/ 594726 h 1223002"/>
                    <a:gd name="connsiteX5" fmla="*/ 0 w 3031201"/>
                    <a:gd name="connsiteY5" fmla="*/ 415670 h 1223002"/>
                    <a:gd name="connsiteX6" fmla="*/ 96902 w 3031201"/>
                    <a:gd name="connsiteY6" fmla="*/ 435061 h 1223002"/>
                    <a:gd name="connsiteX7" fmla="*/ 3031138 w 3031201"/>
                    <a:gd name="connsiteY7" fmla="*/ 0 h 1223002"/>
                    <a:gd name="connsiteX0" fmla="*/ 3036451 w 3036514"/>
                    <a:gd name="connsiteY0" fmla="*/ 0 h 1223002"/>
                    <a:gd name="connsiteX1" fmla="*/ 3032996 w 3036514"/>
                    <a:gd name="connsiteY1" fmla="*/ 837511 h 1223002"/>
                    <a:gd name="connsiteX2" fmla="*/ 237592 w 3036514"/>
                    <a:gd name="connsiteY2" fmla="*/ 1173199 h 1223002"/>
                    <a:gd name="connsiteX3" fmla="*/ 137787 w 3036514"/>
                    <a:gd name="connsiteY3" fmla="*/ 1161051 h 1223002"/>
                    <a:gd name="connsiteX4" fmla="*/ 15310 w 3036514"/>
                    <a:gd name="connsiteY4" fmla="*/ 594726 h 1223002"/>
                    <a:gd name="connsiteX5" fmla="*/ 0 w 3036514"/>
                    <a:gd name="connsiteY5" fmla="*/ 416011 h 1223002"/>
                    <a:gd name="connsiteX6" fmla="*/ 102215 w 3036514"/>
                    <a:gd name="connsiteY6" fmla="*/ 435061 h 1223002"/>
                    <a:gd name="connsiteX7" fmla="*/ 3036451 w 3036514"/>
                    <a:gd name="connsiteY7" fmla="*/ 0 h 1223002"/>
                    <a:gd name="connsiteX0" fmla="*/ 3039367 w 3039430"/>
                    <a:gd name="connsiteY0" fmla="*/ 0 h 1223002"/>
                    <a:gd name="connsiteX1" fmla="*/ 3035912 w 3039430"/>
                    <a:gd name="connsiteY1" fmla="*/ 837511 h 1223002"/>
                    <a:gd name="connsiteX2" fmla="*/ 240508 w 3039430"/>
                    <a:gd name="connsiteY2" fmla="*/ 1173199 h 1223002"/>
                    <a:gd name="connsiteX3" fmla="*/ 140703 w 3039430"/>
                    <a:gd name="connsiteY3" fmla="*/ 1161051 h 1223002"/>
                    <a:gd name="connsiteX4" fmla="*/ 18226 w 3039430"/>
                    <a:gd name="connsiteY4" fmla="*/ 594726 h 1223002"/>
                    <a:gd name="connsiteX5" fmla="*/ 0 w 3039430"/>
                    <a:gd name="connsiteY5" fmla="*/ 420465 h 1223002"/>
                    <a:gd name="connsiteX6" fmla="*/ 105131 w 3039430"/>
                    <a:gd name="connsiteY6" fmla="*/ 435061 h 1223002"/>
                    <a:gd name="connsiteX7" fmla="*/ 3039367 w 3039430"/>
                    <a:gd name="connsiteY7" fmla="*/ 0 h 1223002"/>
                    <a:gd name="connsiteX0" fmla="*/ 3039367 w 3039430"/>
                    <a:gd name="connsiteY0" fmla="*/ 0 h 1223002"/>
                    <a:gd name="connsiteX1" fmla="*/ 3035912 w 3039430"/>
                    <a:gd name="connsiteY1" fmla="*/ 837511 h 1223002"/>
                    <a:gd name="connsiteX2" fmla="*/ 240508 w 3039430"/>
                    <a:gd name="connsiteY2" fmla="*/ 1173199 h 1223002"/>
                    <a:gd name="connsiteX3" fmla="*/ 143961 w 3039430"/>
                    <a:gd name="connsiteY3" fmla="*/ 1161910 h 1223002"/>
                    <a:gd name="connsiteX4" fmla="*/ 18226 w 3039430"/>
                    <a:gd name="connsiteY4" fmla="*/ 594726 h 1223002"/>
                    <a:gd name="connsiteX5" fmla="*/ 0 w 3039430"/>
                    <a:gd name="connsiteY5" fmla="*/ 420465 h 1223002"/>
                    <a:gd name="connsiteX6" fmla="*/ 105131 w 3039430"/>
                    <a:gd name="connsiteY6" fmla="*/ 435061 h 1223002"/>
                    <a:gd name="connsiteX7" fmla="*/ 3039367 w 3039430"/>
                    <a:gd name="connsiteY7" fmla="*/ 0 h 1223002"/>
                    <a:gd name="connsiteX0" fmla="*/ 3039367 w 3039430"/>
                    <a:gd name="connsiteY0" fmla="*/ 0 h 1223002"/>
                    <a:gd name="connsiteX1" fmla="*/ 3035912 w 3039430"/>
                    <a:gd name="connsiteY1" fmla="*/ 837511 h 1223002"/>
                    <a:gd name="connsiteX2" fmla="*/ 240508 w 3039430"/>
                    <a:gd name="connsiteY2" fmla="*/ 1173199 h 1223002"/>
                    <a:gd name="connsiteX3" fmla="*/ 143961 w 3039430"/>
                    <a:gd name="connsiteY3" fmla="*/ 1161910 h 1223002"/>
                    <a:gd name="connsiteX4" fmla="*/ 18226 w 3039430"/>
                    <a:gd name="connsiteY4" fmla="*/ 594726 h 1223002"/>
                    <a:gd name="connsiteX5" fmla="*/ 0 w 3039430"/>
                    <a:gd name="connsiteY5" fmla="*/ 420465 h 1223002"/>
                    <a:gd name="connsiteX6" fmla="*/ 105131 w 3039430"/>
                    <a:gd name="connsiteY6" fmla="*/ 435061 h 1223002"/>
                    <a:gd name="connsiteX7" fmla="*/ 3039367 w 3039430"/>
                    <a:gd name="connsiteY7" fmla="*/ 0 h 1223002"/>
                    <a:gd name="connsiteX0" fmla="*/ 3039367 w 3039430"/>
                    <a:gd name="connsiteY0" fmla="*/ 0 h 1223002"/>
                    <a:gd name="connsiteX1" fmla="*/ 3035912 w 3039430"/>
                    <a:gd name="connsiteY1" fmla="*/ 837511 h 1223002"/>
                    <a:gd name="connsiteX2" fmla="*/ 240508 w 3039430"/>
                    <a:gd name="connsiteY2" fmla="*/ 1173199 h 1223002"/>
                    <a:gd name="connsiteX3" fmla="*/ 143961 w 3039430"/>
                    <a:gd name="connsiteY3" fmla="*/ 1161910 h 1223002"/>
                    <a:gd name="connsiteX4" fmla="*/ 18226 w 3039430"/>
                    <a:gd name="connsiteY4" fmla="*/ 594726 h 1223002"/>
                    <a:gd name="connsiteX5" fmla="*/ 0 w 3039430"/>
                    <a:gd name="connsiteY5" fmla="*/ 420465 h 1223002"/>
                    <a:gd name="connsiteX6" fmla="*/ 105131 w 3039430"/>
                    <a:gd name="connsiteY6" fmla="*/ 435061 h 1223002"/>
                    <a:gd name="connsiteX7" fmla="*/ 3039367 w 3039430"/>
                    <a:gd name="connsiteY7" fmla="*/ 0 h 1223002"/>
                    <a:gd name="connsiteX0" fmla="*/ 3039367 w 3039430"/>
                    <a:gd name="connsiteY0" fmla="*/ 0 h 1223002"/>
                    <a:gd name="connsiteX1" fmla="*/ 3035912 w 3039430"/>
                    <a:gd name="connsiteY1" fmla="*/ 837511 h 1223002"/>
                    <a:gd name="connsiteX2" fmla="*/ 240508 w 3039430"/>
                    <a:gd name="connsiteY2" fmla="*/ 1173199 h 1223002"/>
                    <a:gd name="connsiteX3" fmla="*/ 143961 w 3039430"/>
                    <a:gd name="connsiteY3" fmla="*/ 1161910 h 1223002"/>
                    <a:gd name="connsiteX4" fmla="*/ 18226 w 3039430"/>
                    <a:gd name="connsiteY4" fmla="*/ 594726 h 1223002"/>
                    <a:gd name="connsiteX5" fmla="*/ 0 w 3039430"/>
                    <a:gd name="connsiteY5" fmla="*/ 420465 h 1223002"/>
                    <a:gd name="connsiteX6" fmla="*/ 105131 w 3039430"/>
                    <a:gd name="connsiteY6" fmla="*/ 435061 h 1223002"/>
                    <a:gd name="connsiteX7" fmla="*/ 3039367 w 3039430"/>
                    <a:gd name="connsiteY7" fmla="*/ 0 h 1223002"/>
                    <a:gd name="connsiteX0" fmla="*/ 3039367 w 3039429"/>
                    <a:gd name="connsiteY0" fmla="*/ 0 h 1223002"/>
                    <a:gd name="connsiteX1" fmla="*/ 3035912 w 3039429"/>
                    <a:gd name="connsiteY1" fmla="*/ 837511 h 1223002"/>
                    <a:gd name="connsiteX2" fmla="*/ 240508 w 3039429"/>
                    <a:gd name="connsiteY2" fmla="*/ 1173199 h 1223002"/>
                    <a:gd name="connsiteX3" fmla="*/ 143961 w 3039429"/>
                    <a:gd name="connsiteY3" fmla="*/ 1161910 h 1223002"/>
                    <a:gd name="connsiteX4" fmla="*/ 18226 w 3039429"/>
                    <a:gd name="connsiteY4" fmla="*/ 594726 h 1223002"/>
                    <a:gd name="connsiteX5" fmla="*/ 0 w 3039429"/>
                    <a:gd name="connsiteY5" fmla="*/ 420465 h 1223002"/>
                    <a:gd name="connsiteX6" fmla="*/ 105131 w 3039429"/>
                    <a:gd name="connsiteY6" fmla="*/ 435061 h 1223002"/>
                    <a:gd name="connsiteX7" fmla="*/ 3039367 w 3039429"/>
                    <a:gd name="connsiteY7" fmla="*/ 0 h 1223002"/>
                    <a:gd name="connsiteX0" fmla="*/ 3039367 w 3039429"/>
                    <a:gd name="connsiteY0" fmla="*/ 0 h 1223002"/>
                    <a:gd name="connsiteX1" fmla="*/ 3035912 w 3039429"/>
                    <a:gd name="connsiteY1" fmla="*/ 837511 h 1223002"/>
                    <a:gd name="connsiteX2" fmla="*/ 240508 w 3039429"/>
                    <a:gd name="connsiteY2" fmla="*/ 1173199 h 1223002"/>
                    <a:gd name="connsiteX3" fmla="*/ 143961 w 3039429"/>
                    <a:gd name="connsiteY3" fmla="*/ 1161910 h 1223002"/>
                    <a:gd name="connsiteX4" fmla="*/ 0 w 3039429"/>
                    <a:gd name="connsiteY4" fmla="*/ 420465 h 1223002"/>
                    <a:gd name="connsiteX5" fmla="*/ 105131 w 3039429"/>
                    <a:gd name="connsiteY5" fmla="*/ 435061 h 1223002"/>
                    <a:gd name="connsiteX6" fmla="*/ 3039367 w 3039429"/>
                    <a:gd name="connsiteY6" fmla="*/ 0 h 1223002"/>
                    <a:gd name="connsiteX0" fmla="*/ 3143799 w 3143861"/>
                    <a:gd name="connsiteY0" fmla="*/ 0 h 1223002"/>
                    <a:gd name="connsiteX1" fmla="*/ 3140344 w 3143861"/>
                    <a:gd name="connsiteY1" fmla="*/ 837511 h 1223002"/>
                    <a:gd name="connsiteX2" fmla="*/ 344940 w 3143861"/>
                    <a:gd name="connsiteY2" fmla="*/ 1173199 h 1223002"/>
                    <a:gd name="connsiteX3" fmla="*/ 248393 w 3143861"/>
                    <a:gd name="connsiteY3" fmla="*/ 1161910 h 1223002"/>
                    <a:gd name="connsiteX4" fmla="*/ 209563 w 3143861"/>
                    <a:gd name="connsiteY4" fmla="*/ 435061 h 1223002"/>
                    <a:gd name="connsiteX5" fmla="*/ 3143799 w 3143861"/>
                    <a:gd name="connsiteY5" fmla="*/ 0 h 1223002"/>
                    <a:gd name="connsiteX0" fmla="*/ 2934236 w 2934298"/>
                    <a:gd name="connsiteY0" fmla="*/ 0 h 1223002"/>
                    <a:gd name="connsiteX1" fmla="*/ 2930781 w 2934298"/>
                    <a:gd name="connsiteY1" fmla="*/ 837511 h 1223002"/>
                    <a:gd name="connsiteX2" fmla="*/ 135377 w 2934298"/>
                    <a:gd name="connsiteY2" fmla="*/ 1173199 h 1223002"/>
                    <a:gd name="connsiteX3" fmla="*/ 0 w 2934298"/>
                    <a:gd name="connsiteY3" fmla="*/ 435061 h 1223002"/>
                    <a:gd name="connsiteX4" fmla="*/ 2934236 w 2934298"/>
                    <a:gd name="connsiteY4" fmla="*/ 0 h 1223002"/>
                    <a:gd name="connsiteX0" fmla="*/ 2934236 w 2934298"/>
                    <a:gd name="connsiteY0" fmla="*/ 0 h 1223957"/>
                    <a:gd name="connsiteX1" fmla="*/ 2930781 w 2934298"/>
                    <a:gd name="connsiteY1" fmla="*/ 837511 h 1223957"/>
                    <a:gd name="connsiteX2" fmla="*/ 153969 w 2934298"/>
                    <a:gd name="connsiteY2" fmla="*/ 1174324 h 1223957"/>
                    <a:gd name="connsiteX3" fmla="*/ 0 w 2934298"/>
                    <a:gd name="connsiteY3" fmla="*/ 435061 h 1223957"/>
                    <a:gd name="connsiteX4" fmla="*/ 2934236 w 2934298"/>
                    <a:gd name="connsiteY4" fmla="*/ 0 h 1223957"/>
                    <a:gd name="connsiteX0" fmla="*/ 2934236 w 2934298"/>
                    <a:gd name="connsiteY0" fmla="*/ 0 h 1224913"/>
                    <a:gd name="connsiteX1" fmla="*/ 2930781 w 2934298"/>
                    <a:gd name="connsiteY1" fmla="*/ 837511 h 1224913"/>
                    <a:gd name="connsiteX2" fmla="*/ 172562 w 2934298"/>
                    <a:gd name="connsiteY2" fmla="*/ 1175448 h 1224913"/>
                    <a:gd name="connsiteX3" fmla="*/ 0 w 2934298"/>
                    <a:gd name="connsiteY3" fmla="*/ 435061 h 1224913"/>
                    <a:gd name="connsiteX4" fmla="*/ 2934236 w 2934298"/>
                    <a:gd name="connsiteY4" fmla="*/ 0 h 1224913"/>
                    <a:gd name="connsiteX0" fmla="*/ 2934236 w 2934298"/>
                    <a:gd name="connsiteY0" fmla="*/ 0 h 1224913"/>
                    <a:gd name="connsiteX1" fmla="*/ 2930781 w 2934298"/>
                    <a:gd name="connsiteY1" fmla="*/ 837511 h 1224913"/>
                    <a:gd name="connsiteX2" fmla="*/ 172562 w 2934298"/>
                    <a:gd name="connsiteY2" fmla="*/ 1175448 h 1224913"/>
                    <a:gd name="connsiteX3" fmla="*/ 0 w 2934298"/>
                    <a:gd name="connsiteY3" fmla="*/ 435061 h 1224913"/>
                    <a:gd name="connsiteX4" fmla="*/ 2934236 w 2934298"/>
                    <a:gd name="connsiteY4" fmla="*/ 0 h 1224913"/>
                    <a:gd name="connsiteX0" fmla="*/ 2922709 w 2922771"/>
                    <a:gd name="connsiteY0" fmla="*/ 0 h 1224913"/>
                    <a:gd name="connsiteX1" fmla="*/ 2919254 w 2922771"/>
                    <a:gd name="connsiteY1" fmla="*/ 837511 h 1224913"/>
                    <a:gd name="connsiteX2" fmla="*/ 161035 w 2922771"/>
                    <a:gd name="connsiteY2" fmla="*/ 1175448 h 1224913"/>
                    <a:gd name="connsiteX3" fmla="*/ 0 w 2922771"/>
                    <a:gd name="connsiteY3" fmla="*/ 434322 h 1224913"/>
                    <a:gd name="connsiteX4" fmla="*/ 2922709 w 2922771"/>
                    <a:gd name="connsiteY4" fmla="*/ 0 h 1224913"/>
                    <a:gd name="connsiteX0" fmla="*/ 2922709 w 2922771"/>
                    <a:gd name="connsiteY0" fmla="*/ 0 h 1224913"/>
                    <a:gd name="connsiteX1" fmla="*/ 2919254 w 2922771"/>
                    <a:gd name="connsiteY1" fmla="*/ 837511 h 1224913"/>
                    <a:gd name="connsiteX2" fmla="*/ 161035 w 2922771"/>
                    <a:gd name="connsiteY2" fmla="*/ 1175448 h 1224913"/>
                    <a:gd name="connsiteX3" fmla="*/ 0 w 2922771"/>
                    <a:gd name="connsiteY3" fmla="*/ 434322 h 1224913"/>
                    <a:gd name="connsiteX4" fmla="*/ 2922709 w 2922771"/>
                    <a:gd name="connsiteY4" fmla="*/ 0 h 1224913"/>
                    <a:gd name="connsiteX0" fmla="*/ 2922709 w 2922771"/>
                    <a:gd name="connsiteY0" fmla="*/ 0 h 1224913"/>
                    <a:gd name="connsiteX1" fmla="*/ 2919254 w 2922771"/>
                    <a:gd name="connsiteY1" fmla="*/ 837511 h 1224913"/>
                    <a:gd name="connsiteX2" fmla="*/ 161035 w 2922771"/>
                    <a:gd name="connsiteY2" fmla="*/ 1175448 h 1224913"/>
                    <a:gd name="connsiteX3" fmla="*/ 0 w 2922771"/>
                    <a:gd name="connsiteY3" fmla="*/ 434322 h 1224913"/>
                    <a:gd name="connsiteX4" fmla="*/ 2922709 w 2922771"/>
                    <a:gd name="connsiteY4" fmla="*/ 0 h 1224913"/>
                    <a:gd name="connsiteX0" fmla="*/ 2928023 w 2928085"/>
                    <a:gd name="connsiteY0" fmla="*/ 0 h 1224913"/>
                    <a:gd name="connsiteX1" fmla="*/ 2924568 w 2928085"/>
                    <a:gd name="connsiteY1" fmla="*/ 837511 h 1224913"/>
                    <a:gd name="connsiteX2" fmla="*/ 166349 w 2928085"/>
                    <a:gd name="connsiteY2" fmla="*/ 1175448 h 1224913"/>
                    <a:gd name="connsiteX3" fmla="*/ 0 w 2928085"/>
                    <a:gd name="connsiteY3" fmla="*/ 434662 h 1224913"/>
                    <a:gd name="connsiteX4" fmla="*/ 2928023 w 2928085"/>
                    <a:gd name="connsiteY4" fmla="*/ 0 h 1224913"/>
                    <a:gd name="connsiteX0" fmla="*/ 2928023 w 2928085"/>
                    <a:gd name="connsiteY0" fmla="*/ 0 h 1224913"/>
                    <a:gd name="connsiteX1" fmla="*/ 2924568 w 2928085"/>
                    <a:gd name="connsiteY1" fmla="*/ 837511 h 1224913"/>
                    <a:gd name="connsiteX2" fmla="*/ 166349 w 2928085"/>
                    <a:gd name="connsiteY2" fmla="*/ 1175448 h 1224913"/>
                    <a:gd name="connsiteX3" fmla="*/ 0 w 2928085"/>
                    <a:gd name="connsiteY3" fmla="*/ 434662 h 1224913"/>
                    <a:gd name="connsiteX4" fmla="*/ 2928023 w 2928085"/>
                    <a:gd name="connsiteY4" fmla="*/ 0 h 1224913"/>
                    <a:gd name="connsiteX0" fmla="*/ 2928023 w 2928085"/>
                    <a:gd name="connsiteY0" fmla="*/ 0 h 1224913"/>
                    <a:gd name="connsiteX1" fmla="*/ 2924568 w 2928085"/>
                    <a:gd name="connsiteY1" fmla="*/ 837511 h 1224913"/>
                    <a:gd name="connsiteX2" fmla="*/ 166349 w 2928085"/>
                    <a:gd name="connsiteY2" fmla="*/ 1175448 h 1224913"/>
                    <a:gd name="connsiteX3" fmla="*/ 0 w 2928085"/>
                    <a:gd name="connsiteY3" fmla="*/ 434662 h 1224913"/>
                    <a:gd name="connsiteX4" fmla="*/ 2928023 w 2928085"/>
                    <a:gd name="connsiteY4" fmla="*/ 0 h 1224913"/>
                    <a:gd name="connsiteX0" fmla="*/ 2928023 w 2928085"/>
                    <a:gd name="connsiteY0" fmla="*/ 0 h 1224624"/>
                    <a:gd name="connsiteX1" fmla="*/ 2924568 w 2928085"/>
                    <a:gd name="connsiteY1" fmla="*/ 837511 h 1224624"/>
                    <a:gd name="connsiteX2" fmla="*/ 171663 w 2928085"/>
                    <a:gd name="connsiteY2" fmla="*/ 1175109 h 1224624"/>
                    <a:gd name="connsiteX3" fmla="*/ 0 w 2928085"/>
                    <a:gd name="connsiteY3" fmla="*/ 434662 h 1224624"/>
                    <a:gd name="connsiteX4" fmla="*/ 2928023 w 2928085"/>
                    <a:gd name="connsiteY4" fmla="*/ 0 h 1224624"/>
                    <a:gd name="connsiteX0" fmla="*/ 2928023 w 2928085"/>
                    <a:gd name="connsiteY0" fmla="*/ 0 h 1224624"/>
                    <a:gd name="connsiteX1" fmla="*/ 2924568 w 2928085"/>
                    <a:gd name="connsiteY1" fmla="*/ 837511 h 1224624"/>
                    <a:gd name="connsiteX2" fmla="*/ 171663 w 2928085"/>
                    <a:gd name="connsiteY2" fmla="*/ 1175109 h 1224624"/>
                    <a:gd name="connsiteX3" fmla="*/ 0 w 2928085"/>
                    <a:gd name="connsiteY3" fmla="*/ 434662 h 1224624"/>
                    <a:gd name="connsiteX4" fmla="*/ 2928023 w 2928085"/>
                    <a:gd name="connsiteY4" fmla="*/ 0 h 1224624"/>
                    <a:gd name="connsiteX0" fmla="*/ 2928023 w 2928085"/>
                    <a:gd name="connsiteY0" fmla="*/ 0 h 1224914"/>
                    <a:gd name="connsiteX1" fmla="*/ 2924568 w 2928085"/>
                    <a:gd name="connsiteY1" fmla="*/ 837511 h 1224914"/>
                    <a:gd name="connsiteX2" fmla="*/ 166349 w 2928085"/>
                    <a:gd name="connsiteY2" fmla="*/ 1175450 h 1224914"/>
                    <a:gd name="connsiteX3" fmla="*/ 0 w 2928085"/>
                    <a:gd name="connsiteY3" fmla="*/ 434662 h 1224914"/>
                    <a:gd name="connsiteX4" fmla="*/ 2928023 w 2928085"/>
                    <a:gd name="connsiteY4" fmla="*/ 0 h 1224914"/>
                    <a:gd name="connsiteX0" fmla="*/ 2928023 w 2928085"/>
                    <a:gd name="connsiteY0" fmla="*/ 0 h 1224624"/>
                    <a:gd name="connsiteX1" fmla="*/ 2924568 w 2928085"/>
                    <a:gd name="connsiteY1" fmla="*/ 837511 h 1224624"/>
                    <a:gd name="connsiteX2" fmla="*/ 171663 w 2928085"/>
                    <a:gd name="connsiteY2" fmla="*/ 1175109 h 1224624"/>
                    <a:gd name="connsiteX3" fmla="*/ 0 w 2928085"/>
                    <a:gd name="connsiteY3" fmla="*/ 434662 h 1224624"/>
                    <a:gd name="connsiteX4" fmla="*/ 2928023 w 2928085"/>
                    <a:gd name="connsiteY4" fmla="*/ 0 h 1224624"/>
                    <a:gd name="connsiteX0" fmla="*/ 2928023 w 2928085"/>
                    <a:gd name="connsiteY0" fmla="*/ 0 h 1226665"/>
                    <a:gd name="connsiteX1" fmla="*/ 2924568 w 2928085"/>
                    <a:gd name="connsiteY1" fmla="*/ 837511 h 1226665"/>
                    <a:gd name="connsiteX2" fmla="*/ 167548 w 2928085"/>
                    <a:gd name="connsiteY2" fmla="*/ 1177506 h 1226665"/>
                    <a:gd name="connsiteX3" fmla="*/ 0 w 2928085"/>
                    <a:gd name="connsiteY3" fmla="*/ 434662 h 1226665"/>
                    <a:gd name="connsiteX4" fmla="*/ 2928023 w 2928085"/>
                    <a:gd name="connsiteY4" fmla="*/ 0 h 1226665"/>
                    <a:gd name="connsiteX0" fmla="*/ 2928023 w 2928085"/>
                    <a:gd name="connsiteY0" fmla="*/ 0 h 1226375"/>
                    <a:gd name="connsiteX1" fmla="*/ 2924568 w 2928085"/>
                    <a:gd name="connsiteY1" fmla="*/ 837511 h 1226375"/>
                    <a:gd name="connsiteX2" fmla="*/ 172862 w 2928085"/>
                    <a:gd name="connsiteY2" fmla="*/ 1177166 h 1226375"/>
                    <a:gd name="connsiteX3" fmla="*/ 0 w 2928085"/>
                    <a:gd name="connsiteY3" fmla="*/ 434662 h 1226375"/>
                    <a:gd name="connsiteX4" fmla="*/ 2928023 w 2928085"/>
                    <a:gd name="connsiteY4" fmla="*/ 0 h 1226375"/>
                    <a:gd name="connsiteX0" fmla="*/ 2928023 w 2928085"/>
                    <a:gd name="connsiteY0" fmla="*/ 0 h 1227397"/>
                    <a:gd name="connsiteX1" fmla="*/ 2924568 w 2928085"/>
                    <a:gd name="connsiteY1" fmla="*/ 837511 h 1227397"/>
                    <a:gd name="connsiteX2" fmla="*/ 170804 w 2928085"/>
                    <a:gd name="connsiteY2" fmla="*/ 1178365 h 1227397"/>
                    <a:gd name="connsiteX3" fmla="*/ 0 w 2928085"/>
                    <a:gd name="connsiteY3" fmla="*/ 434662 h 1227397"/>
                    <a:gd name="connsiteX4" fmla="*/ 2928023 w 2928085"/>
                    <a:gd name="connsiteY4" fmla="*/ 0 h 1227397"/>
                    <a:gd name="connsiteX0" fmla="*/ 2928023 w 2928085"/>
                    <a:gd name="connsiteY0" fmla="*/ 0 h 1226665"/>
                    <a:gd name="connsiteX1" fmla="*/ 2924568 w 2928085"/>
                    <a:gd name="connsiteY1" fmla="*/ 837511 h 1226665"/>
                    <a:gd name="connsiteX2" fmla="*/ 167547 w 2928085"/>
                    <a:gd name="connsiteY2" fmla="*/ 1177506 h 1226665"/>
                    <a:gd name="connsiteX3" fmla="*/ 0 w 2928085"/>
                    <a:gd name="connsiteY3" fmla="*/ 434662 h 1226665"/>
                    <a:gd name="connsiteX4" fmla="*/ 2928023 w 2928085"/>
                    <a:gd name="connsiteY4" fmla="*/ 0 h 1226665"/>
                    <a:gd name="connsiteX0" fmla="*/ 2928023 w 2928085"/>
                    <a:gd name="connsiteY0" fmla="*/ 0 h 1229309"/>
                    <a:gd name="connsiteX1" fmla="*/ 2924568 w 2928085"/>
                    <a:gd name="connsiteY1" fmla="*/ 837511 h 1229309"/>
                    <a:gd name="connsiteX2" fmla="*/ 179299 w 2928085"/>
                    <a:gd name="connsiteY2" fmla="*/ 1180605 h 1229309"/>
                    <a:gd name="connsiteX3" fmla="*/ 0 w 2928085"/>
                    <a:gd name="connsiteY3" fmla="*/ 434662 h 1229309"/>
                    <a:gd name="connsiteX4" fmla="*/ 2928023 w 2928085"/>
                    <a:gd name="connsiteY4" fmla="*/ 0 h 1229309"/>
                    <a:gd name="connsiteX0" fmla="*/ 2928023 w 2928085"/>
                    <a:gd name="connsiteY0" fmla="*/ 0 h 1231160"/>
                    <a:gd name="connsiteX1" fmla="*/ 2924568 w 2928085"/>
                    <a:gd name="connsiteY1" fmla="*/ 837511 h 1231160"/>
                    <a:gd name="connsiteX2" fmla="*/ 175586 w 2928085"/>
                    <a:gd name="connsiteY2" fmla="*/ 1182769 h 1231160"/>
                    <a:gd name="connsiteX3" fmla="*/ 0 w 2928085"/>
                    <a:gd name="connsiteY3" fmla="*/ 434662 h 1231160"/>
                    <a:gd name="connsiteX4" fmla="*/ 2928023 w 2928085"/>
                    <a:gd name="connsiteY4" fmla="*/ 0 h 1231160"/>
                    <a:gd name="connsiteX0" fmla="*/ 2928023 w 2928085"/>
                    <a:gd name="connsiteY0" fmla="*/ 0 h 1231160"/>
                    <a:gd name="connsiteX1" fmla="*/ 2924568 w 2928085"/>
                    <a:gd name="connsiteY1" fmla="*/ 837511 h 1231160"/>
                    <a:gd name="connsiteX2" fmla="*/ 175586 w 2928085"/>
                    <a:gd name="connsiteY2" fmla="*/ 1182769 h 1231160"/>
                    <a:gd name="connsiteX3" fmla="*/ 0 w 2928085"/>
                    <a:gd name="connsiteY3" fmla="*/ 434662 h 1231160"/>
                    <a:gd name="connsiteX4" fmla="*/ 2928023 w 2928085"/>
                    <a:gd name="connsiteY4" fmla="*/ 0 h 1231160"/>
                    <a:gd name="connsiteX0" fmla="*/ 2928023 w 2928085"/>
                    <a:gd name="connsiteY0" fmla="*/ 0 h 1232087"/>
                    <a:gd name="connsiteX1" fmla="*/ 2924568 w 2928085"/>
                    <a:gd name="connsiteY1" fmla="*/ 837511 h 1232087"/>
                    <a:gd name="connsiteX2" fmla="*/ 173730 w 2928085"/>
                    <a:gd name="connsiteY2" fmla="*/ 1183851 h 1232087"/>
                    <a:gd name="connsiteX3" fmla="*/ 0 w 2928085"/>
                    <a:gd name="connsiteY3" fmla="*/ 434662 h 1232087"/>
                    <a:gd name="connsiteX4" fmla="*/ 2928023 w 2928085"/>
                    <a:gd name="connsiteY4" fmla="*/ 0 h 1232087"/>
                    <a:gd name="connsiteX0" fmla="*/ 2929879 w 2929941"/>
                    <a:gd name="connsiteY0" fmla="*/ 0 h 1232087"/>
                    <a:gd name="connsiteX1" fmla="*/ 2926424 w 2929941"/>
                    <a:gd name="connsiteY1" fmla="*/ 837511 h 1232087"/>
                    <a:gd name="connsiteX2" fmla="*/ 175586 w 2929941"/>
                    <a:gd name="connsiteY2" fmla="*/ 1183851 h 1232087"/>
                    <a:gd name="connsiteX3" fmla="*/ 0 w 2929941"/>
                    <a:gd name="connsiteY3" fmla="*/ 435743 h 1232087"/>
                    <a:gd name="connsiteX4" fmla="*/ 2929879 w 2929941"/>
                    <a:gd name="connsiteY4" fmla="*/ 0 h 1232087"/>
                    <a:gd name="connsiteX0" fmla="*/ 2929879 w 2929941"/>
                    <a:gd name="connsiteY0" fmla="*/ 0 h 1242021"/>
                    <a:gd name="connsiteX1" fmla="*/ 2926424 w 2929941"/>
                    <a:gd name="connsiteY1" fmla="*/ 837511 h 1242021"/>
                    <a:gd name="connsiteX2" fmla="*/ 155785 w 2929941"/>
                    <a:gd name="connsiteY2" fmla="*/ 1195389 h 1242021"/>
                    <a:gd name="connsiteX3" fmla="*/ 0 w 2929941"/>
                    <a:gd name="connsiteY3" fmla="*/ 435743 h 1242021"/>
                    <a:gd name="connsiteX4" fmla="*/ 2929879 w 2929941"/>
                    <a:gd name="connsiteY4" fmla="*/ 0 h 1242021"/>
                    <a:gd name="connsiteX0" fmla="*/ 2951941 w 2952002"/>
                    <a:gd name="connsiteY0" fmla="*/ 0 h 1242021"/>
                    <a:gd name="connsiteX1" fmla="*/ 2948486 w 2952002"/>
                    <a:gd name="connsiteY1" fmla="*/ 837511 h 1242021"/>
                    <a:gd name="connsiteX2" fmla="*/ 177847 w 2952002"/>
                    <a:gd name="connsiteY2" fmla="*/ 1195389 h 1242021"/>
                    <a:gd name="connsiteX3" fmla="*/ 0 w 2952002"/>
                    <a:gd name="connsiteY3" fmla="*/ 432020 h 1242021"/>
                    <a:gd name="connsiteX4" fmla="*/ 2951941 w 2952002"/>
                    <a:gd name="connsiteY4" fmla="*/ 0 h 1242021"/>
                    <a:gd name="connsiteX0" fmla="*/ 2951941 w 2952002"/>
                    <a:gd name="connsiteY0" fmla="*/ 0 h 1241667"/>
                    <a:gd name="connsiteX1" fmla="*/ 2948486 w 2952002"/>
                    <a:gd name="connsiteY1" fmla="*/ 837511 h 1241667"/>
                    <a:gd name="connsiteX2" fmla="*/ 184240 w 2952002"/>
                    <a:gd name="connsiteY2" fmla="*/ 1194980 h 1241667"/>
                    <a:gd name="connsiteX3" fmla="*/ 0 w 2952002"/>
                    <a:gd name="connsiteY3" fmla="*/ 432020 h 1241667"/>
                    <a:gd name="connsiteX4" fmla="*/ 2951941 w 2952002"/>
                    <a:gd name="connsiteY4" fmla="*/ 0 h 1241667"/>
                    <a:gd name="connsiteX0" fmla="*/ 2951941 w 2952002"/>
                    <a:gd name="connsiteY0" fmla="*/ 0 h 1241667"/>
                    <a:gd name="connsiteX1" fmla="*/ 2948486 w 2952002"/>
                    <a:gd name="connsiteY1" fmla="*/ 837511 h 1241667"/>
                    <a:gd name="connsiteX2" fmla="*/ 184240 w 2952002"/>
                    <a:gd name="connsiteY2" fmla="*/ 1194980 h 1241667"/>
                    <a:gd name="connsiteX3" fmla="*/ 0 w 2952002"/>
                    <a:gd name="connsiteY3" fmla="*/ 432020 h 1241667"/>
                    <a:gd name="connsiteX4" fmla="*/ 2951941 w 2952002"/>
                    <a:gd name="connsiteY4" fmla="*/ 0 h 1241667"/>
                    <a:gd name="connsiteX0" fmla="*/ 2951941 w 2952002"/>
                    <a:gd name="connsiteY0" fmla="*/ 0 h 1241667"/>
                    <a:gd name="connsiteX1" fmla="*/ 2948486 w 2952002"/>
                    <a:gd name="connsiteY1" fmla="*/ 837511 h 1241667"/>
                    <a:gd name="connsiteX2" fmla="*/ 184240 w 2952002"/>
                    <a:gd name="connsiteY2" fmla="*/ 1194980 h 1241667"/>
                    <a:gd name="connsiteX3" fmla="*/ 0 w 2952002"/>
                    <a:gd name="connsiteY3" fmla="*/ 432020 h 1241667"/>
                    <a:gd name="connsiteX4" fmla="*/ 2951941 w 2952002"/>
                    <a:gd name="connsiteY4" fmla="*/ 0 h 1241667"/>
                    <a:gd name="connsiteX0" fmla="*/ 2951941 w 2952002"/>
                    <a:gd name="connsiteY0" fmla="*/ 0 h 1241667"/>
                    <a:gd name="connsiteX1" fmla="*/ 2948486 w 2952002"/>
                    <a:gd name="connsiteY1" fmla="*/ 837511 h 1241667"/>
                    <a:gd name="connsiteX2" fmla="*/ 184240 w 2952002"/>
                    <a:gd name="connsiteY2" fmla="*/ 1194980 h 1241667"/>
                    <a:gd name="connsiteX3" fmla="*/ 0 w 2952002"/>
                    <a:gd name="connsiteY3" fmla="*/ 432020 h 1241667"/>
                    <a:gd name="connsiteX4" fmla="*/ 2951941 w 2952002"/>
                    <a:gd name="connsiteY4" fmla="*/ 0 h 1241667"/>
                    <a:gd name="connsiteX0" fmla="*/ 2951941 w 2952002"/>
                    <a:gd name="connsiteY0" fmla="*/ 0 h 1245957"/>
                    <a:gd name="connsiteX1" fmla="*/ 2948486 w 2952002"/>
                    <a:gd name="connsiteY1" fmla="*/ 837511 h 1245957"/>
                    <a:gd name="connsiteX2" fmla="*/ 187125 w 2952002"/>
                    <a:gd name="connsiteY2" fmla="*/ 1199931 h 1245957"/>
                    <a:gd name="connsiteX3" fmla="*/ 0 w 2952002"/>
                    <a:gd name="connsiteY3" fmla="*/ 432020 h 1245957"/>
                    <a:gd name="connsiteX4" fmla="*/ 2951941 w 2952002"/>
                    <a:gd name="connsiteY4" fmla="*/ 0 h 1245957"/>
                    <a:gd name="connsiteX0" fmla="*/ 2951941 w 2952002"/>
                    <a:gd name="connsiteY0" fmla="*/ 0 h 1245957"/>
                    <a:gd name="connsiteX1" fmla="*/ 2948486 w 2952002"/>
                    <a:gd name="connsiteY1" fmla="*/ 837511 h 1245957"/>
                    <a:gd name="connsiteX2" fmla="*/ 187125 w 2952002"/>
                    <a:gd name="connsiteY2" fmla="*/ 1199931 h 1245957"/>
                    <a:gd name="connsiteX3" fmla="*/ 0 w 2952002"/>
                    <a:gd name="connsiteY3" fmla="*/ 432020 h 1245957"/>
                    <a:gd name="connsiteX4" fmla="*/ 2951941 w 2952002"/>
                    <a:gd name="connsiteY4" fmla="*/ 0 h 1245957"/>
                    <a:gd name="connsiteX0" fmla="*/ 2951941 w 2952002"/>
                    <a:gd name="connsiteY0" fmla="*/ 0 h 1245957"/>
                    <a:gd name="connsiteX1" fmla="*/ 2948486 w 2952002"/>
                    <a:gd name="connsiteY1" fmla="*/ 837511 h 1245957"/>
                    <a:gd name="connsiteX2" fmla="*/ 187125 w 2952002"/>
                    <a:gd name="connsiteY2" fmla="*/ 1199931 h 1245957"/>
                    <a:gd name="connsiteX3" fmla="*/ 0 w 2952002"/>
                    <a:gd name="connsiteY3" fmla="*/ 432020 h 1245957"/>
                    <a:gd name="connsiteX4" fmla="*/ 2951941 w 2952002"/>
                    <a:gd name="connsiteY4" fmla="*/ 0 h 1245957"/>
                    <a:gd name="connsiteX0" fmla="*/ 2951941 w 2952002"/>
                    <a:gd name="connsiteY0" fmla="*/ 0 h 1245957"/>
                    <a:gd name="connsiteX1" fmla="*/ 2948486 w 2952002"/>
                    <a:gd name="connsiteY1" fmla="*/ 837511 h 1245957"/>
                    <a:gd name="connsiteX2" fmla="*/ 187125 w 2952002"/>
                    <a:gd name="connsiteY2" fmla="*/ 1199931 h 1245957"/>
                    <a:gd name="connsiteX3" fmla="*/ 0 w 2952002"/>
                    <a:gd name="connsiteY3" fmla="*/ 432020 h 1245957"/>
                    <a:gd name="connsiteX4" fmla="*/ 2951941 w 2952002"/>
                    <a:gd name="connsiteY4" fmla="*/ 0 h 1245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52002" h="1245957">
                      <a:moveTo>
                        <a:pt x="2951941" y="0"/>
                      </a:moveTo>
                      <a:cubicBezTo>
                        <a:pt x="2944264" y="205848"/>
                        <a:pt x="2945831" y="563298"/>
                        <a:pt x="2948486" y="837511"/>
                      </a:cubicBezTo>
                      <a:cubicBezTo>
                        <a:pt x="2922368" y="1149712"/>
                        <a:pt x="1297287" y="1338206"/>
                        <a:pt x="187125" y="1199931"/>
                      </a:cubicBezTo>
                      <a:cubicBezTo>
                        <a:pt x="87214" y="1046162"/>
                        <a:pt x="25074" y="652551"/>
                        <a:pt x="0" y="432020"/>
                      </a:cubicBezTo>
                      <a:cubicBezTo>
                        <a:pt x="1122341" y="601598"/>
                        <a:pt x="2964277" y="349176"/>
                        <a:pt x="2951941" y="0"/>
                      </a:cubicBezTo>
                      <a:close/>
                    </a:path>
                  </a:pathLst>
                </a:custGeom>
                <a:gradFill>
                  <a:gsLst>
                    <a:gs pos="78774">
                      <a:srgbClr val="69BEE9"/>
                    </a:gs>
                    <a:gs pos="27000">
                      <a:srgbClr val="69BEE9"/>
                    </a:gs>
                    <a:gs pos="0">
                      <a:srgbClr val="0091DA"/>
                    </a:gs>
                    <a:gs pos="100000">
                      <a:srgbClr val="0091DA"/>
                    </a:gs>
                  </a:gsLst>
                  <a:lin ang="108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4" name="Freeform 113"/>
                <p:cNvSpPr/>
                <p:nvPr/>
              </p:nvSpPr>
              <p:spPr>
                <a:xfrm rot="12857087">
                  <a:off x="3084686" y="1303671"/>
                  <a:ext cx="3240120" cy="1380748"/>
                </a:xfrm>
                <a:custGeom>
                  <a:avLst/>
                  <a:gdLst>
                    <a:gd name="connsiteX0" fmla="*/ 2902954 w 3006329"/>
                    <a:gd name="connsiteY0" fmla="*/ 958681 h 1223001"/>
                    <a:gd name="connsiteX1" fmla="*/ 295371 w 3006329"/>
                    <a:gd name="connsiteY1" fmla="*/ 1183409 h 1223001"/>
                    <a:gd name="connsiteX2" fmla="*/ 231774 w 3006329"/>
                    <a:gd name="connsiteY2" fmla="*/ 1175606 h 1223001"/>
                    <a:gd name="connsiteX3" fmla="*/ 216169 w 3006329"/>
                    <a:gd name="connsiteY3" fmla="*/ 1141461 h 1223001"/>
                    <a:gd name="connsiteX4" fmla="*/ 3122 w 3006329"/>
                    <a:gd name="connsiteY4" fmla="*/ 439470 h 1223001"/>
                    <a:gd name="connsiteX5" fmla="*/ 0 w 3006329"/>
                    <a:gd name="connsiteY5" fmla="*/ 423411 h 1223001"/>
                    <a:gd name="connsiteX6" fmla="*/ 147865 w 3006329"/>
                    <a:gd name="connsiteY6" fmla="*/ 445767 h 1223001"/>
                    <a:gd name="connsiteX7" fmla="*/ 3006266 w 3006329"/>
                    <a:gd name="connsiteY7" fmla="*/ 0 h 1223001"/>
                    <a:gd name="connsiteX8" fmla="*/ 3002811 w 3006329"/>
                    <a:gd name="connsiteY8" fmla="*/ 837510 h 1223001"/>
                    <a:gd name="connsiteX9" fmla="*/ 2902954 w 3006329"/>
                    <a:gd name="connsiteY9" fmla="*/ 958681 h 1223001"/>
                    <a:gd name="connsiteX0" fmla="*/ 2902954 w 3006329"/>
                    <a:gd name="connsiteY0" fmla="*/ 958681 h 1223001"/>
                    <a:gd name="connsiteX1" fmla="*/ 295371 w 3006329"/>
                    <a:gd name="connsiteY1" fmla="*/ 1183409 h 1223001"/>
                    <a:gd name="connsiteX2" fmla="*/ 216169 w 3006329"/>
                    <a:gd name="connsiteY2" fmla="*/ 1141461 h 1223001"/>
                    <a:gd name="connsiteX3" fmla="*/ 3122 w 3006329"/>
                    <a:gd name="connsiteY3" fmla="*/ 439470 h 1223001"/>
                    <a:gd name="connsiteX4" fmla="*/ 0 w 3006329"/>
                    <a:gd name="connsiteY4" fmla="*/ 423411 h 1223001"/>
                    <a:gd name="connsiteX5" fmla="*/ 147865 w 3006329"/>
                    <a:gd name="connsiteY5" fmla="*/ 445767 h 1223001"/>
                    <a:gd name="connsiteX6" fmla="*/ 3006266 w 3006329"/>
                    <a:gd name="connsiteY6" fmla="*/ 0 h 1223001"/>
                    <a:gd name="connsiteX7" fmla="*/ 3002811 w 3006329"/>
                    <a:gd name="connsiteY7" fmla="*/ 837510 h 1223001"/>
                    <a:gd name="connsiteX8" fmla="*/ 2902954 w 3006329"/>
                    <a:gd name="connsiteY8" fmla="*/ 958681 h 1223001"/>
                    <a:gd name="connsiteX0" fmla="*/ 2902954 w 3006329"/>
                    <a:gd name="connsiteY0" fmla="*/ 958681 h 1223001"/>
                    <a:gd name="connsiteX1" fmla="*/ 295371 w 3006329"/>
                    <a:gd name="connsiteY1" fmla="*/ 1183409 h 1223001"/>
                    <a:gd name="connsiteX2" fmla="*/ 248124 w 3006329"/>
                    <a:gd name="connsiteY2" fmla="*/ 1165787 h 1223001"/>
                    <a:gd name="connsiteX3" fmla="*/ 3122 w 3006329"/>
                    <a:gd name="connsiteY3" fmla="*/ 439470 h 1223001"/>
                    <a:gd name="connsiteX4" fmla="*/ 0 w 3006329"/>
                    <a:gd name="connsiteY4" fmla="*/ 423411 h 1223001"/>
                    <a:gd name="connsiteX5" fmla="*/ 147865 w 3006329"/>
                    <a:gd name="connsiteY5" fmla="*/ 445767 h 1223001"/>
                    <a:gd name="connsiteX6" fmla="*/ 3006266 w 3006329"/>
                    <a:gd name="connsiteY6" fmla="*/ 0 h 1223001"/>
                    <a:gd name="connsiteX7" fmla="*/ 3002811 w 3006329"/>
                    <a:gd name="connsiteY7" fmla="*/ 837510 h 1223001"/>
                    <a:gd name="connsiteX8" fmla="*/ 2902954 w 3006329"/>
                    <a:gd name="connsiteY8" fmla="*/ 958681 h 1223001"/>
                    <a:gd name="connsiteX0" fmla="*/ 2899832 w 3003207"/>
                    <a:gd name="connsiteY0" fmla="*/ 958681 h 1223001"/>
                    <a:gd name="connsiteX1" fmla="*/ 292249 w 3003207"/>
                    <a:gd name="connsiteY1" fmla="*/ 1183409 h 1223001"/>
                    <a:gd name="connsiteX2" fmla="*/ 245002 w 3003207"/>
                    <a:gd name="connsiteY2" fmla="*/ 1165787 h 1223001"/>
                    <a:gd name="connsiteX3" fmla="*/ 0 w 3003207"/>
                    <a:gd name="connsiteY3" fmla="*/ 439470 h 1223001"/>
                    <a:gd name="connsiteX4" fmla="*/ 144743 w 3003207"/>
                    <a:gd name="connsiteY4" fmla="*/ 445767 h 1223001"/>
                    <a:gd name="connsiteX5" fmla="*/ 3003144 w 3003207"/>
                    <a:gd name="connsiteY5" fmla="*/ 0 h 1223001"/>
                    <a:gd name="connsiteX6" fmla="*/ 2999689 w 3003207"/>
                    <a:gd name="connsiteY6" fmla="*/ 837510 h 1223001"/>
                    <a:gd name="connsiteX7" fmla="*/ 2899832 w 3003207"/>
                    <a:gd name="connsiteY7" fmla="*/ 958681 h 1223001"/>
                    <a:gd name="connsiteX0" fmla="*/ 2854044 w 2957419"/>
                    <a:gd name="connsiteY0" fmla="*/ 958681 h 1223001"/>
                    <a:gd name="connsiteX1" fmla="*/ 246461 w 2957419"/>
                    <a:gd name="connsiteY1" fmla="*/ 1183409 h 1223001"/>
                    <a:gd name="connsiteX2" fmla="*/ 199214 w 2957419"/>
                    <a:gd name="connsiteY2" fmla="*/ 1165787 h 1223001"/>
                    <a:gd name="connsiteX3" fmla="*/ 0 w 2957419"/>
                    <a:gd name="connsiteY3" fmla="*/ 438994 h 1223001"/>
                    <a:gd name="connsiteX4" fmla="*/ 98955 w 2957419"/>
                    <a:gd name="connsiteY4" fmla="*/ 445767 h 1223001"/>
                    <a:gd name="connsiteX5" fmla="*/ 2957356 w 2957419"/>
                    <a:gd name="connsiteY5" fmla="*/ 0 h 1223001"/>
                    <a:gd name="connsiteX6" fmla="*/ 2953901 w 2957419"/>
                    <a:gd name="connsiteY6" fmla="*/ 837510 h 1223001"/>
                    <a:gd name="connsiteX7" fmla="*/ 2854044 w 2957419"/>
                    <a:gd name="connsiteY7" fmla="*/ 958681 h 1223001"/>
                    <a:gd name="connsiteX0" fmla="*/ 2859291 w 2962666"/>
                    <a:gd name="connsiteY0" fmla="*/ 958681 h 1223001"/>
                    <a:gd name="connsiteX1" fmla="*/ 251708 w 2962666"/>
                    <a:gd name="connsiteY1" fmla="*/ 1183409 h 1223001"/>
                    <a:gd name="connsiteX2" fmla="*/ 204461 w 2962666"/>
                    <a:gd name="connsiteY2" fmla="*/ 1165787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204461 w 2962666"/>
                    <a:gd name="connsiteY2" fmla="*/ 1165787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204461 w 2962666"/>
                    <a:gd name="connsiteY2" fmla="*/ 1165787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204461 w 2962666"/>
                    <a:gd name="connsiteY2" fmla="*/ 1165787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204461 w 2962666"/>
                    <a:gd name="connsiteY2" fmla="*/ 1165787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193967 w 2962666"/>
                    <a:gd name="connsiteY2" fmla="*/ 1172941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59291 w 2962666"/>
                    <a:gd name="connsiteY0" fmla="*/ 958681 h 1223001"/>
                    <a:gd name="connsiteX1" fmla="*/ 251708 w 2962666"/>
                    <a:gd name="connsiteY1" fmla="*/ 1183409 h 1223001"/>
                    <a:gd name="connsiteX2" fmla="*/ 193967 w 2962666"/>
                    <a:gd name="connsiteY2" fmla="*/ 1172941 h 1223001"/>
                    <a:gd name="connsiteX3" fmla="*/ 0 w 2962666"/>
                    <a:gd name="connsiteY3" fmla="*/ 442571 h 1223001"/>
                    <a:gd name="connsiteX4" fmla="*/ 104202 w 2962666"/>
                    <a:gd name="connsiteY4" fmla="*/ 445767 h 1223001"/>
                    <a:gd name="connsiteX5" fmla="*/ 2962603 w 2962666"/>
                    <a:gd name="connsiteY5" fmla="*/ 0 h 1223001"/>
                    <a:gd name="connsiteX6" fmla="*/ 2959148 w 2962666"/>
                    <a:gd name="connsiteY6" fmla="*/ 837510 h 1223001"/>
                    <a:gd name="connsiteX7" fmla="*/ 2859291 w 2962666"/>
                    <a:gd name="connsiteY7" fmla="*/ 958681 h 1223001"/>
                    <a:gd name="connsiteX0" fmla="*/ 2864538 w 2967913"/>
                    <a:gd name="connsiteY0" fmla="*/ 958681 h 1223001"/>
                    <a:gd name="connsiteX1" fmla="*/ 256955 w 2967913"/>
                    <a:gd name="connsiteY1" fmla="*/ 1183409 h 1223001"/>
                    <a:gd name="connsiteX2" fmla="*/ 199214 w 2967913"/>
                    <a:gd name="connsiteY2" fmla="*/ 1172941 h 1223001"/>
                    <a:gd name="connsiteX3" fmla="*/ 0 w 2967913"/>
                    <a:gd name="connsiteY3" fmla="*/ 446148 h 1223001"/>
                    <a:gd name="connsiteX4" fmla="*/ 109449 w 2967913"/>
                    <a:gd name="connsiteY4" fmla="*/ 445767 h 1223001"/>
                    <a:gd name="connsiteX5" fmla="*/ 2967850 w 2967913"/>
                    <a:gd name="connsiteY5" fmla="*/ 0 h 1223001"/>
                    <a:gd name="connsiteX6" fmla="*/ 2964395 w 2967913"/>
                    <a:gd name="connsiteY6" fmla="*/ 837510 h 1223001"/>
                    <a:gd name="connsiteX7" fmla="*/ 2864538 w 2967913"/>
                    <a:gd name="connsiteY7" fmla="*/ 958681 h 1223001"/>
                    <a:gd name="connsiteX0" fmla="*/ 2873599 w 2976974"/>
                    <a:gd name="connsiteY0" fmla="*/ 958681 h 1223001"/>
                    <a:gd name="connsiteX1" fmla="*/ 266016 w 2976974"/>
                    <a:gd name="connsiteY1" fmla="*/ 1183409 h 1223001"/>
                    <a:gd name="connsiteX2" fmla="*/ 208275 w 2976974"/>
                    <a:gd name="connsiteY2" fmla="*/ 1172941 h 1223001"/>
                    <a:gd name="connsiteX3" fmla="*/ 0 w 2976974"/>
                    <a:gd name="connsiteY3" fmla="*/ 421584 h 1223001"/>
                    <a:gd name="connsiteX4" fmla="*/ 118510 w 2976974"/>
                    <a:gd name="connsiteY4" fmla="*/ 445767 h 1223001"/>
                    <a:gd name="connsiteX5" fmla="*/ 2976911 w 2976974"/>
                    <a:gd name="connsiteY5" fmla="*/ 0 h 1223001"/>
                    <a:gd name="connsiteX6" fmla="*/ 2973456 w 2976974"/>
                    <a:gd name="connsiteY6" fmla="*/ 837510 h 1223001"/>
                    <a:gd name="connsiteX7" fmla="*/ 2873599 w 2976974"/>
                    <a:gd name="connsiteY7" fmla="*/ 958681 h 1223001"/>
                    <a:gd name="connsiteX0" fmla="*/ 2873599 w 2976974"/>
                    <a:gd name="connsiteY0" fmla="*/ 958681 h 1223001"/>
                    <a:gd name="connsiteX1" fmla="*/ 266016 w 2976974"/>
                    <a:gd name="connsiteY1" fmla="*/ 1183409 h 1223001"/>
                    <a:gd name="connsiteX2" fmla="*/ 217098 w 2976974"/>
                    <a:gd name="connsiteY2" fmla="*/ 1174610 h 1223001"/>
                    <a:gd name="connsiteX3" fmla="*/ 0 w 2976974"/>
                    <a:gd name="connsiteY3" fmla="*/ 421584 h 1223001"/>
                    <a:gd name="connsiteX4" fmla="*/ 118510 w 2976974"/>
                    <a:gd name="connsiteY4" fmla="*/ 445767 h 1223001"/>
                    <a:gd name="connsiteX5" fmla="*/ 2976911 w 2976974"/>
                    <a:gd name="connsiteY5" fmla="*/ 0 h 1223001"/>
                    <a:gd name="connsiteX6" fmla="*/ 2973456 w 2976974"/>
                    <a:gd name="connsiteY6" fmla="*/ 837510 h 1223001"/>
                    <a:gd name="connsiteX7" fmla="*/ 2873599 w 2976974"/>
                    <a:gd name="connsiteY7" fmla="*/ 958681 h 1223001"/>
                    <a:gd name="connsiteX0" fmla="*/ 2873599 w 2976974"/>
                    <a:gd name="connsiteY0" fmla="*/ 958681 h 1223001"/>
                    <a:gd name="connsiteX1" fmla="*/ 266016 w 2976974"/>
                    <a:gd name="connsiteY1" fmla="*/ 1183409 h 1223001"/>
                    <a:gd name="connsiteX2" fmla="*/ 0 w 2976974"/>
                    <a:gd name="connsiteY2" fmla="*/ 421584 h 1223001"/>
                    <a:gd name="connsiteX3" fmla="*/ 118510 w 2976974"/>
                    <a:gd name="connsiteY3" fmla="*/ 445767 h 1223001"/>
                    <a:gd name="connsiteX4" fmla="*/ 2976911 w 2976974"/>
                    <a:gd name="connsiteY4" fmla="*/ 0 h 1223001"/>
                    <a:gd name="connsiteX5" fmla="*/ 2973456 w 2976974"/>
                    <a:gd name="connsiteY5" fmla="*/ 837510 h 1223001"/>
                    <a:gd name="connsiteX6" fmla="*/ 2873599 w 2976974"/>
                    <a:gd name="connsiteY6" fmla="*/ 958681 h 1223001"/>
                    <a:gd name="connsiteX0" fmla="*/ 2873599 w 2976974"/>
                    <a:gd name="connsiteY0" fmla="*/ 958681 h 1223395"/>
                    <a:gd name="connsiteX1" fmla="*/ 220228 w 2976974"/>
                    <a:gd name="connsiteY1" fmla="*/ 1183884 h 1223395"/>
                    <a:gd name="connsiteX2" fmla="*/ 0 w 2976974"/>
                    <a:gd name="connsiteY2" fmla="*/ 421584 h 1223395"/>
                    <a:gd name="connsiteX3" fmla="*/ 118510 w 2976974"/>
                    <a:gd name="connsiteY3" fmla="*/ 445767 h 1223395"/>
                    <a:gd name="connsiteX4" fmla="*/ 2976911 w 2976974"/>
                    <a:gd name="connsiteY4" fmla="*/ 0 h 1223395"/>
                    <a:gd name="connsiteX5" fmla="*/ 2973456 w 2976974"/>
                    <a:gd name="connsiteY5" fmla="*/ 837510 h 1223395"/>
                    <a:gd name="connsiteX6" fmla="*/ 2873599 w 2976974"/>
                    <a:gd name="connsiteY6" fmla="*/ 958681 h 1223395"/>
                    <a:gd name="connsiteX0" fmla="*/ 2855714 w 2959089"/>
                    <a:gd name="connsiteY0" fmla="*/ 958681 h 1223395"/>
                    <a:gd name="connsiteX1" fmla="*/ 202343 w 2959089"/>
                    <a:gd name="connsiteY1" fmla="*/ 1183884 h 1223395"/>
                    <a:gd name="connsiteX2" fmla="*/ 0 w 2959089"/>
                    <a:gd name="connsiteY2" fmla="*/ 447817 h 1223395"/>
                    <a:gd name="connsiteX3" fmla="*/ 100625 w 2959089"/>
                    <a:gd name="connsiteY3" fmla="*/ 445767 h 1223395"/>
                    <a:gd name="connsiteX4" fmla="*/ 2959026 w 2959089"/>
                    <a:gd name="connsiteY4" fmla="*/ 0 h 1223395"/>
                    <a:gd name="connsiteX5" fmla="*/ 2955571 w 2959089"/>
                    <a:gd name="connsiteY5" fmla="*/ 837510 h 1223395"/>
                    <a:gd name="connsiteX6" fmla="*/ 2855714 w 2959089"/>
                    <a:gd name="connsiteY6" fmla="*/ 958681 h 1223395"/>
                    <a:gd name="connsiteX0" fmla="*/ 2868114 w 2971489"/>
                    <a:gd name="connsiteY0" fmla="*/ 958681 h 1223395"/>
                    <a:gd name="connsiteX1" fmla="*/ 214743 w 2971489"/>
                    <a:gd name="connsiteY1" fmla="*/ 1183884 h 1223395"/>
                    <a:gd name="connsiteX2" fmla="*/ 0 w 2971489"/>
                    <a:gd name="connsiteY2" fmla="*/ 440900 h 1223395"/>
                    <a:gd name="connsiteX3" fmla="*/ 113025 w 2971489"/>
                    <a:gd name="connsiteY3" fmla="*/ 445767 h 1223395"/>
                    <a:gd name="connsiteX4" fmla="*/ 2971426 w 2971489"/>
                    <a:gd name="connsiteY4" fmla="*/ 0 h 1223395"/>
                    <a:gd name="connsiteX5" fmla="*/ 2967971 w 2971489"/>
                    <a:gd name="connsiteY5" fmla="*/ 837510 h 1223395"/>
                    <a:gd name="connsiteX6" fmla="*/ 2868114 w 2971489"/>
                    <a:gd name="connsiteY6" fmla="*/ 958681 h 1223395"/>
                    <a:gd name="connsiteX0" fmla="*/ 2868114 w 2971489"/>
                    <a:gd name="connsiteY0" fmla="*/ 958681 h 1223395"/>
                    <a:gd name="connsiteX1" fmla="*/ 214743 w 2971489"/>
                    <a:gd name="connsiteY1" fmla="*/ 1183884 h 1223395"/>
                    <a:gd name="connsiteX2" fmla="*/ 0 w 2971489"/>
                    <a:gd name="connsiteY2" fmla="*/ 440900 h 1223395"/>
                    <a:gd name="connsiteX3" fmla="*/ 113025 w 2971489"/>
                    <a:gd name="connsiteY3" fmla="*/ 445767 h 1223395"/>
                    <a:gd name="connsiteX4" fmla="*/ 2971426 w 2971489"/>
                    <a:gd name="connsiteY4" fmla="*/ 0 h 1223395"/>
                    <a:gd name="connsiteX5" fmla="*/ 2967971 w 2971489"/>
                    <a:gd name="connsiteY5" fmla="*/ 837510 h 1223395"/>
                    <a:gd name="connsiteX6" fmla="*/ 2868114 w 2971489"/>
                    <a:gd name="connsiteY6" fmla="*/ 958681 h 1223395"/>
                    <a:gd name="connsiteX0" fmla="*/ 2868114 w 2971489"/>
                    <a:gd name="connsiteY0" fmla="*/ 958681 h 1223395"/>
                    <a:gd name="connsiteX1" fmla="*/ 214743 w 2971489"/>
                    <a:gd name="connsiteY1" fmla="*/ 1183884 h 1223395"/>
                    <a:gd name="connsiteX2" fmla="*/ 0 w 2971489"/>
                    <a:gd name="connsiteY2" fmla="*/ 440900 h 1223395"/>
                    <a:gd name="connsiteX3" fmla="*/ 113025 w 2971489"/>
                    <a:gd name="connsiteY3" fmla="*/ 445767 h 1223395"/>
                    <a:gd name="connsiteX4" fmla="*/ 2971426 w 2971489"/>
                    <a:gd name="connsiteY4" fmla="*/ 0 h 1223395"/>
                    <a:gd name="connsiteX5" fmla="*/ 2967971 w 2971489"/>
                    <a:gd name="connsiteY5" fmla="*/ 837510 h 1223395"/>
                    <a:gd name="connsiteX6" fmla="*/ 2868114 w 2971489"/>
                    <a:gd name="connsiteY6" fmla="*/ 958681 h 1223395"/>
                    <a:gd name="connsiteX0" fmla="*/ 2868114 w 2971489"/>
                    <a:gd name="connsiteY0" fmla="*/ 958681 h 1223395"/>
                    <a:gd name="connsiteX1" fmla="*/ 214743 w 2971489"/>
                    <a:gd name="connsiteY1" fmla="*/ 1183884 h 1223395"/>
                    <a:gd name="connsiteX2" fmla="*/ 0 w 2971489"/>
                    <a:gd name="connsiteY2" fmla="*/ 440900 h 1223395"/>
                    <a:gd name="connsiteX3" fmla="*/ 113025 w 2971489"/>
                    <a:gd name="connsiteY3" fmla="*/ 445767 h 1223395"/>
                    <a:gd name="connsiteX4" fmla="*/ 2971426 w 2971489"/>
                    <a:gd name="connsiteY4" fmla="*/ 0 h 1223395"/>
                    <a:gd name="connsiteX5" fmla="*/ 2967971 w 2971489"/>
                    <a:gd name="connsiteY5" fmla="*/ 837510 h 1223395"/>
                    <a:gd name="connsiteX6" fmla="*/ 2868114 w 2971489"/>
                    <a:gd name="connsiteY6" fmla="*/ 958681 h 1223395"/>
                    <a:gd name="connsiteX0" fmla="*/ 2875268 w 2978643"/>
                    <a:gd name="connsiteY0" fmla="*/ 958681 h 1223395"/>
                    <a:gd name="connsiteX1" fmla="*/ 221897 w 2978643"/>
                    <a:gd name="connsiteY1" fmla="*/ 1183884 h 1223395"/>
                    <a:gd name="connsiteX2" fmla="*/ 0 w 2978643"/>
                    <a:gd name="connsiteY2" fmla="*/ 430406 h 1223395"/>
                    <a:gd name="connsiteX3" fmla="*/ 120179 w 2978643"/>
                    <a:gd name="connsiteY3" fmla="*/ 445767 h 1223395"/>
                    <a:gd name="connsiteX4" fmla="*/ 2978580 w 2978643"/>
                    <a:gd name="connsiteY4" fmla="*/ 0 h 1223395"/>
                    <a:gd name="connsiteX5" fmla="*/ 2975125 w 2978643"/>
                    <a:gd name="connsiteY5" fmla="*/ 837510 h 1223395"/>
                    <a:gd name="connsiteX6" fmla="*/ 2875268 w 2978643"/>
                    <a:gd name="connsiteY6" fmla="*/ 958681 h 1223395"/>
                    <a:gd name="connsiteX0" fmla="*/ 2875268 w 2978643"/>
                    <a:gd name="connsiteY0" fmla="*/ 958681 h 1232442"/>
                    <a:gd name="connsiteX1" fmla="*/ 197572 w 2978643"/>
                    <a:gd name="connsiteY1" fmla="*/ 1194704 h 1232442"/>
                    <a:gd name="connsiteX2" fmla="*/ 0 w 2978643"/>
                    <a:gd name="connsiteY2" fmla="*/ 430406 h 1232442"/>
                    <a:gd name="connsiteX3" fmla="*/ 120179 w 2978643"/>
                    <a:gd name="connsiteY3" fmla="*/ 445767 h 1232442"/>
                    <a:gd name="connsiteX4" fmla="*/ 2978580 w 2978643"/>
                    <a:gd name="connsiteY4" fmla="*/ 0 h 1232442"/>
                    <a:gd name="connsiteX5" fmla="*/ 2975125 w 2978643"/>
                    <a:gd name="connsiteY5" fmla="*/ 837510 h 1232442"/>
                    <a:gd name="connsiteX6" fmla="*/ 2875268 w 2978643"/>
                    <a:gd name="connsiteY6" fmla="*/ 958681 h 1232442"/>
                    <a:gd name="connsiteX0" fmla="*/ 2875268 w 2978643"/>
                    <a:gd name="connsiteY0" fmla="*/ 958681 h 1232442"/>
                    <a:gd name="connsiteX1" fmla="*/ 197572 w 2978643"/>
                    <a:gd name="connsiteY1" fmla="*/ 1194704 h 1232442"/>
                    <a:gd name="connsiteX2" fmla="*/ 0 w 2978643"/>
                    <a:gd name="connsiteY2" fmla="*/ 430406 h 1232442"/>
                    <a:gd name="connsiteX3" fmla="*/ 120179 w 2978643"/>
                    <a:gd name="connsiteY3" fmla="*/ 445767 h 1232442"/>
                    <a:gd name="connsiteX4" fmla="*/ 2978580 w 2978643"/>
                    <a:gd name="connsiteY4" fmla="*/ 0 h 1232442"/>
                    <a:gd name="connsiteX5" fmla="*/ 2975125 w 2978643"/>
                    <a:gd name="connsiteY5" fmla="*/ 837510 h 1232442"/>
                    <a:gd name="connsiteX6" fmla="*/ 2875268 w 2978643"/>
                    <a:gd name="connsiteY6" fmla="*/ 958681 h 1232442"/>
                    <a:gd name="connsiteX0" fmla="*/ 2875268 w 2978643"/>
                    <a:gd name="connsiteY0" fmla="*/ 958681 h 1232442"/>
                    <a:gd name="connsiteX1" fmla="*/ 197572 w 2978643"/>
                    <a:gd name="connsiteY1" fmla="*/ 1194704 h 1232442"/>
                    <a:gd name="connsiteX2" fmla="*/ 0 w 2978643"/>
                    <a:gd name="connsiteY2" fmla="*/ 430406 h 1232442"/>
                    <a:gd name="connsiteX3" fmla="*/ 120179 w 2978643"/>
                    <a:gd name="connsiteY3" fmla="*/ 445767 h 1232442"/>
                    <a:gd name="connsiteX4" fmla="*/ 2978580 w 2978643"/>
                    <a:gd name="connsiteY4" fmla="*/ 0 h 1232442"/>
                    <a:gd name="connsiteX5" fmla="*/ 2975125 w 2978643"/>
                    <a:gd name="connsiteY5" fmla="*/ 837510 h 1232442"/>
                    <a:gd name="connsiteX6" fmla="*/ 2875268 w 2978643"/>
                    <a:gd name="connsiteY6" fmla="*/ 958681 h 1232442"/>
                    <a:gd name="connsiteX0" fmla="*/ 2875268 w 2978643"/>
                    <a:gd name="connsiteY0" fmla="*/ 958681 h 1232442"/>
                    <a:gd name="connsiteX1" fmla="*/ 197572 w 2978643"/>
                    <a:gd name="connsiteY1" fmla="*/ 1194704 h 1232442"/>
                    <a:gd name="connsiteX2" fmla="*/ 0 w 2978643"/>
                    <a:gd name="connsiteY2" fmla="*/ 430406 h 1232442"/>
                    <a:gd name="connsiteX3" fmla="*/ 120179 w 2978643"/>
                    <a:gd name="connsiteY3" fmla="*/ 445767 h 1232442"/>
                    <a:gd name="connsiteX4" fmla="*/ 2978580 w 2978643"/>
                    <a:gd name="connsiteY4" fmla="*/ 0 h 1232442"/>
                    <a:gd name="connsiteX5" fmla="*/ 2975125 w 2978643"/>
                    <a:gd name="connsiteY5" fmla="*/ 837510 h 1232442"/>
                    <a:gd name="connsiteX6" fmla="*/ 2875268 w 2978643"/>
                    <a:gd name="connsiteY6" fmla="*/ 958681 h 1232442"/>
                    <a:gd name="connsiteX0" fmla="*/ 2875268 w 2978643"/>
                    <a:gd name="connsiteY0" fmla="*/ 958681 h 1234177"/>
                    <a:gd name="connsiteX1" fmla="*/ 190329 w 2978643"/>
                    <a:gd name="connsiteY1" fmla="*/ 1196761 h 1234177"/>
                    <a:gd name="connsiteX2" fmla="*/ 0 w 2978643"/>
                    <a:gd name="connsiteY2" fmla="*/ 430406 h 1234177"/>
                    <a:gd name="connsiteX3" fmla="*/ 120179 w 2978643"/>
                    <a:gd name="connsiteY3" fmla="*/ 445767 h 1234177"/>
                    <a:gd name="connsiteX4" fmla="*/ 2978580 w 2978643"/>
                    <a:gd name="connsiteY4" fmla="*/ 0 h 1234177"/>
                    <a:gd name="connsiteX5" fmla="*/ 2975125 w 2978643"/>
                    <a:gd name="connsiteY5" fmla="*/ 837510 h 1234177"/>
                    <a:gd name="connsiteX6" fmla="*/ 2875268 w 2978643"/>
                    <a:gd name="connsiteY6" fmla="*/ 958681 h 1234177"/>
                    <a:gd name="connsiteX0" fmla="*/ 2875268 w 2978643"/>
                    <a:gd name="connsiteY0" fmla="*/ 958681 h 1234177"/>
                    <a:gd name="connsiteX1" fmla="*/ 190329 w 2978643"/>
                    <a:gd name="connsiteY1" fmla="*/ 1196761 h 1234177"/>
                    <a:gd name="connsiteX2" fmla="*/ 0 w 2978643"/>
                    <a:gd name="connsiteY2" fmla="*/ 430406 h 1234177"/>
                    <a:gd name="connsiteX3" fmla="*/ 120179 w 2978643"/>
                    <a:gd name="connsiteY3" fmla="*/ 445767 h 1234177"/>
                    <a:gd name="connsiteX4" fmla="*/ 2978580 w 2978643"/>
                    <a:gd name="connsiteY4" fmla="*/ 0 h 1234177"/>
                    <a:gd name="connsiteX5" fmla="*/ 2975125 w 2978643"/>
                    <a:gd name="connsiteY5" fmla="*/ 837510 h 1234177"/>
                    <a:gd name="connsiteX6" fmla="*/ 2875268 w 2978643"/>
                    <a:gd name="connsiteY6" fmla="*/ 958681 h 1234177"/>
                    <a:gd name="connsiteX0" fmla="*/ 2875268 w 2978643"/>
                    <a:gd name="connsiteY0" fmla="*/ 958681 h 1234177"/>
                    <a:gd name="connsiteX1" fmla="*/ 190329 w 2978643"/>
                    <a:gd name="connsiteY1" fmla="*/ 1196761 h 1234177"/>
                    <a:gd name="connsiteX2" fmla="*/ 0 w 2978643"/>
                    <a:gd name="connsiteY2" fmla="*/ 430406 h 1234177"/>
                    <a:gd name="connsiteX3" fmla="*/ 120179 w 2978643"/>
                    <a:gd name="connsiteY3" fmla="*/ 445767 h 1234177"/>
                    <a:gd name="connsiteX4" fmla="*/ 2978580 w 2978643"/>
                    <a:gd name="connsiteY4" fmla="*/ 0 h 1234177"/>
                    <a:gd name="connsiteX5" fmla="*/ 2975125 w 2978643"/>
                    <a:gd name="connsiteY5" fmla="*/ 837510 h 1234177"/>
                    <a:gd name="connsiteX6" fmla="*/ 2875268 w 2978643"/>
                    <a:gd name="connsiteY6" fmla="*/ 958681 h 1234177"/>
                    <a:gd name="connsiteX0" fmla="*/ 2873211 w 2976586"/>
                    <a:gd name="connsiteY0" fmla="*/ 958681 h 1234177"/>
                    <a:gd name="connsiteX1" fmla="*/ 188272 w 2976586"/>
                    <a:gd name="connsiteY1" fmla="*/ 1196761 h 1234177"/>
                    <a:gd name="connsiteX2" fmla="*/ 0 w 2976586"/>
                    <a:gd name="connsiteY2" fmla="*/ 437650 h 1234177"/>
                    <a:gd name="connsiteX3" fmla="*/ 118122 w 2976586"/>
                    <a:gd name="connsiteY3" fmla="*/ 445767 h 1234177"/>
                    <a:gd name="connsiteX4" fmla="*/ 2976523 w 2976586"/>
                    <a:gd name="connsiteY4" fmla="*/ 0 h 1234177"/>
                    <a:gd name="connsiteX5" fmla="*/ 2973068 w 2976586"/>
                    <a:gd name="connsiteY5" fmla="*/ 837510 h 1234177"/>
                    <a:gd name="connsiteX6" fmla="*/ 2873211 w 2976586"/>
                    <a:gd name="connsiteY6" fmla="*/ 958681 h 1234177"/>
                    <a:gd name="connsiteX0" fmla="*/ 2863999 w 2967374"/>
                    <a:gd name="connsiteY0" fmla="*/ 958681 h 1234177"/>
                    <a:gd name="connsiteX1" fmla="*/ 179060 w 2967374"/>
                    <a:gd name="connsiteY1" fmla="*/ 1196761 h 1234177"/>
                    <a:gd name="connsiteX2" fmla="*/ 0 w 2967374"/>
                    <a:gd name="connsiteY2" fmla="*/ 434252 h 1234177"/>
                    <a:gd name="connsiteX3" fmla="*/ 108910 w 2967374"/>
                    <a:gd name="connsiteY3" fmla="*/ 445767 h 1234177"/>
                    <a:gd name="connsiteX4" fmla="*/ 2967311 w 2967374"/>
                    <a:gd name="connsiteY4" fmla="*/ 0 h 1234177"/>
                    <a:gd name="connsiteX5" fmla="*/ 2963856 w 2967374"/>
                    <a:gd name="connsiteY5" fmla="*/ 837510 h 1234177"/>
                    <a:gd name="connsiteX6" fmla="*/ 2863999 w 2967374"/>
                    <a:gd name="connsiteY6" fmla="*/ 958681 h 1234177"/>
                    <a:gd name="connsiteX0" fmla="*/ 2863999 w 2967374"/>
                    <a:gd name="connsiteY0" fmla="*/ 958681 h 1234177"/>
                    <a:gd name="connsiteX1" fmla="*/ 179060 w 2967374"/>
                    <a:gd name="connsiteY1" fmla="*/ 1196761 h 1234177"/>
                    <a:gd name="connsiteX2" fmla="*/ 0 w 2967374"/>
                    <a:gd name="connsiteY2" fmla="*/ 434252 h 1234177"/>
                    <a:gd name="connsiteX3" fmla="*/ 108910 w 2967374"/>
                    <a:gd name="connsiteY3" fmla="*/ 445767 h 1234177"/>
                    <a:gd name="connsiteX4" fmla="*/ 2967311 w 2967374"/>
                    <a:gd name="connsiteY4" fmla="*/ 0 h 1234177"/>
                    <a:gd name="connsiteX5" fmla="*/ 2963856 w 2967374"/>
                    <a:gd name="connsiteY5" fmla="*/ 837510 h 1234177"/>
                    <a:gd name="connsiteX6" fmla="*/ 2863999 w 2967374"/>
                    <a:gd name="connsiteY6" fmla="*/ 958681 h 1234177"/>
                    <a:gd name="connsiteX0" fmla="*/ 2863999 w 2967374"/>
                    <a:gd name="connsiteY0" fmla="*/ 958681 h 1234177"/>
                    <a:gd name="connsiteX1" fmla="*/ 179060 w 2967374"/>
                    <a:gd name="connsiteY1" fmla="*/ 1196761 h 1234177"/>
                    <a:gd name="connsiteX2" fmla="*/ 0 w 2967374"/>
                    <a:gd name="connsiteY2" fmla="*/ 434252 h 1234177"/>
                    <a:gd name="connsiteX3" fmla="*/ 108910 w 2967374"/>
                    <a:gd name="connsiteY3" fmla="*/ 445767 h 1234177"/>
                    <a:gd name="connsiteX4" fmla="*/ 2967311 w 2967374"/>
                    <a:gd name="connsiteY4" fmla="*/ 0 h 1234177"/>
                    <a:gd name="connsiteX5" fmla="*/ 2963856 w 2967374"/>
                    <a:gd name="connsiteY5" fmla="*/ 837510 h 1234177"/>
                    <a:gd name="connsiteX6" fmla="*/ 2863999 w 2967374"/>
                    <a:gd name="connsiteY6" fmla="*/ 958681 h 1234177"/>
                    <a:gd name="connsiteX0" fmla="*/ 2863999 w 2967374"/>
                    <a:gd name="connsiteY0" fmla="*/ 958681 h 1232442"/>
                    <a:gd name="connsiteX1" fmla="*/ 186304 w 2967374"/>
                    <a:gd name="connsiteY1" fmla="*/ 1194704 h 1232442"/>
                    <a:gd name="connsiteX2" fmla="*/ 0 w 2967374"/>
                    <a:gd name="connsiteY2" fmla="*/ 434252 h 1232442"/>
                    <a:gd name="connsiteX3" fmla="*/ 108910 w 2967374"/>
                    <a:gd name="connsiteY3" fmla="*/ 445767 h 1232442"/>
                    <a:gd name="connsiteX4" fmla="*/ 2967311 w 2967374"/>
                    <a:gd name="connsiteY4" fmla="*/ 0 h 1232442"/>
                    <a:gd name="connsiteX5" fmla="*/ 2963856 w 2967374"/>
                    <a:gd name="connsiteY5" fmla="*/ 837510 h 1232442"/>
                    <a:gd name="connsiteX6" fmla="*/ 2863999 w 2967374"/>
                    <a:gd name="connsiteY6" fmla="*/ 958681 h 1232442"/>
                    <a:gd name="connsiteX0" fmla="*/ 2863999 w 2967374"/>
                    <a:gd name="connsiteY0" fmla="*/ 958681 h 1233572"/>
                    <a:gd name="connsiteX1" fmla="*/ 184337 w 2967374"/>
                    <a:gd name="connsiteY1" fmla="*/ 1196045 h 1233572"/>
                    <a:gd name="connsiteX2" fmla="*/ 0 w 2967374"/>
                    <a:gd name="connsiteY2" fmla="*/ 434252 h 1233572"/>
                    <a:gd name="connsiteX3" fmla="*/ 108910 w 2967374"/>
                    <a:gd name="connsiteY3" fmla="*/ 445767 h 1233572"/>
                    <a:gd name="connsiteX4" fmla="*/ 2967311 w 2967374"/>
                    <a:gd name="connsiteY4" fmla="*/ 0 h 1233572"/>
                    <a:gd name="connsiteX5" fmla="*/ 2963856 w 2967374"/>
                    <a:gd name="connsiteY5" fmla="*/ 837510 h 1233572"/>
                    <a:gd name="connsiteX6" fmla="*/ 2863999 w 2967374"/>
                    <a:gd name="connsiteY6" fmla="*/ 958681 h 1233572"/>
                    <a:gd name="connsiteX0" fmla="*/ 2863999 w 2967374"/>
                    <a:gd name="connsiteY0" fmla="*/ 958681 h 1234705"/>
                    <a:gd name="connsiteX1" fmla="*/ 182370 w 2967374"/>
                    <a:gd name="connsiteY1" fmla="*/ 1197386 h 1234705"/>
                    <a:gd name="connsiteX2" fmla="*/ 0 w 2967374"/>
                    <a:gd name="connsiteY2" fmla="*/ 434252 h 1234705"/>
                    <a:gd name="connsiteX3" fmla="*/ 108910 w 2967374"/>
                    <a:gd name="connsiteY3" fmla="*/ 445767 h 1234705"/>
                    <a:gd name="connsiteX4" fmla="*/ 2967311 w 2967374"/>
                    <a:gd name="connsiteY4" fmla="*/ 0 h 1234705"/>
                    <a:gd name="connsiteX5" fmla="*/ 2963856 w 2967374"/>
                    <a:gd name="connsiteY5" fmla="*/ 837510 h 1234705"/>
                    <a:gd name="connsiteX6" fmla="*/ 2863999 w 2967374"/>
                    <a:gd name="connsiteY6" fmla="*/ 958681 h 1234705"/>
                    <a:gd name="connsiteX0" fmla="*/ 2863999 w 2967374"/>
                    <a:gd name="connsiteY0" fmla="*/ 958681 h 1235840"/>
                    <a:gd name="connsiteX1" fmla="*/ 180402 w 2967374"/>
                    <a:gd name="connsiteY1" fmla="*/ 1198728 h 1235840"/>
                    <a:gd name="connsiteX2" fmla="*/ 0 w 2967374"/>
                    <a:gd name="connsiteY2" fmla="*/ 434252 h 1235840"/>
                    <a:gd name="connsiteX3" fmla="*/ 108910 w 2967374"/>
                    <a:gd name="connsiteY3" fmla="*/ 445767 h 1235840"/>
                    <a:gd name="connsiteX4" fmla="*/ 2967311 w 2967374"/>
                    <a:gd name="connsiteY4" fmla="*/ 0 h 1235840"/>
                    <a:gd name="connsiteX5" fmla="*/ 2963856 w 2967374"/>
                    <a:gd name="connsiteY5" fmla="*/ 837510 h 1235840"/>
                    <a:gd name="connsiteX6" fmla="*/ 2863999 w 2967374"/>
                    <a:gd name="connsiteY6" fmla="*/ 958681 h 1235840"/>
                    <a:gd name="connsiteX0" fmla="*/ 2879739 w 2983114"/>
                    <a:gd name="connsiteY0" fmla="*/ 958681 h 1235840"/>
                    <a:gd name="connsiteX1" fmla="*/ 196142 w 2983114"/>
                    <a:gd name="connsiteY1" fmla="*/ 1198728 h 1235840"/>
                    <a:gd name="connsiteX2" fmla="*/ 0 w 2983114"/>
                    <a:gd name="connsiteY2" fmla="*/ 444983 h 1235840"/>
                    <a:gd name="connsiteX3" fmla="*/ 124650 w 2983114"/>
                    <a:gd name="connsiteY3" fmla="*/ 445767 h 1235840"/>
                    <a:gd name="connsiteX4" fmla="*/ 2983051 w 2983114"/>
                    <a:gd name="connsiteY4" fmla="*/ 0 h 1235840"/>
                    <a:gd name="connsiteX5" fmla="*/ 2979596 w 2983114"/>
                    <a:gd name="connsiteY5" fmla="*/ 837510 h 1235840"/>
                    <a:gd name="connsiteX6" fmla="*/ 2879739 w 2983114"/>
                    <a:gd name="connsiteY6" fmla="*/ 958681 h 1235840"/>
                    <a:gd name="connsiteX0" fmla="*/ 2879739 w 2983114"/>
                    <a:gd name="connsiteY0" fmla="*/ 958681 h 1240095"/>
                    <a:gd name="connsiteX1" fmla="*/ 222613 w 2983114"/>
                    <a:gd name="connsiteY1" fmla="*/ 1203737 h 1240095"/>
                    <a:gd name="connsiteX2" fmla="*/ 0 w 2983114"/>
                    <a:gd name="connsiteY2" fmla="*/ 444983 h 1240095"/>
                    <a:gd name="connsiteX3" fmla="*/ 124650 w 2983114"/>
                    <a:gd name="connsiteY3" fmla="*/ 445767 h 1240095"/>
                    <a:gd name="connsiteX4" fmla="*/ 2983051 w 2983114"/>
                    <a:gd name="connsiteY4" fmla="*/ 0 h 1240095"/>
                    <a:gd name="connsiteX5" fmla="*/ 2979596 w 2983114"/>
                    <a:gd name="connsiteY5" fmla="*/ 837510 h 1240095"/>
                    <a:gd name="connsiteX6" fmla="*/ 2879739 w 2983114"/>
                    <a:gd name="connsiteY6" fmla="*/ 958681 h 1240095"/>
                    <a:gd name="connsiteX0" fmla="*/ 2879739 w 2983114"/>
                    <a:gd name="connsiteY0" fmla="*/ 958681 h 1241239"/>
                    <a:gd name="connsiteX1" fmla="*/ 220645 w 2983114"/>
                    <a:gd name="connsiteY1" fmla="*/ 1205078 h 1241239"/>
                    <a:gd name="connsiteX2" fmla="*/ 0 w 2983114"/>
                    <a:gd name="connsiteY2" fmla="*/ 444983 h 1241239"/>
                    <a:gd name="connsiteX3" fmla="*/ 124650 w 2983114"/>
                    <a:gd name="connsiteY3" fmla="*/ 445767 h 1241239"/>
                    <a:gd name="connsiteX4" fmla="*/ 2983051 w 2983114"/>
                    <a:gd name="connsiteY4" fmla="*/ 0 h 1241239"/>
                    <a:gd name="connsiteX5" fmla="*/ 2979596 w 2983114"/>
                    <a:gd name="connsiteY5" fmla="*/ 837510 h 1241239"/>
                    <a:gd name="connsiteX6" fmla="*/ 2879739 w 2983114"/>
                    <a:gd name="connsiteY6" fmla="*/ 958681 h 1241239"/>
                    <a:gd name="connsiteX0" fmla="*/ 2879739 w 2983114"/>
                    <a:gd name="connsiteY0" fmla="*/ 958681 h 1241239"/>
                    <a:gd name="connsiteX1" fmla="*/ 220645 w 2983114"/>
                    <a:gd name="connsiteY1" fmla="*/ 1205078 h 1241239"/>
                    <a:gd name="connsiteX2" fmla="*/ 0 w 2983114"/>
                    <a:gd name="connsiteY2" fmla="*/ 444983 h 1241239"/>
                    <a:gd name="connsiteX3" fmla="*/ 124650 w 2983114"/>
                    <a:gd name="connsiteY3" fmla="*/ 445767 h 1241239"/>
                    <a:gd name="connsiteX4" fmla="*/ 2983051 w 2983114"/>
                    <a:gd name="connsiteY4" fmla="*/ 0 h 1241239"/>
                    <a:gd name="connsiteX5" fmla="*/ 2979596 w 2983114"/>
                    <a:gd name="connsiteY5" fmla="*/ 837510 h 1241239"/>
                    <a:gd name="connsiteX6" fmla="*/ 2879739 w 2983114"/>
                    <a:gd name="connsiteY6" fmla="*/ 958681 h 1241239"/>
                    <a:gd name="connsiteX0" fmla="*/ 2885016 w 2988391"/>
                    <a:gd name="connsiteY0" fmla="*/ 958681 h 1241239"/>
                    <a:gd name="connsiteX1" fmla="*/ 225922 w 2988391"/>
                    <a:gd name="connsiteY1" fmla="*/ 1205078 h 1241239"/>
                    <a:gd name="connsiteX2" fmla="*/ 0 w 2988391"/>
                    <a:gd name="connsiteY2" fmla="*/ 445699 h 1241239"/>
                    <a:gd name="connsiteX3" fmla="*/ 129927 w 2988391"/>
                    <a:gd name="connsiteY3" fmla="*/ 445767 h 1241239"/>
                    <a:gd name="connsiteX4" fmla="*/ 2988328 w 2988391"/>
                    <a:gd name="connsiteY4" fmla="*/ 0 h 1241239"/>
                    <a:gd name="connsiteX5" fmla="*/ 2984873 w 2988391"/>
                    <a:gd name="connsiteY5" fmla="*/ 837510 h 1241239"/>
                    <a:gd name="connsiteX6" fmla="*/ 2885016 w 2988391"/>
                    <a:gd name="connsiteY6" fmla="*/ 958681 h 1241239"/>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85016 w 2988391"/>
                    <a:gd name="connsiteY0" fmla="*/ 958681 h 1242384"/>
                    <a:gd name="connsiteX1" fmla="*/ 223955 w 2988391"/>
                    <a:gd name="connsiteY1" fmla="*/ 1206419 h 1242384"/>
                    <a:gd name="connsiteX2" fmla="*/ 0 w 2988391"/>
                    <a:gd name="connsiteY2" fmla="*/ 445699 h 1242384"/>
                    <a:gd name="connsiteX3" fmla="*/ 129927 w 2988391"/>
                    <a:gd name="connsiteY3" fmla="*/ 445767 h 1242384"/>
                    <a:gd name="connsiteX4" fmla="*/ 2988328 w 2988391"/>
                    <a:gd name="connsiteY4" fmla="*/ 0 h 1242384"/>
                    <a:gd name="connsiteX5" fmla="*/ 2984873 w 2988391"/>
                    <a:gd name="connsiteY5" fmla="*/ 837510 h 1242384"/>
                    <a:gd name="connsiteX6" fmla="*/ 2885016 w 2988391"/>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2"/>
                    <a:gd name="connsiteY0" fmla="*/ 958681 h 1242384"/>
                    <a:gd name="connsiteX1" fmla="*/ 235846 w 3000282"/>
                    <a:gd name="connsiteY1" fmla="*/ 1206419 h 1242384"/>
                    <a:gd name="connsiteX2" fmla="*/ 0 w 3000282"/>
                    <a:gd name="connsiteY2" fmla="*/ 450740 h 1242384"/>
                    <a:gd name="connsiteX3" fmla="*/ 141818 w 3000282"/>
                    <a:gd name="connsiteY3" fmla="*/ 445767 h 1242384"/>
                    <a:gd name="connsiteX4" fmla="*/ 3000219 w 3000282"/>
                    <a:gd name="connsiteY4" fmla="*/ 0 h 1242384"/>
                    <a:gd name="connsiteX5" fmla="*/ 2996764 w 3000282"/>
                    <a:gd name="connsiteY5" fmla="*/ 837510 h 1242384"/>
                    <a:gd name="connsiteX6" fmla="*/ 2896907 w 3000282"/>
                    <a:gd name="connsiteY6" fmla="*/ 958681 h 1242384"/>
                    <a:gd name="connsiteX0" fmla="*/ 2896907 w 3000283"/>
                    <a:gd name="connsiteY0" fmla="*/ 958681 h 1242384"/>
                    <a:gd name="connsiteX1" fmla="*/ 235846 w 3000283"/>
                    <a:gd name="connsiteY1" fmla="*/ 1206419 h 1242384"/>
                    <a:gd name="connsiteX2" fmla="*/ 0 w 3000283"/>
                    <a:gd name="connsiteY2" fmla="*/ 450740 h 1242384"/>
                    <a:gd name="connsiteX3" fmla="*/ 145216 w 3000283"/>
                    <a:gd name="connsiteY3" fmla="*/ 454978 h 1242384"/>
                    <a:gd name="connsiteX4" fmla="*/ 3000219 w 3000283"/>
                    <a:gd name="connsiteY4" fmla="*/ 0 h 1242384"/>
                    <a:gd name="connsiteX5" fmla="*/ 2996764 w 3000283"/>
                    <a:gd name="connsiteY5" fmla="*/ 837510 h 1242384"/>
                    <a:gd name="connsiteX6" fmla="*/ 2896907 w 3000283"/>
                    <a:gd name="connsiteY6" fmla="*/ 958681 h 1242384"/>
                    <a:gd name="connsiteX0" fmla="*/ 2896907 w 3000283"/>
                    <a:gd name="connsiteY0" fmla="*/ 958681 h 1242384"/>
                    <a:gd name="connsiteX1" fmla="*/ 235846 w 3000283"/>
                    <a:gd name="connsiteY1" fmla="*/ 1206419 h 1242384"/>
                    <a:gd name="connsiteX2" fmla="*/ 0 w 3000283"/>
                    <a:gd name="connsiteY2" fmla="*/ 450740 h 1242384"/>
                    <a:gd name="connsiteX3" fmla="*/ 145216 w 3000283"/>
                    <a:gd name="connsiteY3" fmla="*/ 454978 h 1242384"/>
                    <a:gd name="connsiteX4" fmla="*/ 3000219 w 3000283"/>
                    <a:gd name="connsiteY4" fmla="*/ 0 h 1242384"/>
                    <a:gd name="connsiteX5" fmla="*/ 2996764 w 3000283"/>
                    <a:gd name="connsiteY5" fmla="*/ 837510 h 1242384"/>
                    <a:gd name="connsiteX6" fmla="*/ 2896907 w 3000283"/>
                    <a:gd name="connsiteY6" fmla="*/ 958681 h 1242384"/>
                    <a:gd name="connsiteX0" fmla="*/ 2896907 w 3000283"/>
                    <a:gd name="connsiteY0" fmla="*/ 958681 h 1242384"/>
                    <a:gd name="connsiteX1" fmla="*/ 235846 w 3000283"/>
                    <a:gd name="connsiteY1" fmla="*/ 1206419 h 1242384"/>
                    <a:gd name="connsiteX2" fmla="*/ 0 w 3000283"/>
                    <a:gd name="connsiteY2" fmla="*/ 450740 h 1242384"/>
                    <a:gd name="connsiteX3" fmla="*/ 145216 w 3000283"/>
                    <a:gd name="connsiteY3" fmla="*/ 454978 h 1242384"/>
                    <a:gd name="connsiteX4" fmla="*/ 3000219 w 3000283"/>
                    <a:gd name="connsiteY4" fmla="*/ 0 h 1242384"/>
                    <a:gd name="connsiteX5" fmla="*/ 2996764 w 3000283"/>
                    <a:gd name="connsiteY5" fmla="*/ 837510 h 1242384"/>
                    <a:gd name="connsiteX6" fmla="*/ 2896907 w 3000283"/>
                    <a:gd name="connsiteY6" fmla="*/ 958681 h 1242384"/>
                    <a:gd name="connsiteX0" fmla="*/ 2896907 w 3000283"/>
                    <a:gd name="connsiteY0" fmla="*/ 958681 h 1248829"/>
                    <a:gd name="connsiteX1" fmla="*/ 316372 w 3000283"/>
                    <a:gd name="connsiteY1" fmla="*/ 1213926 h 1248829"/>
                    <a:gd name="connsiteX2" fmla="*/ 0 w 3000283"/>
                    <a:gd name="connsiteY2" fmla="*/ 450740 h 1248829"/>
                    <a:gd name="connsiteX3" fmla="*/ 145216 w 3000283"/>
                    <a:gd name="connsiteY3" fmla="*/ 454978 h 1248829"/>
                    <a:gd name="connsiteX4" fmla="*/ 3000219 w 3000283"/>
                    <a:gd name="connsiteY4" fmla="*/ 0 h 1248829"/>
                    <a:gd name="connsiteX5" fmla="*/ 2996764 w 3000283"/>
                    <a:gd name="connsiteY5" fmla="*/ 837510 h 1248829"/>
                    <a:gd name="connsiteX6" fmla="*/ 2896907 w 3000283"/>
                    <a:gd name="connsiteY6" fmla="*/ 958681 h 1248829"/>
                    <a:gd name="connsiteX0" fmla="*/ 2896907 w 3000283"/>
                    <a:gd name="connsiteY0" fmla="*/ 958681 h 1246744"/>
                    <a:gd name="connsiteX1" fmla="*/ 319922 w 3000283"/>
                    <a:gd name="connsiteY1" fmla="*/ 1211505 h 1246744"/>
                    <a:gd name="connsiteX2" fmla="*/ 0 w 3000283"/>
                    <a:gd name="connsiteY2" fmla="*/ 450740 h 1246744"/>
                    <a:gd name="connsiteX3" fmla="*/ 145216 w 3000283"/>
                    <a:gd name="connsiteY3" fmla="*/ 454978 h 1246744"/>
                    <a:gd name="connsiteX4" fmla="*/ 3000219 w 3000283"/>
                    <a:gd name="connsiteY4" fmla="*/ 0 h 1246744"/>
                    <a:gd name="connsiteX5" fmla="*/ 2996764 w 3000283"/>
                    <a:gd name="connsiteY5" fmla="*/ 837510 h 1246744"/>
                    <a:gd name="connsiteX6" fmla="*/ 2896907 w 3000283"/>
                    <a:gd name="connsiteY6" fmla="*/ 958681 h 1246744"/>
                    <a:gd name="connsiteX0" fmla="*/ 2869473 w 2972849"/>
                    <a:gd name="connsiteY0" fmla="*/ 958681 h 1246744"/>
                    <a:gd name="connsiteX1" fmla="*/ 292488 w 2972849"/>
                    <a:gd name="connsiteY1" fmla="*/ 1211505 h 1246744"/>
                    <a:gd name="connsiteX2" fmla="*/ 0 w 2972849"/>
                    <a:gd name="connsiteY2" fmla="*/ 452839 h 1246744"/>
                    <a:gd name="connsiteX3" fmla="*/ 117782 w 2972849"/>
                    <a:gd name="connsiteY3" fmla="*/ 454978 h 1246744"/>
                    <a:gd name="connsiteX4" fmla="*/ 2972785 w 2972849"/>
                    <a:gd name="connsiteY4" fmla="*/ 0 h 1246744"/>
                    <a:gd name="connsiteX5" fmla="*/ 2969330 w 2972849"/>
                    <a:gd name="connsiteY5" fmla="*/ 837510 h 1246744"/>
                    <a:gd name="connsiteX6" fmla="*/ 2869473 w 2972849"/>
                    <a:gd name="connsiteY6" fmla="*/ 958681 h 1246744"/>
                    <a:gd name="connsiteX0" fmla="*/ 2852771 w 2956147"/>
                    <a:gd name="connsiteY0" fmla="*/ 958681 h 1246744"/>
                    <a:gd name="connsiteX1" fmla="*/ 275786 w 2956147"/>
                    <a:gd name="connsiteY1" fmla="*/ 1211505 h 1246744"/>
                    <a:gd name="connsiteX2" fmla="*/ 0 w 2956147"/>
                    <a:gd name="connsiteY2" fmla="*/ 454453 h 1246744"/>
                    <a:gd name="connsiteX3" fmla="*/ 101080 w 2956147"/>
                    <a:gd name="connsiteY3" fmla="*/ 454978 h 1246744"/>
                    <a:gd name="connsiteX4" fmla="*/ 2956083 w 2956147"/>
                    <a:gd name="connsiteY4" fmla="*/ 0 h 1246744"/>
                    <a:gd name="connsiteX5" fmla="*/ 2952628 w 2956147"/>
                    <a:gd name="connsiteY5" fmla="*/ 837510 h 1246744"/>
                    <a:gd name="connsiteX6" fmla="*/ 2852771 w 2956147"/>
                    <a:gd name="connsiteY6" fmla="*/ 958681 h 1246744"/>
                    <a:gd name="connsiteX0" fmla="*/ 2839055 w 2942431"/>
                    <a:gd name="connsiteY0" fmla="*/ 958681 h 1246744"/>
                    <a:gd name="connsiteX1" fmla="*/ 262070 w 2942431"/>
                    <a:gd name="connsiteY1" fmla="*/ 1211505 h 1246744"/>
                    <a:gd name="connsiteX2" fmla="*/ 0 w 2942431"/>
                    <a:gd name="connsiteY2" fmla="*/ 455502 h 1246744"/>
                    <a:gd name="connsiteX3" fmla="*/ 87364 w 2942431"/>
                    <a:gd name="connsiteY3" fmla="*/ 454978 h 1246744"/>
                    <a:gd name="connsiteX4" fmla="*/ 2942367 w 2942431"/>
                    <a:gd name="connsiteY4" fmla="*/ 0 h 1246744"/>
                    <a:gd name="connsiteX5" fmla="*/ 2938912 w 2942431"/>
                    <a:gd name="connsiteY5" fmla="*/ 837510 h 1246744"/>
                    <a:gd name="connsiteX6" fmla="*/ 2839055 w 2942431"/>
                    <a:gd name="connsiteY6" fmla="*/ 958681 h 1246744"/>
                    <a:gd name="connsiteX0" fmla="*/ 2821223 w 2924599"/>
                    <a:gd name="connsiteY0" fmla="*/ 958681 h 1246744"/>
                    <a:gd name="connsiteX1" fmla="*/ 244238 w 2924599"/>
                    <a:gd name="connsiteY1" fmla="*/ 1211505 h 1246744"/>
                    <a:gd name="connsiteX2" fmla="*/ 0 w 2924599"/>
                    <a:gd name="connsiteY2" fmla="*/ 451146 h 1246744"/>
                    <a:gd name="connsiteX3" fmla="*/ 69532 w 2924599"/>
                    <a:gd name="connsiteY3" fmla="*/ 454978 h 1246744"/>
                    <a:gd name="connsiteX4" fmla="*/ 2924535 w 2924599"/>
                    <a:gd name="connsiteY4" fmla="*/ 0 h 1246744"/>
                    <a:gd name="connsiteX5" fmla="*/ 2921080 w 2924599"/>
                    <a:gd name="connsiteY5" fmla="*/ 837510 h 1246744"/>
                    <a:gd name="connsiteX6" fmla="*/ 2821223 w 2924599"/>
                    <a:gd name="connsiteY6" fmla="*/ 958681 h 1246744"/>
                    <a:gd name="connsiteX0" fmla="*/ 2806941 w 2910317"/>
                    <a:gd name="connsiteY0" fmla="*/ 958681 h 1246744"/>
                    <a:gd name="connsiteX1" fmla="*/ 229956 w 2910317"/>
                    <a:gd name="connsiteY1" fmla="*/ 1211505 h 1246744"/>
                    <a:gd name="connsiteX2" fmla="*/ 0 w 2910317"/>
                    <a:gd name="connsiteY2" fmla="*/ 449210 h 1246744"/>
                    <a:gd name="connsiteX3" fmla="*/ 55250 w 2910317"/>
                    <a:gd name="connsiteY3" fmla="*/ 454978 h 1246744"/>
                    <a:gd name="connsiteX4" fmla="*/ 2910253 w 2910317"/>
                    <a:gd name="connsiteY4" fmla="*/ 0 h 1246744"/>
                    <a:gd name="connsiteX5" fmla="*/ 2906798 w 2910317"/>
                    <a:gd name="connsiteY5" fmla="*/ 837510 h 1246744"/>
                    <a:gd name="connsiteX6" fmla="*/ 2806941 w 2910317"/>
                    <a:gd name="connsiteY6" fmla="*/ 958681 h 1246744"/>
                    <a:gd name="connsiteX0" fmla="*/ 2820012 w 2923388"/>
                    <a:gd name="connsiteY0" fmla="*/ 958681 h 1246744"/>
                    <a:gd name="connsiteX1" fmla="*/ 243027 w 2923388"/>
                    <a:gd name="connsiteY1" fmla="*/ 1211505 h 1246744"/>
                    <a:gd name="connsiteX2" fmla="*/ 0 w 2923388"/>
                    <a:gd name="connsiteY2" fmla="*/ 452921 h 1246744"/>
                    <a:gd name="connsiteX3" fmla="*/ 68321 w 2923388"/>
                    <a:gd name="connsiteY3" fmla="*/ 454978 h 1246744"/>
                    <a:gd name="connsiteX4" fmla="*/ 2923324 w 2923388"/>
                    <a:gd name="connsiteY4" fmla="*/ 0 h 1246744"/>
                    <a:gd name="connsiteX5" fmla="*/ 2919869 w 2923388"/>
                    <a:gd name="connsiteY5" fmla="*/ 837510 h 1246744"/>
                    <a:gd name="connsiteX6" fmla="*/ 2820012 w 2923388"/>
                    <a:gd name="connsiteY6" fmla="*/ 958681 h 1246744"/>
                    <a:gd name="connsiteX0" fmla="*/ 2820012 w 2923388"/>
                    <a:gd name="connsiteY0" fmla="*/ 958681 h 1247786"/>
                    <a:gd name="connsiteX1" fmla="*/ 241252 w 2923388"/>
                    <a:gd name="connsiteY1" fmla="*/ 1212716 h 1247786"/>
                    <a:gd name="connsiteX2" fmla="*/ 0 w 2923388"/>
                    <a:gd name="connsiteY2" fmla="*/ 452921 h 1247786"/>
                    <a:gd name="connsiteX3" fmla="*/ 68321 w 2923388"/>
                    <a:gd name="connsiteY3" fmla="*/ 454978 h 1247786"/>
                    <a:gd name="connsiteX4" fmla="*/ 2923324 w 2923388"/>
                    <a:gd name="connsiteY4" fmla="*/ 0 h 1247786"/>
                    <a:gd name="connsiteX5" fmla="*/ 2919869 w 2923388"/>
                    <a:gd name="connsiteY5" fmla="*/ 837510 h 1247786"/>
                    <a:gd name="connsiteX6" fmla="*/ 2820012 w 2923388"/>
                    <a:gd name="connsiteY6" fmla="*/ 958681 h 1247786"/>
                    <a:gd name="connsiteX0" fmla="*/ 2820012 w 2923388"/>
                    <a:gd name="connsiteY0" fmla="*/ 958681 h 1247786"/>
                    <a:gd name="connsiteX1" fmla="*/ 241252 w 2923388"/>
                    <a:gd name="connsiteY1" fmla="*/ 1212716 h 1247786"/>
                    <a:gd name="connsiteX2" fmla="*/ 0 w 2923388"/>
                    <a:gd name="connsiteY2" fmla="*/ 452921 h 1247786"/>
                    <a:gd name="connsiteX3" fmla="*/ 68321 w 2923388"/>
                    <a:gd name="connsiteY3" fmla="*/ 454978 h 1247786"/>
                    <a:gd name="connsiteX4" fmla="*/ 2923324 w 2923388"/>
                    <a:gd name="connsiteY4" fmla="*/ 0 h 1247786"/>
                    <a:gd name="connsiteX5" fmla="*/ 2919869 w 2923388"/>
                    <a:gd name="connsiteY5" fmla="*/ 837510 h 1247786"/>
                    <a:gd name="connsiteX6" fmla="*/ 2820012 w 2923388"/>
                    <a:gd name="connsiteY6" fmla="*/ 958681 h 1247786"/>
                    <a:gd name="connsiteX0" fmla="*/ 2820012 w 2923388"/>
                    <a:gd name="connsiteY0" fmla="*/ 958681 h 1248830"/>
                    <a:gd name="connsiteX1" fmla="*/ 239476 w 2923388"/>
                    <a:gd name="connsiteY1" fmla="*/ 1213927 h 1248830"/>
                    <a:gd name="connsiteX2" fmla="*/ 0 w 2923388"/>
                    <a:gd name="connsiteY2" fmla="*/ 452921 h 1248830"/>
                    <a:gd name="connsiteX3" fmla="*/ 68321 w 2923388"/>
                    <a:gd name="connsiteY3" fmla="*/ 454978 h 1248830"/>
                    <a:gd name="connsiteX4" fmla="*/ 2923324 w 2923388"/>
                    <a:gd name="connsiteY4" fmla="*/ 0 h 1248830"/>
                    <a:gd name="connsiteX5" fmla="*/ 2919869 w 2923388"/>
                    <a:gd name="connsiteY5" fmla="*/ 837510 h 1248830"/>
                    <a:gd name="connsiteX6" fmla="*/ 2820012 w 2923388"/>
                    <a:gd name="connsiteY6" fmla="*/ 958681 h 1248830"/>
                    <a:gd name="connsiteX0" fmla="*/ 2820012 w 2923388"/>
                    <a:gd name="connsiteY0" fmla="*/ 958681 h 1245776"/>
                    <a:gd name="connsiteX1" fmla="*/ 237056 w 2923388"/>
                    <a:gd name="connsiteY1" fmla="*/ 1210378 h 1245776"/>
                    <a:gd name="connsiteX2" fmla="*/ 0 w 2923388"/>
                    <a:gd name="connsiteY2" fmla="*/ 452921 h 1245776"/>
                    <a:gd name="connsiteX3" fmla="*/ 68321 w 2923388"/>
                    <a:gd name="connsiteY3" fmla="*/ 454978 h 1245776"/>
                    <a:gd name="connsiteX4" fmla="*/ 2923324 w 2923388"/>
                    <a:gd name="connsiteY4" fmla="*/ 0 h 1245776"/>
                    <a:gd name="connsiteX5" fmla="*/ 2919869 w 2923388"/>
                    <a:gd name="connsiteY5" fmla="*/ 837510 h 1245776"/>
                    <a:gd name="connsiteX6" fmla="*/ 2820012 w 2923388"/>
                    <a:gd name="connsiteY6" fmla="*/ 958681 h 1245776"/>
                    <a:gd name="connsiteX0" fmla="*/ 2820012 w 2923388"/>
                    <a:gd name="connsiteY0" fmla="*/ 958681 h 1245776"/>
                    <a:gd name="connsiteX1" fmla="*/ 237056 w 2923388"/>
                    <a:gd name="connsiteY1" fmla="*/ 1210378 h 1245776"/>
                    <a:gd name="connsiteX2" fmla="*/ 0 w 2923388"/>
                    <a:gd name="connsiteY2" fmla="*/ 452921 h 1245776"/>
                    <a:gd name="connsiteX3" fmla="*/ 68321 w 2923388"/>
                    <a:gd name="connsiteY3" fmla="*/ 454978 h 1245776"/>
                    <a:gd name="connsiteX4" fmla="*/ 2923324 w 2923388"/>
                    <a:gd name="connsiteY4" fmla="*/ 0 h 1245776"/>
                    <a:gd name="connsiteX5" fmla="*/ 2919869 w 2923388"/>
                    <a:gd name="connsiteY5" fmla="*/ 837510 h 1245776"/>
                    <a:gd name="connsiteX6" fmla="*/ 2820012 w 2923388"/>
                    <a:gd name="connsiteY6" fmla="*/ 958681 h 1245776"/>
                    <a:gd name="connsiteX0" fmla="*/ 2820012 w 2923388"/>
                    <a:gd name="connsiteY0" fmla="*/ 958681 h 1245776"/>
                    <a:gd name="connsiteX1" fmla="*/ 237056 w 2923388"/>
                    <a:gd name="connsiteY1" fmla="*/ 1210378 h 1245776"/>
                    <a:gd name="connsiteX2" fmla="*/ 0 w 2923388"/>
                    <a:gd name="connsiteY2" fmla="*/ 452921 h 1245776"/>
                    <a:gd name="connsiteX3" fmla="*/ 68321 w 2923388"/>
                    <a:gd name="connsiteY3" fmla="*/ 454978 h 1245776"/>
                    <a:gd name="connsiteX4" fmla="*/ 2923324 w 2923388"/>
                    <a:gd name="connsiteY4" fmla="*/ 0 h 1245776"/>
                    <a:gd name="connsiteX5" fmla="*/ 2919869 w 2923388"/>
                    <a:gd name="connsiteY5" fmla="*/ 837510 h 1245776"/>
                    <a:gd name="connsiteX6" fmla="*/ 2820012 w 2923388"/>
                    <a:gd name="connsiteY6" fmla="*/ 958681 h 1245776"/>
                    <a:gd name="connsiteX0" fmla="*/ 2820012 w 2923388"/>
                    <a:gd name="connsiteY0" fmla="*/ 958681 h 1245776"/>
                    <a:gd name="connsiteX1" fmla="*/ 237056 w 2923388"/>
                    <a:gd name="connsiteY1" fmla="*/ 1210378 h 1245776"/>
                    <a:gd name="connsiteX2" fmla="*/ 0 w 2923388"/>
                    <a:gd name="connsiteY2" fmla="*/ 452921 h 1245776"/>
                    <a:gd name="connsiteX3" fmla="*/ 68321 w 2923388"/>
                    <a:gd name="connsiteY3" fmla="*/ 454978 h 1245776"/>
                    <a:gd name="connsiteX4" fmla="*/ 2923324 w 2923388"/>
                    <a:gd name="connsiteY4" fmla="*/ 0 h 1245776"/>
                    <a:gd name="connsiteX5" fmla="*/ 2919869 w 2923388"/>
                    <a:gd name="connsiteY5" fmla="*/ 837510 h 1245776"/>
                    <a:gd name="connsiteX6" fmla="*/ 2820012 w 2923388"/>
                    <a:gd name="connsiteY6" fmla="*/ 958681 h 1245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23388" h="1245776">
                      <a:moveTo>
                        <a:pt x="2820012" y="958681"/>
                      </a:moveTo>
                      <a:cubicBezTo>
                        <a:pt x="2454142" y="1181938"/>
                        <a:pt x="1186470" y="1312826"/>
                        <a:pt x="237056" y="1210378"/>
                      </a:cubicBezTo>
                      <a:cubicBezTo>
                        <a:pt x="152382" y="1107523"/>
                        <a:pt x="31349" y="729932"/>
                        <a:pt x="0" y="452921"/>
                      </a:cubicBezTo>
                      <a:lnTo>
                        <a:pt x="68321" y="454978"/>
                      </a:lnTo>
                      <a:cubicBezTo>
                        <a:pt x="1206542" y="569479"/>
                        <a:pt x="2935545" y="360186"/>
                        <a:pt x="2923324" y="0"/>
                      </a:cubicBezTo>
                      <a:cubicBezTo>
                        <a:pt x="2915647" y="205847"/>
                        <a:pt x="2917214" y="563297"/>
                        <a:pt x="2919869" y="837510"/>
                      </a:cubicBezTo>
                      <a:cubicBezTo>
                        <a:pt x="2916235" y="880947"/>
                        <a:pt x="2880991" y="921471"/>
                        <a:pt x="2820012" y="958681"/>
                      </a:cubicBezTo>
                      <a:close/>
                    </a:path>
                  </a:pathLst>
                </a:custGeom>
                <a:gradFill flip="none" rotWithShape="1">
                  <a:gsLst>
                    <a:gs pos="78774">
                      <a:srgbClr val="80ADD6"/>
                    </a:gs>
                    <a:gs pos="27000">
                      <a:srgbClr val="80ADD6"/>
                    </a:gs>
                    <a:gs pos="0">
                      <a:srgbClr val="005EB8"/>
                    </a:gs>
                    <a:gs pos="100000">
                      <a:srgbClr val="005EB8"/>
                    </a:gs>
                  </a:gsLst>
                  <a:lin ang="10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5" name="Freeform 114"/>
                <p:cNvSpPr/>
                <p:nvPr/>
              </p:nvSpPr>
              <p:spPr>
                <a:xfrm rot="7475261" flipH="1">
                  <a:off x="3797390" y="921895"/>
                  <a:ext cx="1078405" cy="3282155"/>
                </a:xfrm>
                <a:custGeom>
                  <a:avLst/>
                  <a:gdLst>
                    <a:gd name="connsiteX0" fmla="*/ 612608 w 972454"/>
                    <a:gd name="connsiteY0" fmla="*/ 2947863 h 3036572"/>
                    <a:gd name="connsiteX1" fmla="*/ 972366 w 972454"/>
                    <a:gd name="connsiteY1" fmla="*/ 1154050 h 3036572"/>
                    <a:gd name="connsiteX2" fmla="*/ 942825 w 972454"/>
                    <a:gd name="connsiteY2" fmla="*/ 35248 h 3036572"/>
                    <a:gd name="connsiteX3" fmla="*/ 706297 w 972454"/>
                    <a:gd name="connsiteY3" fmla="*/ 0 h 3036572"/>
                    <a:gd name="connsiteX4" fmla="*/ 730549 w 972454"/>
                    <a:gd name="connsiteY4" fmla="*/ 506707 h 3036572"/>
                    <a:gd name="connsiteX5" fmla="*/ 739482 w 972454"/>
                    <a:gd name="connsiteY5" fmla="*/ 719122 h 3036572"/>
                    <a:gd name="connsiteX6" fmla="*/ 739480 w 972454"/>
                    <a:gd name="connsiteY6" fmla="*/ 719122 h 3036572"/>
                    <a:gd name="connsiteX7" fmla="*/ 743402 w 972454"/>
                    <a:gd name="connsiteY7" fmla="*/ 812343 h 3036572"/>
                    <a:gd name="connsiteX8" fmla="*/ 745876 w 972454"/>
                    <a:gd name="connsiteY8" fmla="*/ 1140389 h 3036572"/>
                    <a:gd name="connsiteX9" fmla="*/ 463014 w 972454"/>
                    <a:gd name="connsiteY9" fmla="*/ 2765461 h 3036572"/>
                    <a:gd name="connsiteX10" fmla="*/ 247193 w 972454"/>
                    <a:gd name="connsiteY10" fmla="*/ 2045902 h 3036572"/>
                    <a:gd name="connsiteX11" fmla="*/ 241809 w 972454"/>
                    <a:gd name="connsiteY11" fmla="*/ 1986696 h 3036572"/>
                    <a:gd name="connsiteX12" fmla="*/ 117667 w 972454"/>
                    <a:gd name="connsiteY12" fmla="*/ 2003125 h 3036572"/>
                    <a:gd name="connsiteX13" fmla="*/ 0 w 972454"/>
                    <a:gd name="connsiteY13" fmla="*/ 2014612 h 3036572"/>
                    <a:gd name="connsiteX14" fmla="*/ 1067 w 972454"/>
                    <a:gd name="connsiteY14" fmla="*/ 2022442 h 3036572"/>
                    <a:gd name="connsiteX15" fmla="*/ 460588 w 972454"/>
                    <a:gd name="connsiteY15" fmla="*/ 3033307 h 3036572"/>
                    <a:gd name="connsiteX16" fmla="*/ 612608 w 972454"/>
                    <a:gd name="connsiteY16" fmla="*/ 2947863 h 3036572"/>
                    <a:gd name="connsiteX0" fmla="*/ 612608 w 972904"/>
                    <a:gd name="connsiteY0" fmla="*/ 2947863 h 3036572"/>
                    <a:gd name="connsiteX1" fmla="*/ 972366 w 972904"/>
                    <a:gd name="connsiteY1" fmla="*/ 1154050 h 3036572"/>
                    <a:gd name="connsiteX2" fmla="*/ 953565 w 972904"/>
                    <a:gd name="connsiteY2" fmla="*/ 110506 h 3036572"/>
                    <a:gd name="connsiteX3" fmla="*/ 706297 w 972904"/>
                    <a:gd name="connsiteY3" fmla="*/ 0 h 3036572"/>
                    <a:gd name="connsiteX4" fmla="*/ 730549 w 972904"/>
                    <a:gd name="connsiteY4" fmla="*/ 506707 h 3036572"/>
                    <a:gd name="connsiteX5" fmla="*/ 739482 w 972904"/>
                    <a:gd name="connsiteY5" fmla="*/ 719122 h 3036572"/>
                    <a:gd name="connsiteX6" fmla="*/ 739480 w 972904"/>
                    <a:gd name="connsiteY6" fmla="*/ 719122 h 3036572"/>
                    <a:gd name="connsiteX7" fmla="*/ 743402 w 972904"/>
                    <a:gd name="connsiteY7" fmla="*/ 812343 h 3036572"/>
                    <a:gd name="connsiteX8" fmla="*/ 745876 w 972904"/>
                    <a:gd name="connsiteY8" fmla="*/ 1140389 h 3036572"/>
                    <a:gd name="connsiteX9" fmla="*/ 463014 w 972904"/>
                    <a:gd name="connsiteY9" fmla="*/ 2765461 h 3036572"/>
                    <a:gd name="connsiteX10" fmla="*/ 247193 w 972904"/>
                    <a:gd name="connsiteY10" fmla="*/ 2045902 h 3036572"/>
                    <a:gd name="connsiteX11" fmla="*/ 241809 w 972904"/>
                    <a:gd name="connsiteY11" fmla="*/ 1986696 h 3036572"/>
                    <a:gd name="connsiteX12" fmla="*/ 117667 w 972904"/>
                    <a:gd name="connsiteY12" fmla="*/ 2003125 h 3036572"/>
                    <a:gd name="connsiteX13" fmla="*/ 0 w 972904"/>
                    <a:gd name="connsiteY13" fmla="*/ 2014612 h 3036572"/>
                    <a:gd name="connsiteX14" fmla="*/ 1067 w 972904"/>
                    <a:gd name="connsiteY14" fmla="*/ 2022442 h 3036572"/>
                    <a:gd name="connsiteX15" fmla="*/ 460588 w 972904"/>
                    <a:gd name="connsiteY15" fmla="*/ 3033307 h 3036572"/>
                    <a:gd name="connsiteX16" fmla="*/ 612608 w 972904"/>
                    <a:gd name="connsiteY16" fmla="*/ 2947863 h 3036572"/>
                    <a:gd name="connsiteX0" fmla="*/ 612608 w 972904"/>
                    <a:gd name="connsiteY0" fmla="*/ 2868518 h 2957227"/>
                    <a:gd name="connsiteX1" fmla="*/ 972366 w 972904"/>
                    <a:gd name="connsiteY1" fmla="*/ 1074705 h 2957227"/>
                    <a:gd name="connsiteX2" fmla="*/ 953565 w 972904"/>
                    <a:gd name="connsiteY2" fmla="*/ 31161 h 2957227"/>
                    <a:gd name="connsiteX3" fmla="*/ 711608 w 972904"/>
                    <a:gd name="connsiteY3" fmla="*/ 0 h 2957227"/>
                    <a:gd name="connsiteX4" fmla="*/ 730549 w 972904"/>
                    <a:gd name="connsiteY4" fmla="*/ 427362 h 2957227"/>
                    <a:gd name="connsiteX5" fmla="*/ 739482 w 972904"/>
                    <a:gd name="connsiteY5" fmla="*/ 639777 h 2957227"/>
                    <a:gd name="connsiteX6" fmla="*/ 739480 w 972904"/>
                    <a:gd name="connsiteY6" fmla="*/ 639777 h 2957227"/>
                    <a:gd name="connsiteX7" fmla="*/ 743402 w 972904"/>
                    <a:gd name="connsiteY7" fmla="*/ 732998 h 2957227"/>
                    <a:gd name="connsiteX8" fmla="*/ 745876 w 972904"/>
                    <a:gd name="connsiteY8" fmla="*/ 1061044 h 2957227"/>
                    <a:gd name="connsiteX9" fmla="*/ 463014 w 972904"/>
                    <a:gd name="connsiteY9" fmla="*/ 2686116 h 2957227"/>
                    <a:gd name="connsiteX10" fmla="*/ 247193 w 972904"/>
                    <a:gd name="connsiteY10" fmla="*/ 1966557 h 2957227"/>
                    <a:gd name="connsiteX11" fmla="*/ 241809 w 972904"/>
                    <a:gd name="connsiteY11" fmla="*/ 1907351 h 2957227"/>
                    <a:gd name="connsiteX12" fmla="*/ 117667 w 972904"/>
                    <a:gd name="connsiteY12" fmla="*/ 1923780 h 2957227"/>
                    <a:gd name="connsiteX13" fmla="*/ 0 w 972904"/>
                    <a:gd name="connsiteY13" fmla="*/ 1935267 h 2957227"/>
                    <a:gd name="connsiteX14" fmla="*/ 1067 w 972904"/>
                    <a:gd name="connsiteY14" fmla="*/ 1943097 h 2957227"/>
                    <a:gd name="connsiteX15" fmla="*/ 460588 w 972904"/>
                    <a:gd name="connsiteY15" fmla="*/ 2953962 h 2957227"/>
                    <a:gd name="connsiteX16" fmla="*/ 612608 w 972904"/>
                    <a:gd name="connsiteY16" fmla="*/ 2868518 h 2957227"/>
                    <a:gd name="connsiteX0" fmla="*/ 612608 w 972904"/>
                    <a:gd name="connsiteY0" fmla="*/ 2870288 h 2958997"/>
                    <a:gd name="connsiteX1" fmla="*/ 972366 w 972904"/>
                    <a:gd name="connsiteY1" fmla="*/ 1076475 h 2958997"/>
                    <a:gd name="connsiteX2" fmla="*/ 953565 w 972904"/>
                    <a:gd name="connsiteY2" fmla="*/ 32931 h 2958997"/>
                    <a:gd name="connsiteX3" fmla="*/ 712828 w 972904"/>
                    <a:gd name="connsiteY3" fmla="*/ 0 h 2958997"/>
                    <a:gd name="connsiteX4" fmla="*/ 730549 w 972904"/>
                    <a:gd name="connsiteY4" fmla="*/ 429132 h 2958997"/>
                    <a:gd name="connsiteX5" fmla="*/ 739482 w 972904"/>
                    <a:gd name="connsiteY5" fmla="*/ 641547 h 2958997"/>
                    <a:gd name="connsiteX6" fmla="*/ 739480 w 972904"/>
                    <a:gd name="connsiteY6" fmla="*/ 641547 h 2958997"/>
                    <a:gd name="connsiteX7" fmla="*/ 743402 w 972904"/>
                    <a:gd name="connsiteY7" fmla="*/ 734768 h 2958997"/>
                    <a:gd name="connsiteX8" fmla="*/ 745876 w 972904"/>
                    <a:gd name="connsiteY8" fmla="*/ 1062814 h 2958997"/>
                    <a:gd name="connsiteX9" fmla="*/ 463014 w 972904"/>
                    <a:gd name="connsiteY9" fmla="*/ 2687886 h 2958997"/>
                    <a:gd name="connsiteX10" fmla="*/ 247193 w 972904"/>
                    <a:gd name="connsiteY10" fmla="*/ 1968327 h 2958997"/>
                    <a:gd name="connsiteX11" fmla="*/ 241809 w 972904"/>
                    <a:gd name="connsiteY11" fmla="*/ 1909121 h 2958997"/>
                    <a:gd name="connsiteX12" fmla="*/ 117667 w 972904"/>
                    <a:gd name="connsiteY12" fmla="*/ 1925550 h 2958997"/>
                    <a:gd name="connsiteX13" fmla="*/ 0 w 972904"/>
                    <a:gd name="connsiteY13" fmla="*/ 1937037 h 2958997"/>
                    <a:gd name="connsiteX14" fmla="*/ 1067 w 972904"/>
                    <a:gd name="connsiteY14" fmla="*/ 1944867 h 2958997"/>
                    <a:gd name="connsiteX15" fmla="*/ 460588 w 972904"/>
                    <a:gd name="connsiteY15" fmla="*/ 2955732 h 2958997"/>
                    <a:gd name="connsiteX16" fmla="*/ 612608 w 972904"/>
                    <a:gd name="connsiteY16" fmla="*/ 2870288 h 2958997"/>
                    <a:gd name="connsiteX0" fmla="*/ 612608 w 972819"/>
                    <a:gd name="connsiteY0" fmla="*/ 2870288 h 2958997"/>
                    <a:gd name="connsiteX1" fmla="*/ 972366 w 972819"/>
                    <a:gd name="connsiteY1" fmla="*/ 1076475 h 2958997"/>
                    <a:gd name="connsiteX2" fmla="*/ 952896 w 972819"/>
                    <a:gd name="connsiteY2" fmla="*/ 37689 h 2958997"/>
                    <a:gd name="connsiteX3" fmla="*/ 712828 w 972819"/>
                    <a:gd name="connsiteY3" fmla="*/ 0 h 2958997"/>
                    <a:gd name="connsiteX4" fmla="*/ 730549 w 972819"/>
                    <a:gd name="connsiteY4" fmla="*/ 429132 h 2958997"/>
                    <a:gd name="connsiteX5" fmla="*/ 739482 w 972819"/>
                    <a:gd name="connsiteY5" fmla="*/ 641547 h 2958997"/>
                    <a:gd name="connsiteX6" fmla="*/ 739480 w 972819"/>
                    <a:gd name="connsiteY6" fmla="*/ 641547 h 2958997"/>
                    <a:gd name="connsiteX7" fmla="*/ 743402 w 972819"/>
                    <a:gd name="connsiteY7" fmla="*/ 734768 h 2958997"/>
                    <a:gd name="connsiteX8" fmla="*/ 745876 w 972819"/>
                    <a:gd name="connsiteY8" fmla="*/ 1062814 h 2958997"/>
                    <a:gd name="connsiteX9" fmla="*/ 463014 w 972819"/>
                    <a:gd name="connsiteY9" fmla="*/ 2687886 h 2958997"/>
                    <a:gd name="connsiteX10" fmla="*/ 247193 w 972819"/>
                    <a:gd name="connsiteY10" fmla="*/ 1968327 h 2958997"/>
                    <a:gd name="connsiteX11" fmla="*/ 241809 w 972819"/>
                    <a:gd name="connsiteY11" fmla="*/ 1909121 h 2958997"/>
                    <a:gd name="connsiteX12" fmla="*/ 117667 w 972819"/>
                    <a:gd name="connsiteY12" fmla="*/ 1925550 h 2958997"/>
                    <a:gd name="connsiteX13" fmla="*/ 0 w 972819"/>
                    <a:gd name="connsiteY13" fmla="*/ 1937037 h 2958997"/>
                    <a:gd name="connsiteX14" fmla="*/ 1067 w 972819"/>
                    <a:gd name="connsiteY14" fmla="*/ 1944867 h 2958997"/>
                    <a:gd name="connsiteX15" fmla="*/ 460588 w 972819"/>
                    <a:gd name="connsiteY15" fmla="*/ 2955732 h 2958997"/>
                    <a:gd name="connsiteX16" fmla="*/ 612608 w 972819"/>
                    <a:gd name="connsiteY16" fmla="*/ 2870288 h 2958997"/>
                    <a:gd name="connsiteX0" fmla="*/ 612608 w 972819"/>
                    <a:gd name="connsiteY0" fmla="*/ 2870836 h 2959545"/>
                    <a:gd name="connsiteX1" fmla="*/ 972366 w 972819"/>
                    <a:gd name="connsiteY1" fmla="*/ 1077023 h 2959545"/>
                    <a:gd name="connsiteX2" fmla="*/ 952896 w 972819"/>
                    <a:gd name="connsiteY2" fmla="*/ 38237 h 2959545"/>
                    <a:gd name="connsiteX3" fmla="*/ 715816 w 972819"/>
                    <a:gd name="connsiteY3" fmla="*/ 0 h 2959545"/>
                    <a:gd name="connsiteX4" fmla="*/ 730549 w 972819"/>
                    <a:gd name="connsiteY4" fmla="*/ 429680 h 2959545"/>
                    <a:gd name="connsiteX5" fmla="*/ 739482 w 972819"/>
                    <a:gd name="connsiteY5" fmla="*/ 642095 h 2959545"/>
                    <a:gd name="connsiteX6" fmla="*/ 739480 w 972819"/>
                    <a:gd name="connsiteY6" fmla="*/ 642095 h 2959545"/>
                    <a:gd name="connsiteX7" fmla="*/ 743402 w 972819"/>
                    <a:gd name="connsiteY7" fmla="*/ 735316 h 2959545"/>
                    <a:gd name="connsiteX8" fmla="*/ 745876 w 972819"/>
                    <a:gd name="connsiteY8" fmla="*/ 1063362 h 2959545"/>
                    <a:gd name="connsiteX9" fmla="*/ 463014 w 972819"/>
                    <a:gd name="connsiteY9" fmla="*/ 2688434 h 2959545"/>
                    <a:gd name="connsiteX10" fmla="*/ 247193 w 972819"/>
                    <a:gd name="connsiteY10" fmla="*/ 1968875 h 2959545"/>
                    <a:gd name="connsiteX11" fmla="*/ 241809 w 972819"/>
                    <a:gd name="connsiteY11" fmla="*/ 1909669 h 2959545"/>
                    <a:gd name="connsiteX12" fmla="*/ 117667 w 972819"/>
                    <a:gd name="connsiteY12" fmla="*/ 1926098 h 2959545"/>
                    <a:gd name="connsiteX13" fmla="*/ 0 w 972819"/>
                    <a:gd name="connsiteY13" fmla="*/ 1937585 h 2959545"/>
                    <a:gd name="connsiteX14" fmla="*/ 1067 w 972819"/>
                    <a:gd name="connsiteY14" fmla="*/ 1945415 h 2959545"/>
                    <a:gd name="connsiteX15" fmla="*/ 460588 w 972819"/>
                    <a:gd name="connsiteY15" fmla="*/ 2956280 h 2959545"/>
                    <a:gd name="connsiteX16" fmla="*/ 612608 w 972819"/>
                    <a:gd name="connsiteY16" fmla="*/ 2870836 h 2959545"/>
                    <a:gd name="connsiteX0" fmla="*/ 612608 w 972987"/>
                    <a:gd name="connsiteY0" fmla="*/ 2870836 h 2959545"/>
                    <a:gd name="connsiteX1" fmla="*/ 972366 w 972987"/>
                    <a:gd name="connsiteY1" fmla="*/ 1077023 h 2959545"/>
                    <a:gd name="connsiteX2" fmla="*/ 954116 w 972987"/>
                    <a:gd name="connsiteY2" fmla="*/ 36469 h 2959545"/>
                    <a:gd name="connsiteX3" fmla="*/ 715816 w 972987"/>
                    <a:gd name="connsiteY3" fmla="*/ 0 h 2959545"/>
                    <a:gd name="connsiteX4" fmla="*/ 730549 w 972987"/>
                    <a:gd name="connsiteY4" fmla="*/ 429680 h 2959545"/>
                    <a:gd name="connsiteX5" fmla="*/ 739482 w 972987"/>
                    <a:gd name="connsiteY5" fmla="*/ 642095 h 2959545"/>
                    <a:gd name="connsiteX6" fmla="*/ 739480 w 972987"/>
                    <a:gd name="connsiteY6" fmla="*/ 642095 h 2959545"/>
                    <a:gd name="connsiteX7" fmla="*/ 743402 w 972987"/>
                    <a:gd name="connsiteY7" fmla="*/ 735316 h 2959545"/>
                    <a:gd name="connsiteX8" fmla="*/ 745876 w 972987"/>
                    <a:gd name="connsiteY8" fmla="*/ 1063362 h 2959545"/>
                    <a:gd name="connsiteX9" fmla="*/ 463014 w 972987"/>
                    <a:gd name="connsiteY9" fmla="*/ 2688434 h 2959545"/>
                    <a:gd name="connsiteX10" fmla="*/ 247193 w 972987"/>
                    <a:gd name="connsiteY10" fmla="*/ 1968875 h 2959545"/>
                    <a:gd name="connsiteX11" fmla="*/ 241809 w 972987"/>
                    <a:gd name="connsiteY11" fmla="*/ 1909669 h 2959545"/>
                    <a:gd name="connsiteX12" fmla="*/ 117667 w 972987"/>
                    <a:gd name="connsiteY12" fmla="*/ 1926098 h 2959545"/>
                    <a:gd name="connsiteX13" fmla="*/ 0 w 972987"/>
                    <a:gd name="connsiteY13" fmla="*/ 1937585 h 2959545"/>
                    <a:gd name="connsiteX14" fmla="*/ 1067 w 972987"/>
                    <a:gd name="connsiteY14" fmla="*/ 1945415 h 2959545"/>
                    <a:gd name="connsiteX15" fmla="*/ 460588 w 972987"/>
                    <a:gd name="connsiteY15" fmla="*/ 2956280 h 2959545"/>
                    <a:gd name="connsiteX16" fmla="*/ 612608 w 972987"/>
                    <a:gd name="connsiteY16" fmla="*/ 2870836 h 2959545"/>
                    <a:gd name="connsiteX0" fmla="*/ 612608 w 972987"/>
                    <a:gd name="connsiteY0" fmla="*/ 2872606 h 2961315"/>
                    <a:gd name="connsiteX1" fmla="*/ 972366 w 972987"/>
                    <a:gd name="connsiteY1" fmla="*/ 1078793 h 2961315"/>
                    <a:gd name="connsiteX2" fmla="*/ 954116 w 972987"/>
                    <a:gd name="connsiteY2" fmla="*/ 38239 h 2961315"/>
                    <a:gd name="connsiteX3" fmla="*/ 717036 w 972987"/>
                    <a:gd name="connsiteY3" fmla="*/ 0 h 2961315"/>
                    <a:gd name="connsiteX4" fmla="*/ 730549 w 972987"/>
                    <a:gd name="connsiteY4" fmla="*/ 431450 h 2961315"/>
                    <a:gd name="connsiteX5" fmla="*/ 739482 w 972987"/>
                    <a:gd name="connsiteY5" fmla="*/ 643865 h 2961315"/>
                    <a:gd name="connsiteX6" fmla="*/ 739480 w 972987"/>
                    <a:gd name="connsiteY6" fmla="*/ 643865 h 2961315"/>
                    <a:gd name="connsiteX7" fmla="*/ 743402 w 972987"/>
                    <a:gd name="connsiteY7" fmla="*/ 737086 h 2961315"/>
                    <a:gd name="connsiteX8" fmla="*/ 745876 w 972987"/>
                    <a:gd name="connsiteY8" fmla="*/ 1065132 h 2961315"/>
                    <a:gd name="connsiteX9" fmla="*/ 463014 w 972987"/>
                    <a:gd name="connsiteY9" fmla="*/ 2690204 h 2961315"/>
                    <a:gd name="connsiteX10" fmla="*/ 247193 w 972987"/>
                    <a:gd name="connsiteY10" fmla="*/ 1970645 h 2961315"/>
                    <a:gd name="connsiteX11" fmla="*/ 241809 w 972987"/>
                    <a:gd name="connsiteY11" fmla="*/ 1911439 h 2961315"/>
                    <a:gd name="connsiteX12" fmla="*/ 117667 w 972987"/>
                    <a:gd name="connsiteY12" fmla="*/ 1927868 h 2961315"/>
                    <a:gd name="connsiteX13" fmla="*/ 0 w 972987"/>
                    <a:gd name="connsiteY13" fmla="*/ 1939355 h 2961315"/>
                    <a:gd name="connsiteX14" fmla="*/ 1067 w 972987"/>
                    <a:gd name="connsiteY14" fmla="*/ 1947185 h 2961315"/>
                    <a:gd name="connsiteX15" fmla="*/ 460588 w 972987"/>
                    <a:gd name="connsiteY15" fmla="*/ 2958050 h 2961315"/>
                    <a:gd name="connsiteX16" fmla="*/ 612608 w 972987"/>
                    <a:gd name="connsiteY16" fmla="*/ 2872606 h 2961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72987" h="2961315">
                      <a:moveTo>
                        <a:pt x="612608" y="2872606"/>
                      </a:moveTo>
                      <a:cubicBezTo>
                        <a:pt x="821414" y="2582306"/>
                        <a:pt x="975621" y="1646761"/>
                        <a:pt x="972366" y="1078793"/>
                      </a:cubicBezTo>
                      <a:cubicBezTo>
                        <a:pt x="973473" y="562593"/>
                        <a:pt x="975490" y="294613"/>
                        <a:pt x="954116" y="38239"/>
                      </a:cubicBezTo>
                      <a:cubicBezTo>
                        <a:pt x="869554" y="23511"/>
                        <a:pt x="803115" y="13067"/>
                        <a:pt x="717036" y="0"/>
                      </a:cubicBezTo>
                      <a:lnTo>
                        <a:pt x="730549" y="431450"/>
                      </a:lnTo>
                      <a:lnTo>
                        <a:pt x="739482" y="643865"/>
                      </a:lnTo>
                      <a:lnTo>
                        <a:pt x="739480" y="643865"/>
                      </a:lnTo>
                      <a:cubicBezTo>
                        <a:pt x="740788" y="674939"/>
                        <a:pt x="742094" y="706013"/>
                        <a:pt x="743402" y="737086"/>
                      </a:cubicBezTo>
                      <a:cubicBezTo>
                        <a:pt x="746012" y="843065"/>
                        <a:pt x="746894" y="952778"/>
                        <a:pt x="745876" y="1065132"/>
                      </a:cubicBezTo>
                      <a:cubicBezTo>
                        <a:pt x="737730" y="1963974"/>
                        <a:pt x="611090" y="2691541"/>
                        <a:pt x="463014" y="2690204"/>
                      </a:cubicBezTo>
                      <a:cubicBezTo>
                        <a:pt x="370469" y="2689366"/>
                        <a:pt x="291452" y="2403998"/>
                        <a:pt x="247193" y="1970645"/>
                      </a:cubicBezTo>
                      <a:lnTo>
                        <a:pt x="241809" y="1911439"/>
                      </a:lnTo>
                      <a:lnTo>
                        <a:pt x="117667" y="1927868"/>
                      </a:lnTo>
                      <a:lnTo>
                        <a:pt x="0" y="1939355"/>
                      </a:lnTo>
                      <a:lnTo>
                        <a:pt x="1067" y="1947185"/>
                      </a:lnTo>
                      <a:cubicBezTo>
                        <a:pt x="89914" y="2522181"/>
                        <a:pt x="267217" y="2906060"/>
                        <a:pt x="460588" y="2958050"/>
                      </a:cubicBezTo>
                      <a:cubicBezTo>
                        <a:pt x="513326" y="2972229"/>
                        <a:pt x="564420" y="2939599"/>
                        <a:pt x="612608" y="2872606"/>
                      </a:cubicBezTo>
                      <a:close/>
                    </a:path>
                  </a:pathLst>
                </a:custGeom>
                <a:gradFill flip="none" rotWithShape="1">
                  <a:gsLst>
                    <a:gs pos="0">
                      <a:srgbClr val="80ADD6"/>
                    </a:gs>
                    <a:gs pos="94000">
                      <a:srgbClr val="005EB8"/>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6" name="Freeform 115"/>
                <p:cNvSpPr/>
                <p:nvPr/>
              </p:nvSpPr>
              <p:spPr>
                <a:xfrm rot="7475261" flipH="1">
                  <a:off x="4157129" y="2547694"/>
                  <a:ext cx="315346" cy="1085516"/>
                </a:xfrm>
                <a:custGeom>
                  <a:avLst/>
                  <a:gdLst>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81148 w 284520"/>
                    <a:gd name="connsiteY8" fmla="*/ 1050233 h 1052650"/>
                    <a:gd name="connsiteX9" fmla="*/ 284066 w 284520"/>
                    <a:gd name="connsiteY9" fmla="*/ 1037989 h 1052650"/>
                    <a:gd name="connsiteX10" fmla="*/ 284520 w 284520"/>
                    <a:gd name="connsiteY10"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72942 w 284520"/>
                    <a:gd name="connsiteY3" fmla="*/ 19664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1041804 h 1052650"/>
                    <a:gd name="connsiteX1" fmla="*/ 283708 w 284520"/>
                    <a:gd name="connsiteY1" fmla="*/ 1030239 h 1052650"/>
                    <a:gd name="connsiteX2" fmla="*/ 268379 w 284520"/>
                    <a:gd name="connsiteY2" fmla="*/ 396552 h 1052650"/>
                    <a:gd name="connsiteX3" fmla="*/ 268191 w 284520"/>
                    <a:gd name="connsiteY3" fmla="*/ 94679 h 1052650"/>
                    <a:gd name="connsiteX4" fmla="*/ 18728 w 284520"/>
                    <a:gd name="connsiteY4" fmla="*/ 0 h 1052650"/>
                    <a:gd name="connsiteX5" fmla="*/ 265 w 284520"/>
                    <a:gd name="connsiteY5" fmla="*/ 394129 h 1052650"/>
                    <a:gd name="connsiteX6" fmla="*/ 20541 w 284520"/>
                    <a:gd name="connsiteY6" fmla="*/ 951713 h 1052650"/>
                    <a:gd name="connsiteX7" fmla="*/ 30778 w 284520"/>
                    <a:gd name="connsiteY7" fmla="*/ 1052650 h 1052650"/>
                    <a:gd name="connsiteX8" fmla="*/ 284066 w 284520"/>
                    <a:gd name="connsiteY8" fmla="*/ 1037989 h 1052650"/>
                    <a:gd name="connsiteX9" fmla="*/ 284520 w 284520"/>
                    <a:gd name="connsiteY9" fmla="*/ 1041804 h 1052650"/>
                    <a:gd name="connsiteX0" fmla="*/ 284520 w 284520"/>
                    <a:gd name="connsiteY0" fmla="*/ 966667 h 977513"/>
                    <a:gd name="connsiteX1" fmla="*/ 283708 w 284520"/>
                    <a:gd name="connsiteY1" fmla="*/ 955102 h 977513"/>
                    <a:gd name="connsiteX2" fmla="*/ 268379 w 284520"/>
                    <a:gd name="connsiteY2" fmla="*/ 321415 h 977513"/>
                    <a:gd name="connsiteX3" fmla="*/ 268191 w 284520"/>
                    <a:gd name="connsiteY3" fmla="*/ 19542 h 977513"/>
                    <a:gd name="connsiteX4" fmla="*/ 21722 w 284520"/>
                    <a:gd name="connsiteY4" fmla="*/ 0 h 977513"/>
                    <a:gd name="connsiteX5" fmla="*/ 265 w 284520"/>
                    <a:gd name="connsiteY5" fmla="*/ 318992 h 977513"/>
                    <a:gd name="connsiteX6" fmla="*/ 20541 w 284520"/>
                    <a:gd name="connsiteY6" fmla="*/ 876576 h 977513"/>
                    <a:gd name="connsiteX7" fmla="*/ 30778 w 284520"/>
                    <a:gd name="connsiteY7" fmla="*/ 977513 h 977513"/>
                    <a:gd name="connsiteX8" fmla="*/ 284066 w 284520"/>
                    <a:gd name="connsiteY8" fmla="*/ 962852 h 977513"/>
                    <a:gd name="connsiteX9" fmla="*/ 284520 w 284520"/>
                    <a:gd name="connsiteY9" fmla="*/ 966667 h 977513"/>
                    <a:gd name="connsiteX0" fmla="*/ 284520 w 284520"/>
                    <a:gd name="connsiteY0" fmla="*/ 967888 h 978734"/>
                    <a:gd name="connsiteX1" fmla="*/ 283708 w 284520"/>
                    <a:gd name="connsiteY1" fmla="*/ 956323 h 978734"/>
                    <a:gd name="connsiteX2" fmla="*/ 268379 w 284520"/>
                    <a:gd name="connsiteY2" fmla="*/ 322636 h 978734"/>
                    <a:gd name="connsiteX3" fmla="*/ 268191 w 284520"/>
                    <a:gd name="connsiteY3" fmla="*/ 20763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8191 w 284520"/>
                    <a:gd name="connsiteY3" fmla="*/ 20763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9289 w 284520"/>
                    <a:gd name="connsiteY3" fmla="*/ 26739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9289 w 284520"/>
                    <a:gd name="connsiteY3" fmla="*/ 26739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9289 w 284520"/>
                    <a:gd name="connsiteY3" fmla="*/ 26739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9289 w 284520"/>
                    <a:gd name="connsiteY3" fmla="*/ 26739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8740 w 284520"/>
                    <a:gd name="connsiteY3" fmla="*/ 23750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7888 h 978734"/>
                    <a:gd name="connsiteX1" fmla="*/ 283708 w 284520"/>
                    <a:gd name="connsiteY1" fmla="*/ 956323 h 978734"/>
                    <a:gd name="connsiteX2" fmla="*/ 268379 w 284520"/>
                    <a:gd name="connsiteY2" fmla="*/ 322636 h 978734"/>
                    <a:gd name="connsiteX3" fmla="*/ 269960 w 284520"/>
                    <a:gd name="connsiteY3" fmla="*/ 21982 h 978734"/>
                    <a:gd name="connsiteX4" fmla="*/ 19952 w 284520"/>
                    <a:gd name="connsiteY4" fmla="*/ 0 h 978734"/>
                    <a:gd name="connsiteX5" fmla="*/ 265 w 284520"/>
                    <a:gd name="connsiteY5" fmla="*/ 320213 h 978734"/>
                    <a:gd name="connsiteX6" fmla="*/ 20541 w 284520"/>
                    <a:gd name="connsiteY6" fmla="*/ 877797 h 978734"/>
                    <a:gd name="connsiteX7" fmla="*/ 30778 w 284520"/>
                    <a:gd name="connsiteY7" fmla="*/ 978734 h 978734"/>
                    <a:gd name="connsiteX8" fmla="*/ 284066 w 284520"/>
                    <a:gd name="connsiteY8" fmla="*/ 964073 h 978734"/>
                    <a:gd name="connsiteX9" fmla="*/ 284520 w 284520"/>
                    <a:gd name="connsiteY9" fmla="*/ 967888 h 978734"/>
                    <a:gd name="connsiteX0" fmla="*/ 284520 w 284520"/>
                    <a:gd name="connsiteY0" fmla="*/ 968558 h 979404"/>
                    <a:gd name="connsiteX1" fmla="*/ 283708 w 284520"/>
                    <a:gd name="connsiteY1" fmla="*/ 956993 h 979404"/>
                    <a:gd name="connsiteX2" fmla="*/ 268379 w 284520"/>
                    <a:gd name="connsiteY2" fmla="*/ 323306 h 979404"/>
                    <a:gd name="connsiteX3" fmla="*/ 269960 w 284520"/>
                    <a:gd name="connsiteY3" fmla="*/ 22652 h 979404"/>
                    <a:gd name="connsiteX4" fmla="*/ 15195 w 284520"/>
                    <a:gd name="connsiteY4" fmla="*/ 0 h 979404"/>
                    <a:gd name="connsiteX5" fmla="*/ 265 w 284520"/>
                    <a:gd name="connsiteY5" fmla="*/ 320883 h 979404"/>
                    <a:gd name="connsiteX6" fmla="*/ 20541 w 284520"/>
                    <a:gd name="connsiteY6" fmla="*/ 878467 h 979404"/>
                    <a:gd name="connsiteX7" fmla="*/ 30778 w 284520"/>
                    <a:gd name="connsiteY7" fmla="*/ 979404 h 979404"/>
                    <a:gd name="connsiteX8" fmla="*/ 284066 w 284520"/>
                    <a:gd name="connsiteY8" fmla="*/ 964743 h 979404"/>
                    <a:gd name="connsiteX9" fmla="*/ 284520 w 284520"/>
                    <a:gd name="connsiteY9" fmla="*/ 968558 h 979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84520" h="979404">
                      <a:moveTo>
                        <a:pt x="284520" y="968558"/>
                      </a:moveTo>
                      <a:cubicBezTo>
                        <a:pt x="284249" y="964703"/>
                        <a:pt x="283979" y="960848"/>
                        <a:pt x="283708" y="956993"/>
                      </a:cubicBezTo>
                      <a:cubicBezTo>
                        <a:pt x="271905" y="762159"/>
                        <a:pt x="266342" y="548017"/>
                        <a:pt x="268379" y="323306"/>
                      </a:cubicBezTo>
                      <a:cubicBezTo>
                        <a:pt x="269399" y="210952"/>
                        <a:pt x="265428" y="128567"/>
                        <a:pt x="269960" y="22652"/>
                      </a:cubicBezTo>
                      <a:lnTo>
                        <a:pt x="15195" y="0"/>
                      </a:lnTo>
                      <a:lnTo>
                        <a:pt x="265" y="320883"/>
                      </a:lnTo>
                      <a:cubicBezTo>
                        <a:pt x="-1514" y="517152"/>
                        <a:pt x="5734" y="703965"/>
                        <a:pt x="20541" y="878467"/>
                      </a:cubicBezTo>
                      <a:lnTo>
                        <a:pt x="30778" y="979404"/>
                      </a:lnTo>
                      <a:cubicBezTo>
                        <a:pt x="119127" y="977220"/>
                        <a:pt x="199637" y="969630"/>
                        <a:pt x="284066" y="964743"/>
                      </a:cubicBezTo>
                      <a:cubicBezTo>
                        <a:pt x="284217" y="966015"/>
                        <a:pt x="284369" y="967286"/>
                        <a:pt x="284520" y="968558"/>
                      </a:cubicBezTo>
                      <a:close/>
                    </a:path>
                  </a:pathLst>
                </a:custGeom>
                <a:gradFill flip="none" rotWithShape="1">
                  <a:gsLst>
                    <a:gs pos="31000">
                      <a:srgbClr val="80ADD6"/>
                    </a:gs>
                    <a:gs pos="94000">
                      <a:srgbClr val="005EB8"/>
                    </a:gs>
                  </a:gsLst>
                  <a:lin ang="78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dirty="0">
                    <a:solidFill>
                      <a:prstClr val="white"/>
                    </a:solidFill>
                    <a:latin typeface="Univers for KPMG Light" panose="020B0403020202020204" pitchFamily="34" charset="0"/>
                  </a:endParaRPr>
                </a:p>
              </p:txBody>
            </p:sp>
            <p:sp>
              <p:nvSpPr>
                <p:cNvPr id="117" name="Freeform 116"/>
                <p:cNvSpPr/>
                <p:nvPr/>
              </p:nvSpPr>
              <p:spPr>
                <a:xfrm rot="18287586" flipV="1">
                  <a:off x="1373366" y="2663154"/>
                  <a:ext cx="3280011" cy="1378543"/>
                </a:xfrm>
                <a:custGeom>
                  <a:avLst/>
                  <a:gdLst>
                    <a:gd name="connsiteX0" fmla="*/ 924170 w 1247130"/>
                    <a:gd name="connsiteY0" fmla="*/ 244062 h 585653"/>
                    <a:gd name="connsiteX1" fmla="*/ 919050 w 1247130"/>
                    <a:gd name="connsiteY1" fmla="*/ 265152 h 585653"/>
                    <a:gd name="connsiteX2" fmla="*/ 878166 w 1247130"/>
                    <a:gd name="connsiteY2" fmla="*/ 584241 h 585653"/>
                    <a:gd name="connsiteX3" fmla="*/ 878127 w 1247130"/>
                    <a:gd name="connsiteY3" fmla="*/ 585286 h 585653"/>
                    <a:gd name="connsiteX4" fmla="*/ 740322 w 1247130"/>
                    <a:gd name="connsiteY4" fmla="*/ 583280 h 585653"/>
                    <a:gd name="connsiteX5" fmla="*/ 3819 w 1247130"/>
                    <a:gd name="connsiteY5" fmla="*/ 360412 h 585653"/>
                    <a:gd name="connsiteX6" fmla="*/ 0 w 1247130"/>
                    <a:gd name="connsiteY6" fmla="*/ 0 h 585653"/>
                    <a:gd name="connsiteX7" fmla="*/ 911967 w 1247130"/>
                    <a:gd name="connsiteY7" fmla="*/ 244639 h 585653"/>
                    <a:gd name="connsiteX8" fmla="*/ 1217847 w 1247130"/>
                    <a:gd name="connsiteY8" fmla="*/ 223708 h 585653"/>
                    <a:gd name="connsiteX9" fmla="*/ 1218076 w 1247130"/>
                    <a:gd name="connsiteY9" fmla="*/ 224914 h 585653"/>
                    <a:gd name="connsiteX10" fmla="*/ 1242924 w 1247130"/>
                    <a:gd name="connsiteY10" fmla="*/ 468987 h 585653"/>
                    <a:gd name="connsiteX11" fmla="*/ 1247130 w 1247130"/>
                    <a:gd name="connsiteY11" fmla="*/ 569106 h 585653"/>
                    <a:gd name="connsiteX12" fmla="*/ 1223058 w 1247130"/>
                    <a:gd name="connsiteY12" fmla="*/ 571672 h 585653"/>
                    <a:gd name="connsiteX13" fmla="*/ 1065764 w 1247130"/>
                    <a:gd name="connsiteY13" fmla="*/ 581671 h 585653"/>
                    <a:gd name="connsiteX14" fmla="*/ 1003277 w 1247130"/>
                    <a:gd name="connsiteY14" fmla="*/ 583202 h 585653"/>
                    <a:gd name="connsiteX15" fmla="*/ 903213 w 1247130"/>
                    <a:gd name="connsiteY15" fmla="*/ 585653 h 585653"/>
                    <a:gd name="connsiteX16" fmla="*/ 878127 w 1247130"/>
                    <a:gd name="connsiteY16" fmla="*/ 585287 h 585653"/>
                    <a:gd name="connsiteX17" fmla="*/ 878166 w 1247130"/>
                    <a:gd name="connsiteY17" fmla="*/ 584242 h 585653"/>
                    <a:gd name="connsiteX18" fmla="*/ 919050 w 1247130"/>
                    <a:gd name="connsiteY18" fmla="*/ 265153 h 585653"/>
                    <a:gd name="connsiteX19" fmla="*/ 924170 w 1247130"/>
                    <a:gd name="connsiteY19" fmla="*/ 244063 h 585653"/>
                    <a:gd name="connsiteX20" fmla="*/ 1037303 w 1247130"/>
                    <a:gd name="connsiteY20" fmla="*/ 238714 h 585653"/>
                    <a:gd name="connsiteX21" fmla="*/ 1075471 w 1247130"/>
                    <a:gd name="connsiteY21" fmla="*/ 236910 h 585653"/>
                    <a:gd name="connsiteX0" fmla="*/ 924170 w 1259526"/>
                    <a:gd name="connsiteY0" fmla="*/ 244062 h 585653"/>
                    <a:gd name="connsiteX1" fmla="*/ 919050 w 1259526"/>
                    <a:gd name="connsiteY1" fmla="*/ 265152 h 585653"/>
                    <a:gd name="connsiteX2" fmla="*/ 878166 w 1259526"/>
                    <a:gd name="connsiteY2" fmla="*/ 584241 h 585653"/>
                    <a:gd name="connsiteX3" fmla="*/ 878127 w 1259526"/>
                    <a:gd name="connsiteY3" fmla="*/ 585286 h 585653"/>
                    <a:gd name="connsiteX4" fmla="*/ 740322 w 1259526"/>
                    <a:gd name="connsiteY4" fmla="*/ 583280 h 585653"/>
                    <a:gd name="connsiteX5" fmla="*/ 3819 w 1259526"/>
                    <a:gd name="connsiteY5" fmla="*/ 360412 h 585653"/>
                    <a:gd name="connsiteX6" fmla="*/ 0 w 1259526"/>
                    <a:gd name="connsiteY6" fmla="*/ 0 h 585653"/>
                    <a:gd name="connsiteX7" fmla="*/ 911967 w 1259526"/>
                    <a:gd name="connsiteY7" fmla="*/ 244639 h 585653"/>
                    <a:gd name="connsiteX8" fmla="*/ 924170 w 1259526"/>
                    <a:gd name="connsiteY8" fmla="*/ 244062 h 585653"/>
                    <a:gd name="connsiteX9" fmla="*/ 1217847 w 1259526"/>
                    <a:gd name="connsiteY9" fmla="*/ 223708 h 585653"/>
                    <a:gd name="connsiteX10" fmla="*/ 1218076 w 1259526"/>
                    <a:gd name="connsiteY10" fmla="*/ 224914 h 585653"/>
                    <a:gd name="connsiteX11" fmla="*/ 1242924 w 1259526"/>
                    <a:gd name="connsiteY11" fmla="*/ 468987 h 585653"/>
                    <a:gd name="connsiteX12" fmla="*/ 1247130 w 1259526"/>
                    <a:gd name="connsiteY12" fmla="*/ 569106 h 585653"/>
                    <a:gd name="connsiteX13" fmla="*/ 1258016 w 1259526"/>
                    <a:gd name="connsiteY13" fmla="*/ 580542 h 585653"/>
                    <a:gd name="connsiteX14" fmla="*/ 1065764 w 1259526"/>
                    <a:gd name="connsiteY14" fmla="*/ 581671 h 585653"/>
                    <a:gd name="connsiteX15" fmla="*/ 1003277 w 1259526"/>
                    <a:gd name="connsiteY15" fmla="*/ 583202 h 585653"/>
                    <a:gd name="connsiteX16" fmla="*/ 903213 w 1259526"/>
                    <a:gd name="connsiteY16" fmla="*/ 585653 h 585653"/>
                    <a:gd name="connsiteX17" fmla="*/ 878127 w 1259526"/>
                    <a:gd name="connsiteY17" fmla="*/ 585287 h 585653"/>
                    <a:gd name="connsiteX18" fmla="*/ 878166 w 1259526"/>
                    <a:gd name="connsiteY18" fmla="*/ 584242 h 585653"/>
                    <a:gd name="connsiteX19" fmla="*/ 919050 w 1259526"/>
                    <a:gd name="connsiteY19" fmla="*/ 265153 h 585653"/>
                    <a:gd name="connsiteX20" fmla="*/ 924170 w 1259526"/>
                    <a:gd name="connsiteY20" fmla="*/ 244063 h 585653"/>
                    <a:gd name="connsiteX21" fmla="*/ 1037303 w 1259526"/>
                    <a:gd name="connsiteY21" fmla="*/ 238714 h 585653"/>
                    <a:gd name="connsiteX22" fmla="*/ 1075471 w 1259526"/>
                    <a:gd name="connsiteY22" fmla="*/ 236910 h 585653"/>
                    <a:gd name="connsiteX23" fmla="*/ 1217847 w 1259526"/>
                    <a:gd name="connsiteY23" fmla="*/ 223708 h 585653"/>
                    <a:gd name="connsiteX0" fmla="*/ 924170 w 1247130"/>
                    <a:gd name="connsiteY0" fmla="*/ 244062 h 585653"/>
                    <a:gd name="connsiteX1" fmla="*/ 919050 w 1247130"/>
                    <a:gd name="connsiteY1" fmla="*/ 265152 h 585653"/>
                    <a:gd name="connsiteX2" fmla="*/ 878166 w 1247130"/>
                    <a:gd name="connsiteY2" fmla="*/ 584241 h 585653"/>
                    <a:gd name="connsiteX3" fmla="*/ 878127 w 1247130"/>
                    <a:gd name="connsiteY3" fmla="*/ 585286 h 585653"/>
                    <a:gd name="connsiteX4" fmla="*/ 740322 w 1247130"/>
                    <a:gd name="connsiteY4" fmla="*/ 583280 h 585653"/>
                    <a:gd name="connsiteX5" fmla="*/ 3819 w 1247130"/>
                    <a:gd name="connsiteY5" fmla="*/ 360412 h 585653"/>
                    <a:gd name="connsiteX6" fmla="*/ 0 w 1247130"/>
                    <a:gd name="connsiteY6" fmla="*/ 0 h 585653"/>
                    <a:gd name="connsiteX7" fmla="*/ 911967 w 1247130"/>
                    <a:gd name="connsiteY7" fmla="*/ 244639 h 585653"/>
                    <a:gd name="connsiteX8" fmla="*/ 924170 w 1247130"/>
                    <a:gd name="connsiteY8" fmla="*/ 244062 h 585653"/>
                    <a:gd name="connsiteX9" fmla="*/ 1217847 w 1247130"/>
                    <a:gd name="connsiteY9" fmla="*/ 223708 h 585653"/>
                    <a:gd name="connsiteX10" fmla="*/ 1218076 w 1247130"/>
                    <a:gd name="connsiteY10" fmla="*/ 224914 h 585653"/>
                    <a:gd name="connsiteX11" fmla="*/ 1242924 w 1247130"/>
                    <a:gd name="connsiteY11" fmla="*/ 468987 h 585653"/>
                    <a:gd name="connsiteX12" fmla="*/ 1247130 w 1247130"/>
                    <a:gd name="connsiteY12" fmla="*/ 569106 h 585653"/>
                    <a:gd name="connsiteX13" fmla="*/ 1065764 w 1247130"/>
                    <a:gd name="connsiteY13" fmla="*/ 581671 h 585653"/>
                    <a:gd name="connsiteX14" fmla="*/ 1003277 w 1247130"/>
                    <a:gd name="connsiteY14" fmla="*/ 583202 h 585653"/>
                    <a:gd name="connsiteX15" fmla="*/ 903213 w 1247130"/>
                    <a:gd name="connsiteY15" fmla="*/ 585653 h 585653"/>
                    <a:gd name="connsiteX16" fmla="*/ 878127 w 1247130"/>
                    <a:gd name="connsiteY16" fmla="*/ 585287 h 585653"/>
                    <a:gd name="connsiteX17" fmla="*/ 878166 w 1247130"/>
                    <a:gd name="connsiteY17" fmla="*/ 584242 h 585653"/>
                    <a:gd name="connsiteX18" fmla="*/ 919050 w 1247130"/>
                    <a:gd name="connsiteY18" fmla="*/ 265153 h 585653"/>
                    <a:gd name="connsiteX19" fmla="*/ 924170 w 1247130"/>
                    <a:gd name="connsiteY19" fmla="*/ 244063 h 585653"/>
                    <a:gd name="connsiteX20" fmla="*/ 1037303 w 1247130"/>
                    <a:gd name="connsiteY20" fmla="*/ 238714 h 585653"/>
                    <a:gd name="connsiteX21" fmla="*/ 1075471 w 1247130"/>
                    <a:gd name="connsiteY21" fmla="*/ 236910 h 585653"/>
                    <a:gd name="connsiteX22" fmla="*/ 1217847 w 1247130"/>
                    <a:gd name="connsiteY22" fmla="*/ 223708 h 585653"/>
                    <a:gd name="connsiteX0" fmla="*/ 924170 w 1320805"/>
                    <a:gd name="connsiteY0" fmla="*/ 244062 h 585653"/>
                    <a:gd name="connsiteX1" fmla="*/ 919050 w 1320805"/>
                    <a:gd name="connsiteY1" fmla="*/ 265152 h 585653"/>
                    <a:gd name="connsiteX2" fmla="*/ 878166 w 1320805"/>
                    <a:gd name="connsiteY2" fmla="*/ 584241 h 585653"/>
                    <a:gd name="connsiteX3" fmla="*/ 878127 w 1320805"/>
                    <a:gd name="connsiteY3" fmla="*/ 585286 h 585653"/>
                    <a:gd name="connsiteX4" fmla="*/ 740322 w 1320805"/>
                    <a:gd name="connsiteY4" fmla="*/ 583280 h 585653"/>
                    <a:gd name="connsiteX5" fmla="*/ 3819 w 1320805"/>
                    <a:gd name="connsiteY5" fmla="*/ 360412 h 585653"/>
                    <a:gd name="connsiteX6" fmla="*/ 0 w 1320805"/>
                    <a:gd name="connsiteY6" fmla="*/ 0 h 585653"/>
                    <a:gd name="connsiteX7" fmla="*/ 911967 w 1320805"/>
                    <a:gd name="connsiteY7" fmla="*/ 244639 h 585653"/>
                    <a:gd name="connsiteX8" fmla="*/ 924170 w 1320805"/>
                    <a:gd name="connsiteY8" fmla="*/ 244062 h 585653"/>
                    <a:gd name="connsiteX9" fmla="*/ 1217847 w 1320805"/>
                    <a:gd name="connsiteY9" fmla="*/ 223708 h 585653"/>
                    <a:gd name="connsiteX10" fmla="*/ 1218076 w 1320805"/>
                    <a:gd name="connsiteY10" fmla="*/ 224914 h 585653"/>
                    <a:gd name="connsiteX11" fmla="*/ 1242924 w 1320805"/>
                    <a:gd name="connsiteY11" fmla="*/ 468987 h 585653"/>
                    <a:gd name="connsiteX12" fmla="*/ 1320805 w 1320805"/>
                    <a:gd name="connsiteY12" fmla="*/ 574037 h 585653"/>
                    <a:gd name="connsiteX13" fmla="*/ 1065764 w 1320805"/>
                    <a:gd name="connsiteY13" fmla="*/ 581671 h 585653"/>
                    <a:gd name="connsiteX14" fmla="*/ 1003277 w 1320805"/>
                    <a:gd name="connsiteY14" fmla="*/ 583202 h 585653"/>
                    <a:gd name="connsiteX15" fmla="*/ 903213 w 1320805"/>
                    <a:gd name="connsiteY15" fmla="*/ 585653 h 585653"/>
                    <a:gd name="connsiteX16" fmla="*/ 878127 w 1320805"/>
                    <a:gd name="connsiteY16" fmla="*/ 585287 h 585653"/>
                    <a:gd name="connsiteX17" fmla="*/ 878166 w 1320805"/>
                    <a:gd name="connsiteY17" fmla="*/ 584242 h 585653"/>
                    <a:gd name="connsiteX18" fmla="*/ 919050 w 1320805"/>
                    <a:gd name="connsiteY18" fmla="*/ 265153 h 585653"/>
                    <a:gd name="connsiteX19" fmla="*/ 924170 w 1320805"/>
                    <a:gd name="connsiteY19" fmla="*/ 244063 h 585653"/>
                    <a:gd name="connsiteX20" fmla="*/ 1037303 w 1320805"/>
                    <a:gd name="connsiteY20" fmla="*/ 238714 h 585653"/>
                    <a:gd name="connsiteX21" fmla="*/ 1075471 w 1320805"/>
                    <a:gd name="connsiteY21" fmla="*/ 236910 h 585653"/>
                    <a:gd name="connsiteX22" fmla="*/ 1217847 w 1320805"/>
                    <a:gd name="connsiteY22" fmla="*/ 223708 h 585653"/>
                    <a:gd name="connsiteX0" fmla="*/ 924170 w 1324561"/>
                    <a:gd name="connsiteY0" fmla="*/ 244062 h 585653"/>
                    <a:gd name="connsiteX1" fmla="*/ 919050 w 1324561"/>
                    <a:gd name="connsiteY1" fmla="*/ 265152 h 585653"/>
                    <a:gd name="connsiteX2" fmla="*/ 878166 w 1324561"/>
                    <a:gd name="connsiteY2" fmla="*/ 584241 h 585653"/>
                    <a:gd name="connsiteX3" fmla="*/ 878127 w 1324561"/>
                    <a:gd name="connsiteY3" fmla="*/ 585286 h 585653"/>
                    <a:gd name="connsiteX4" fmla="*/ 740322 w 1324561"/>
                    <a:gd name="connsiteY4" fmla="*/ 583280 h 585653"/>
                    <a:gd name="connsiteX5" fmla="*/ 3819 w 1324561"/>
                    <a:gd name="connsiteY5" fmla="*/ 360412 h 585653"/>
                    <a:gd name="connsiteX6" fmla="*/ 0 w 1324561"/>
                    <a:gd name="connsiteY6" fmla="*/ 0 h 585653"/>
                    <a:gd name="connsiteX7" fmla="*/ 911967 w 1324561"/>
                    <a:gd name="connsiteY7" fmla="*/ 244639 h 585653"/>
                    <a:gd name="connsiteX8" fmla="*/ 924170 w 1324561"/>
                    <a:gd name="connsiteY8" fmla="*/ 244062 h 585653"/>
                    <a:gd name="connsiteX9" fmla="*/ 1217847 w 1324561"/>
                    <a:gd name="connsiteY9" fmla="*/ 223708 h 585653"/>
                    <a:gd name="connsiteX10" fmla="*/ 1218076 w 1324561"/>
                    <a:gd name="connsiteY10" fmla="*/ 224914 h 585653"/>
                    <a:gd name="connsiteX11" fmla="*/ 1320805 w 1324561"/>
                    <a:gd name="connsiteY11" fmla="*/ 574037 h 585653"/>
                    <a:gd name="connsiteX12" fmla="*/ 1065764 w 1324561"/>
                    <a:gd name="connsiteY12" fmla="*/ 581671 h 585653"/>
                    <a:gd name="connsiteX13" fmla="*/ 1003277 w 1324561"/>
                    <a:gd name="connsiteY13" fmla="*/ 583202 h 585653"/>
                    <a:gd name="connsiteX14" fmla="*/ 903213 w 1324561"/>
                    <a:gd name="connsiteY14" fmla="*/ 585653 h 585653"/>
                    <a:gd name="connsiteX15" fmla="*/ 878127 w 1324561"/>
                    <a:gd name="connsiteY15" fmla="*/ 585287 h 585653"/>
                    <a:gd name="connsiteX16" fmla="*/ 878166 w 1324561"/>
                    <a:gd name="connsiteY16" fmla="*/ 584242 h 585653"/>
                    <a:gd name="connsiteX17" fmla="*/ 919050 w 1324561"/>
                    <a:gd name="connsiteY17" fmla="*/ 265153 h 585653"/>
                    <a:gd name="connsiteX18" fmla="*/ 924170 w 1324561"/>
                    <a:gd name="connsiteY18" fmla="*/ 244063 h 585653"/>
                    <a:gd name="connsiteX19" fmla="*/ 1037303 w 1324561"/>
                    <a:gd name="connsiteY19" fmla="*/ 238714 h 585653"/>
                    <a:gd name="connsiteX20" fmla="*/ 1075471 w 1324561"/>
                    <a:gd name="connsiteY20" fmla="*/ 236910 h 585653"/>
                    <a:gd name="connsiteX21" fmla="*/ 1217847 w 1324561"/>
                    <a:gd name="connsiteY21" fmla="*/ 223708 h 585653"/>
                    <a:gd name="connsiteX0" fmla="*/ 924170 w 1345456"/>
                    <a:gd name="connsiteY0" fmla="*/ 244062 h 585653"/>
                    <a:gd name="connsiteX1" fmla="*/ 919050 w 1345456"/>
                    <a:gd name="connsiteY1" fmla="*/ 265152 h 585653"/>
                    <a:gd name="connsiteX2" fmla="*/ 878166 w 1345456"/>
                    <a:gd name="connsiteY2" fmla="*/ 584241 h 585653"/>
                    <a:gd name="connsiteX3" fmla="*/ 878127 w 1345456"/>
                    <a:gd name="connsiteY3" fmla="*/ 585286 h 585653"/>
                    <a:gd name="connsiteX4" fmla="*/ 740322 w 1345456"/>
                    <a:gd name="connsiteY4" fmla="*/ 583280 h 585653"/>
                    <a:gd name="connsiteX5" fmla="*/ 3819 w 1345456"/>
                    <a:gd name="connsiteY5" fmla="*/ 360412 h 585653"/>
                    <a:gd name="connsiteX6" fmla="*/ 0 w 1345456"/>
                    <a:gd name="connsiteY6" fmla="*/ 0 h 585653"/>
                    <a:gd name="connsiteX7" fmla="*/ 911967 w 1345456"/>
                    <a:gd name="connsiteY7" fmla="*/ 244639 h 585653"/>
                    <a:gd name="connsiteX8" fmla="*/ 924170 w 1345456"/>
                    <a:gd name="connsiteY8" fmla="*/ 244062 h 585653"/>
                    <a:gd name="connsiteX9" fmla="*/ 1345456 w 1345456"/>
                    <a:gd name="connsiteY9" fmla="*/ 224994 h 585653"/>
                    <a:gd name="connsiteX10" fmla="*/ 1218076 w 1345456"/>
                    <a:gd name="connsiteY10" fmla="*/ 224914 h 585653"/>
                    <a:gd name="connsiteX11" fmla="*/ 1320805 w 1345456"/>
                    <a:gd name="connsiteY11" fmla="*/ 574037 h 585653"/>
                    <a:gd name="connsiteX12" fmla="*/ 1065764 w 1345456"/>
                    <a:gd name="connsiteY12" fmla="*/ 581671 h 585653"/>
                    <a:gd name="connsiteX13" fmla="*/ 1003277 w 1345456"/>
                    <a:gd name="connsiteY13" fmla="*/ 583202 h 585653"/>
                    <a:gd name="connsiteX14" fmla="*/ 903213 w 1345456"/>
                    <a:gd name="connsiteY14" fmla="*/ 585653 h 585653"/>
                    <a:gd name="connsiteX15" fmla="*/ 878127 w 1345456"/>
                    <a:gd name="connsiteY15" fmla="*/ 585287 h 585653"/>
                    <a:gd name="connsiteX16" fmla="*/ 878166 w 1345456"/>
                    <a:gd name="connsiteY16" fmla="*/ 584242 h 585653"/>
                    <a:gd name="connsiteX17" fmla="*/ 919050 w 1345456"/>
                    <a:gd name="connsiteY17" fmla="*/ 265153 h 585653"/>
                    <a:gd name="connsiteX18" fmla="*/ 924170 w 1345456"/>
                    <a:gd name="connsiteY18" fmla="*/ 244063 h 585653"/>
                    <a:gd name="connsiteX19" fmla="*/ 1037303 w 1345456"/>
                    <a:gd name="connsiteY19" fmla="*/ 238714 h 585653"/>
                    <a:gd name="connsiteX20" fmla="*/ 1075471 w 1345456"/>
                    <a:gd name="connsiteY20" fmla="*/ 236910 h 585653"/>
                    <a:gd name="connsiteX21" fmla="*/ 1345456 w 1345456"/>
                    <a:gd name="connsiteY21" fmla="*/ 224994 h 585653"/>
                    <a:gd name="connsiteX0" fmla="*/ 924170 w 1345456"/>
                    <a:gd name="connsiteY0" fmla="*/ 244062 h 585653"/>
                    <a:gd name="connsiteX1" fmla="*/ 919050 w 1345456"/>
                    <a:gd name="connsiteY1" fmla="*/ 265152 h 585653"/>
                    <a:gd name="connsiteX2" fmla="*/ 878166 w 1345456"/>
                    <a:gd name="connsiteY2" fmla="*/ 584241 h 585653"/>
                    <a:gd name="connsiteX3" fmla="*/ 878127 w 1345456"/>
                    <a:gd name="connsiteY3" fmla="*/ 585286 h 585653"/>
                    <a:gd name="connsiteX4" fmla="*/ 740322 w 1345456"/>
                    <a:gd name="connsiteY4" fmla="*/ 583280 h 585653"/>
                    <a:gd name="connsiteX5" fmla="*/ 3819 w 1345456"/>
                    <a:gd name="connsiteY5" fmla="*/ 360412 h 585653"/>
                    <a:gd name="connsiteX6" fmla="*/ 0 w 1345456"/>
                    <a:gd name="connsiteY6" fmla="*/ 0 h 585653"/>
                    <a:gd name="connsiteX7" fmla="*/ 911967 w 1345456"/>
                    <a:gd name="connsiteY7" fmla="*/ 244639 h 585653"/>
                    <a:gd name="connsiteX8" fmla="*/ 924170 w 1345456"/>
                    <a:gd name="connsiteY8" fmla="*/ 244062 h 585653"/>
                    <a:gd name="connsiteX9" fmla="*/ 1345456 w 1345456"/>
                    <a:gd name="connsiteY9" fmla="*/ 224994 h 585653"/>
                    <a:gd name="connsiteX10" fmla="*/ 1218076 w 1345456"/>
                    <a:gd name="connsiteY10" fmla="*/ 224914 h 585653"/>
                    <a:gd name="connsiteX11" fmla="*/ 1320805 w 1345456"/>
                    <a:gd name="connsiteY11" fmla="*/ 574037 h 585653"/>
                    <a:gd name="connsiteX12" fmla="*/ 1065764 w 1345456"/>
                    <a:gd name="connsiteY12" fmla="*/ 581671 h 585653"/>
                    <a:gd name="connsiteX13" fmla="*/ 1003277 w 1345456"/>
                    <a:gd name="connsiteY13" fmla="*/ 583202 h 585653"/>
                    <a:gd name="connsiteX14" fmla="*/ 903213 w 1345456"/>
                    <a:gd name="connsiteY14" fmla="*/ 585653 h 585653"/>
                    <a:gd name="connsiteX15" fmla="*/ 878127 w 1345456"/>
                    <a:gd name="connsiteY15" fmla="*/ 585287 h 585653"/>
                    <a:gd name="connsiteX16" fmla="*/ 878166 w 1345456"/>
                    <a:gd name="connsiteY16" fmla="*/ 584242 h 585653"/>
                    <a:gd name="connsiteX17" fmla="*/ 919050 w 1345456"/>
                    <a:gd name="connsiteY17" fmla="*/ 265153 h 585653"/>
                    <a:gd name="connsiteX18" fmla="*/ 924170 w 1345456"/>
                    <a:gd name="connsiteY18" fmla="*/ 244063 h 585653"/>
                    <a:gd name="connsiteX19" fmla="*/ 1037303 w 1345456"/>
                    <a:gd name="connsiteY19" fmla="*/ 238714 h 585653"/>
                    <a:gd name="connsiteX20" fmla="*/ 1075471 w 1345456"/>
                    <a:gd name="connsiteY20" fmla="*/ 236910 h 585653"/>
                    <a:gd name="connsiteX21" fmla="*/ 1345456 w 1345456"/>
                    <a:gd name="connsiteY21" fmla="*/ 224994 h 585653"/>
                    <a:gd name="connsiteX0" fmla="*/ 924170 w 1324561"/>
                    <a:gd name="connsiteY0" fmla="*/ 244062 h 585653"/>
                    <a:gd name="connsiteX1" fmla="*/ 919050 w 1324561"/>
                    <a:gd name="connsiteY1" fmla="*/ 265152 h 585653"/>
                    <a:gd name="connsiteX2" fmla="*/ 878166 w 1324561"/>
                    <a:gd name="connsiteY2" fmla="*/ 584241 h 585653"/>
                    <a:gd name="connsiteX3" fmla="*/ 878127 w 1324561"/>
                    <a:gd name="connsiteY3" fmla="*/ 585286 h 585653"/>
                    <a:gd name="connsiteX4" fmla="*/ 740322 w 1324561"/>
                    <a:gd name="connsiteY4" fmla="*/ 583280 h 585653"/>
                    <a:gd name="connsiteX5" fmla="*/ 3819 w 1324561"/>
                    <a:gd name="connsiteY5" fmla="*/ 360412 h 585653"/>
                    <a:gd name="connsiteX6" fmla="*/ 0 w 1324561"/>
                    <a:gd name="connsiteY6" fmla="*/ 0 h 585653"/>
                    <a:gd name="connsiteX7" fmla="*/ 911967 w 1324561"/>
                    <a:gd name="connsiteY7" fmla="*/ 244639 h 585653"/>
                    <a:gd name="connsiteX8" fmla="*/ 924170 w 1324561"/>
                    <a:gd name="connsiteY8" fmla="*/ 244062 h 585653"/>
                    <a:gd name="connsiteX9" fmla="*/ 1075471 w 1324561"/>
                    <a:gd name="connsiteY9" fmla="*/ 236910 h 585653"/>
                    <a:gd name="connsiteX10" fmla="*/ 1218076 w 1324561"/>
                    <a:gd name="connsiteY10" fmla="*/ 224914 h 585653"/>
                    <a:gd name="connsiteX11" fmla="*/ 1320805 w 1324561"/>
                    <a:gd name="connsiteY11" fmla="*/ 574037 h 585653"/>
                    <a:gd name="connsiteX12" fmla="*/ 1065764 w 1324561"/>
                    <a:gd name="connsiteY12" fmla="*/ 581671 h 585653"/>
                    <a:gd name="connsiteX13" fmla="*/ 1003277 w 1324561"/>
                    <a:gd name="connsiteY13" fmla="*/ 583202 h 585653"/>
                    <a:gd name="connsiteX14" fmla="*/ 903213 w 1324561"/>
                    <a:gd name="connsiteY14" fmla="*/ 585653 h 585653"/>
                    <a:gd name="connsiteX15" fmla="*/ 878127 w 1324561"/>
                    <a:gd name="connsiteY15" fmla="*/ 585287 h 585653"/>
                    <a:gd name="connsiteX16" fmla="*/ 878166 w 1324561"/>
                    <a:gd name="connsiteY16" fmla="*/ 584242 h 585653"/>
                    <a:gd name="connsiteX17" fmla="*/ 919050 w 1324561"/>
                    <a:gd name="connsiteY17" fmla="*/ 265153 h 585653"/>
                    <a:gd name="connsiteX18" fmla="*/ 924170 w 1324561"/>
                    <a:gd name="connsiteY18" fmla="*/ 244063 h 585653"/>
                    <a:gd name="connsiteX19" fmla="*/ 1037303 w 1324561"/>
                    <a:gd name="connsiteY19" fmla="*/ 238714 h 585653"/>
                    <a:gd name="connsiteX20" fmla="*/ 1075471 w 1324561"/>
                    <a:gd name="connsiteY20" fmla="*/ 236910 h 585653"/>
                    <a:gd name="connsiteX0" fmla="*/ 924170 w 1406951"/>
                    <a:gd name="connsiteY0" fmla="*/ 244062 h 585653"/>
                    <a:gd name="connsiteX1" fmla="*/ 919050 w 1406951"/>
                    <a:gd name="connsiteY1" fmla="*/ 265152 h 585653"/>
                    <a:gd name="connsiteX2" fmla="*/ 878166 w 1406951"/>
                    <a:gd name="connsiteY2" fmla="*/ 584241 h 585653"/>
                    <a:gd name="connsiteX3" fmla="*/ 878127 w 1406951"/>
                    <a:gd name="connsiteY3" fmla="*/ 585286 h 585653"/>
                    <a:gd name="connsiteX4" fmla="*/ 740322 w 1406951"/>
                    <a:gd name="connsiteY4" fmla="*/ 583280 h 585653"/>
                    <a:gd name="connsiteX5" fmla="*/ 3819 w 1406951"/>
                    <a:gd name="connsiteY5" fmla="*/ 360412 h 585653"/>
                    <a:gd name="connsiteX6" fmla="*/ 0 w 1406951"/>
                    <a:gd name="connsiteY6" fmla="*/ 0 h 585653"/>
                    <a:gd name="connsiteX7" fmla="*/ 911967 w 1406951"/>
                    <a:gd name="connsiteY7" fmla="*/ 244639 h 585653"/>
                    <a:gd name="connsiteX8" fmla="*/ 924170 w 1406951"/>
                    <a:gd name="connsiteY8" fmla="*/ 244062 h 585653"/>
                    <a:gd name="connsiteX9" fmla="*/ 1075471 w 1406951"/>
                    <a:gd name="connsiteY9" fmla="*/ 236910 h 585653"/>
                    <a:gd name="connsiteX10" fmla="*/ 1404438 w 1406951"/>
                    <a:gd name="connsiteY10" fmla="*/ 215622 h 585653"/>
                    <a:gd name="connsiteX11" fmla="*/ 1320805 w 1406951"/>
                    <a:gd name="connsiteY11" fmla="*/ 574037 h 585653"/>
                    <a:gd name="connsiteX12" fmla="*/ 1065764 w 1406951"/>
                    <a:gd name="connsiteY12" fmla="*/ 581671 h 585653"/>
                    <a:gd name="connsiteX13" fmla="*/ 1003277 w 1406951"/>
                    <a:gd name="connsiteY13" fmla="*/ 583202 h 585653"/>
                    <a:gd name="connsiteX14" fmla="*/ 903213 w 1406951"/>
                    <a:gd name="connsiteY14" fmla="*/ 585653 h 585653"/>
                    <a:gd name="connsiteX15" fmla="*/ 878127 w 1406951"/>
                    <a:gd name="connsiteY15" fmla="*/ 585287 h 585653"/>
                    <a:gd name="connsiteX16" fmla="*/ 878166 w 1406951"/>
                    <a:gd name="connsiteY16" fmla="*/ 584242 h 585653"/>
                    <a:gd name="connsiteX17" fmla="*/ 919050 w 1406951"/>
                    <a:gd name="connsiteY17" fmla="*/ 265153 h 585653"/>
                    <a:gd name="connsiteX18" fmla="*/ 924170 w 1406951"/>
                    <a:gd name="connsiteY18" fmla="*/ 244063 h 585653"/>
                    <a:gd name="connsiteX19" fmla="*/ 1037303 w 1406951"/>
                    <a:gd name="connsiteY19" fmla="*/ 238714 h 585653"/>
                    <a:gd name="connsiteX20" fmla="*/ 1075471 w 1406951"/>
                    <a:gd name="connsiteY20" fmla="*/ 236910 h 585653"/>
                    <a:gd name="connsiteX0" fmla="*/ 924170 w 1407209"/>
                    <a:gd name="connsiteY0" fmla="*/ 244062 h 585653"/>
                    <a:gd name="connsiteX1" fmla="*/ 919050 w 1407209"/>
                    <a:gd name="connsiteY1" fmla="*/ 265152 h 585653"/>
                    <a:gd name="connsiteX2" fmla="*/ 878166 w 1407209"/>
                    <a:gd name="connsiteY2" fmla="*/ 584241 h 585653"/>
                    <a:gd name="connsiteX3" fmla="*/ 878127 w 1407209"/>
                    <a:gd name="connsiteY3" fmla="*/ 585286 h 585653"/>
                    <a:gd name="connsiteX4" fmla="*/ 740322 w 1407209"/>
                    <a:gd name="connsiteY4" fmla="*/ 583280 h 585653"/>
                    <a:gd name="connsiteX5" fmla="*/ 3819 w 1407209"/>
                    <a:gd name="connsiteY5" fmla="*/ 360412 h 585653"/>
                    <a:gd name="connsiteX6" fmla="*/ 0 w 1407209"/>
                    <a:gd name="connsiteY6" fmla="*/ 0 h 585653"/>
                    <a:gd name="connsiteX7" fmla="*/ 911967 w 1407209"/>
                    <a:gd name="connsiteY7" fmla="*/ 244639 h 585653"/>
                    <a:gd name="connsiteX8" fmla="*/ 924170 w 1407209"/>
                    <a:gd name="connsiteY8" fmla="*/ 244062 h 585653"/>
                    <a:gd name="connsiteX9" fmla="*/ 1075471 w 1407209"/>
                    <a:gd name="connsiteY9" fmla="*/ 236910 h 585653"/>
                    <a:gd name="connsiteX10" fmla="*/ 1404438 w 1407209"/>
                    <a:gd name="connsiteY10" fmla="*/ 215622 h 585653"/>
                    <a:gd name="connsiteX11" fmla="*/ 1329089 w 1407209"/>
                    <a:gd name="connsiteY11" fmla="*/ 569513 h 585653"/>
                    <a:gd name="connsiteX12" fmla="*/ 1065764 w 1407209"/>
                    <a:gd name="connsiteY12" fmla="*/ 581671 h 585653"/>
                    <a:gd name="connsiteX13" fmla="*/ 1003277 w 1407209"/>
                    <a:gd name="connsiteY13" fmla="*/ 583202 h 585653"/>
                    <a:gd name="connsiteX14" fmla="*/ 903213 w 1407209"/>
                    <a:gd name="connsiteY14" fmla="*/ 585653 h 585653"/>
                    <a:gd name="connsiteX15" fmla="*/ 878127 w 1407209"/>
                    <a:gd name="connsiteY15" fmla="*/ 585287 h 585653"/>
                    <a:gd name="connsiteX16" fmla="*/ 878166 w 1407209"/>
                    <a:gd name="connsiteY16" fmla="*/ 584242 h 585653"/>
                    <a:gd name="connsiteX17" fmla="*/ 919050 w 1407209"/>
                    <a:gd name="connsiteY17" fmla="*/ 265153 h 585653"/>
                    <a:gd name="connsiteX18" fmla="*/ 924170 w 1407209"/>
                    <a:gd name="connsiteY18" fmla="*/ 244063 h 585653"/>
                    <a:gd name="connsiteX19" fmla="*/ 1037303 w 1407209"/>
                    <a:gd name="connsiteY19" fmla="*/ 238714 h 585653"/>
                    <a:gd name="connsiteX20" fmla="*/ 1075471 w 1407209"/>
                    <a:gd name="connsiteY20" fmla="*/ 236910 h 585653"/>
                    <a:gd name="connsiteX0" fmla="*/ 924170 w 1397217"/>
                    <a:gd name="connsiteY0" fmla="*/ 244062 h 585653"/>
                    <a:gd name="connsiteX1" fmla="*/ 919050 w 1397217"/>
                    <a:gd name="connsiteY1" fmla="*/ 265152 h 585653"/>
                    <a:gd name="connsiteX2" fmla="*/ 878166 w 1397217"/>
                    <a:gd name="connsiteY2" fmla="*/ 584241 h 585653"/>
                    <a:gd name="connsiteX3" fmla="*/ 878127 w 1397217"/>
                    <a:gd name="connsiteY3" fmla="*/ 585286 h 585653"/>
                    <a:gd name="connsiteX4" fmla="*/ 740322 w 1397217"/>
                    <a:gd name="connsiteY4" fmla="*/ 583280 h 585653"/>
                    <a:gd name="connsiteX5" fmla="*/ 3819 w 1397217"/>
                    <a:gd name="connsiteY5" fmla="*/ 360412 h 585653"/>
                    <a:gd name="connsiteX6" fmla="*/ 0 w 1397217"/>
                    <a:gd name="connsiteY6" fmla="*/ 0 h 585653"/>
                    <a:gd name="connsiteX7" fmla="*/ 911967 w 1397217"/>
                    <a:gd name="connsiteY7" fmla="*/ 244639 h 585653"/>
                    <a:gd name="connsiteX8" fmla="*/ 924170 w 1397217"/>
                    <a:gd name="connsiteY8" fmla="*/ 244062 h 585653"/>
                    <a:gd name="connsiteX9" fmla="*/ 1075471 w 1397217"/>
                    <a:gd name="connsiteY9" fmla="*/ 236910 h 585653"/>
                    <a:gd name="connsiteX10" fmla="*/ 1394039 w 1397217"/>
                    <a:gd name="connsiteY10" fmla="*/ 208396 h 585653"/>
                    <a:gd name="connsiteX11" fmla="*/ 1329089 w 1397217"/>
                    <a:gd name="connsiteY11" fmla="*/ 569513 h 585653"/>
                    <a:gd name="connsiteX12" fmla="*/ 1065764 w 1397217"/>
                    <a:gd name="connsiteY12" fmla="*/ 581671 h 585653"/>
                    <a:gd name="connsiteX13" fmla="*/ 1003277 w 1397217"/>
                    <a:gd name="connsiteY13" fmla="*/ 583202 h 585653"/>
                    <a:gd name="connsiteX14" fmla="*/ 903213 w 1397217"/>
                    <a:gd name="connsiteY14" fmla="*/ 585653 h 585653"/>
                    <a:gd name="connsiteX15" fmla="*/ 878127 w 1397217"/>
                    <a:gd name="connsiteY15" fmla="*/ 585287 h 585653"/>
                    <a:gd name="connsiteX16" fmla="*/ 878166 w 1397217"/>
                    <a:gd name="connsiteY16" fmla="*/ 584242 h 585653"/>
                    <a:gd name="connsiteX17" fmla="*/ 919050 w 1397217"/>
                    <a:gd name="connsiteY17" fmla="*/ 265153 h 585653"/>
                    <a:gd name="connsiteX18" fmla="*/ 924170 w 1397217"/>
                    <a:gd name="connsiteY18" fmla="*/ 244063 h 585653"/>
                    <a:gd name="connsiteX19" fmla="*/ 1037303 w 1397217"/>
                    <a:gd name="connsiteY19" fmla="*/ 238714 h 585653"/>
                    <a:gd name="connsiteX20" fmla="*/ 1075471 w 1397217"/>
                    <a:gd name="connsiteY20" fmla="*/ 236910 h 585653"/>
                    <a:gd name="connsiteX0" fmla="*/ 924170 w 1369350"/>
                    <a:gd name="connsiteY0" fmla="*/ 244062 h 585653"/>
                    <a:gd name="connsiteX1" fmla="*/ 919050 w 1369350"/>
                    <a:gd name="connsiteY1" fmla="*/ 265152 h 585653"/>
                    <a:gd name="connsiteX2" fmla="*/ 878166 w 1369350"/>
                    <a:gd name="connsiteY2" fmla="*/ 584241 h 585653"/>
                    <a:gd name="connsiteX3" fmla="*/ 878127 w 1369350"/>
                    <a:gd name="connsiteY3" fmla="*/ 585286 h 585653"/>
                    <a:gd name="connsiteX4" fmla="*/ 740322 w 1369350"/>
                    <a:gd name="connsiteY4" fmla="*/ 583280 h 585653"/>
                    <a:gd name="connsiteX5" fmla="*/ 3819 w 1369350"/>
                    <a:gd name="connsiteY5" fmla="*/ 360412 h 585653"/>
                    <a:gd name="connsiteX6" fmla="*/ 0 w 1369350"/>
                    <a:gd name="connsiteY6" fmla="*/ 0 h 585653"/>
                    <a:gd name="connsiteX7" fmla="*/ 911967 w 1369350"/>
                    <a:gd name="connsiteY7" fmla="*/ 244639 h 585653"/>
                    <a:gd name="connsiteX8" fmla="*/ 924170 w 1369350"/>
                    <a:gd name="connsiteY8" fmla="*/ 244062 h 585653"/>
                    <a:gd name="connsiteX9" fmla="*/ 1075471 w 1369350"/>
                    <a:gd name="connsiteY9" fmla="*/ 236910 h 585653"/>
                    <a:gd name="connsiteX10" fmla="*/ 1363898 w 1369350"/>
                    <a:gd name="connsiteY10" fmla="*/ 192593 h 585653"/>
                    <a:gd name="connsiteX11" fmla="*/ 1329089 w 1369350"/>
                    <a:gd name="connsiteY11" fmla="*/ 569513 h 585653"/>
                    <a:gd name="connsiteX12" fmla="*/ 1065764 w 1369350"/>
                    <a:gd name="connsiteY12" fmla="*/ 581671 h 585653"/>
                    <a:gd name="connsiteX13" fmla="*/ 1003277 w 1369350"/>
                    <a:gd name="connsiteY13" fmla="*/ 583202 h 585653"/>
                    <a:gd name="connsiteX14" fmla="*/ 903213 w 1369350"/>
                    <a:gd name="connsiteY14" fmla="*/ 585653 h 585653"/>
                    <a:gd name="connsiteX15" fmla="*/ 878127 w 1369350"/>
                    <a:gd name="connsiteY15" fmla="*/ 585287 h 585653"/>
                    <a:gd name="connsiteX16" fmla="*/ 878166 w 1369350"/>
                    <a:gd name="connsiteY16" fmla="*/ 584242 h 585653"/>
                    <a:gd name="connsiteX17" fmla="*/ 919050 w 1369350"/>
                    <a:gd name="connsiteY17" fmla="*/ 265153 h 585653"/>
                    <a:gd name="connsiteX18" fmla="*/ 924170 w 1369350"/>
                    <a:gd name="connsiteY18" fmla="*/ 244063 h 585653"/>
                    <a:gd name="connsiteX19" fmla="*/ 1037303 w 1369350"/>
                    <a:gd name="connsiteY19" fmla="*/ 238714 h 585653"/>
                    <a:gd name="connsiteX20" fmla="*/ 1075471 w 1369350"/>
                    <a:gd name="connsiteY20" fmla="*/ 236910 h 585653"/>
                    <a:gd name="connsiteX0" fmla="*/ 924170 w 1404149"/>
                    <a:gd name="connsiteY0" fmla="*/ 244062 h 585653"/>
                    <a:gd name="connsiteX1" fmla="*/ 919050 w 1404149"/>
                    <a:gd name="connsiteY1" fmla="*/ 265152 h 585653"/>
                    <a:gd name="connsiteX2" fmla="*/ 878166 w 1404149"/>
                    <a:gd name="connsiteY2" fmla="*/ 584241 h 585653"/>
                    <a:gd name="connsiteX3" fmla="*/ 878127 w 1404149"/>
                    <a:gd name="connsiteY3" fmla="*/ 585286 h 585653"/>
                    <a:gd name="connsiteX4" fmla="*/ 740322 w 1404149"/>
                    <a:gd name="connsiteY4" fmla="*/ 583280 h 585653"/>
                    <a:gd name="connsiteX5" fmla="*/ 3819 w 1404149"/>
                    <a:gd name="connsiteY5" fmla="*/ 360412 h 585653"/>
                    <a:gd name="connsiteX6" fmla="*/ 0 w 1404149"/>
                    <a:gd name="connsiteY6" fmla="*/ 0 h 585653"/>
                    <a:gd name="connsiteX7" fmla="*/ 911967 w 1404149"/>
                    <a:gd name="connsiteY7" fmla="*/ 244639 h 585653"/>
                    <a:gd name="connsiteX8" fmla="*/ 924170 w 1404149"/>
                    <a:gd name="connsiteY8" fmla="*/ 244062 h 585653"/>
                    <a:gd name="connsiteX9" fmla="*/ 1075471 w 1404149"/>
                    <a:gd name="connsiteY9" fmla="*/ 236910 h 585653"/>
                    <a:gd name="connsiteX10" fmla="*/ 1401265 w 1404149"/>
                    <a:gd name="connsiteY10" fmla="*/ 197996 h 585653"/>
                    <a:gd name="connsiteX11" fmla="*/ 1329089 w 1404149"/>
                    <a:gd name="connsiteY11" fmla="*/ 569513 h 585653"/>
                    <a:gd name="connsiteX12" fmla="*/ 1065764 w 1404149"/>
                    <a:gd name="connsiteY12" fmla="*/ 581671 h 585653"/>
                    <a:gd name="connsiteX13" fmla="*/ 1003277 w 1404149"/>
                    <a:gd name="connsiteY13" fmla="*/ 583202 h 585653"/>
                    <a:gd name="connsiteX14" fmla="*/ 903213 w 1404149"/>
                    <a:gd name="connsiteY14" fmla="*/ 585653 h 585653"/>
                    <a:gd name="connsiteX15" fmla="*/ 878127 w 1404149"/>
                    <a:gd name="connsiteY15" fmla="*/ 585287 h 585653"/>
                    <a:gd name="connsiteX16" fmla="*/ 878166 w 1404149"/>
                    <a:gd name="connsiteY16" fmla="*/ 584242 h 585653"/>
                    <a:gd name="connsiteX17" fmla="*/ 919050 w 1404149"/>
                    <a:gd name="connsiteY17" fmla="*/ 265153 h 585653"/>
                    <a:gd name="connsiteX18" fmla="*/ 924170 w 1404149"/>
                    <a:gd name="connsiteY18" fmla="*/ 244063 h 585653"/>
                    <a:gd name="connsiteX19" fmla="*/ 1037303 w 1404149"/>
                    <a:gd name="connsiteY19" fmla="*/ 238714 h 585653"/>
                    <a:gd name="connsiteX20" fmla="*/ 1075471 w 1404149"/>
                    <a:gd name="connsiteY20" fmla="*/ 236910 h 585653"/>
                    <a:gd name="connsiteX0" fmla="*/ 924170 w 1402702"/>
                    <a:gd name="connsiteY0" fmla="*/ 244062 h 585653"/>
                    <a:gd name="connsiteX1" fmla="*/ 919050 w 1402702"/>
                    <a:gd name="connsiteY1" fmla="*/ 265152 h 585653"/>
                    <a:gd name="connsiteX2" fmla="*/ 878166 w 1402702"/>
                    <a:gd name="connsiteY2" fmla="*/ 584241 h 585653"/>
                    <a:gd name="connsiteX3" fmla="*/ 878127 w 1402702"/>
                    <a:gd name="connsiteY3" fmla="*/ 585286 h 585653"/>
                    <a:gd name="connsiteX4" fmla="*/ 740322 w 1402702"/>
                    <a:gd name="connsiteY4" fmla="*/ 583280 h 585653"/>
                    <a:gd name="connsiteX5" fmla="*/ 3819 w 1402702"/>
                    <a:gd name="connsiteY5" fmla="*/ 360412 h 585653"/>
                    <a:gd name="connsiteX6" fmla="*/ 0 w 1402702"/>
                    <a:gd name="connsiteY6" fmla="*/ 0 h 585653"/>
                    <a:gd name="connsiteX7" fmla="*/ 911967 w 1402702"/>
                    <a:gd name="connsiteY7" fmla="*/ 244639 h 585653"/>
                    <a:gd name="connsiteX8" fmla="*/ 924170 w 1402702"/>
                    <a:gd name="connsiteY8" fmla="*/ 244062 h 585653"/>
                    <a:gd name="connsiteX9" fmla="*/ 1075471 w 1402702"/>
                    <a:gd name="connsiteY9" fmla="*/ 236910 h 585653"/>
                    <a:gd name="connsiteX10" fmla="*/ 1401265 w 1402702"/>
                    <a:gd name="connsiteY10" fmla="*/ 197996 h 585653"/>
                    <a:gd name="connsiteX11" fmla="*/ 1329089 w 1402702"/>
                    <a:gd name="connsiteY11" fmla="*/ 569513 h 585653"/>
                    <a:gd name="connsiteX12" fmla="*/ 1065764 w 1402702"/>
                    <a:gd name="connsiteY12" fmla="*/ 581671 h 585653"/>
                    <a:gd name="connsiteX13" fmla="*/ 1003277 w 1402702"/>
                    <a:gd name="connsiteY13" fmla="*/ 583202 h 585653"/>
                    <a:gd name="connsiteX14" fmla="*/ 903213 w 1402702"/>
                    <a:gd name="connsiteY14" fmla="*/ 585653 h 585653"/>
                    <a:gd name="connsiteX15" fmla="*/ 878127 w 1402702"/>
                    <a:gd name="connsiteY15" fmla="*/ 585287 h 585653"/>
                    <a:gd name="connsiteX16" fmla="*/ 878166 w 1402702"/>
                    <a:gd name="connsiteY16" fmla="*/ 584242 h 585653"/>
                    <a:gd name="connsiteX17" fmla="*/ 919050 w 1402702"/>
                    <a:gd name="connsiteY17" fmla="*/ 265153 h 585653"/>
                    <a:gd name="connsiteX18" fmla="*/ 924170 w 1402702"/>
                    <a:gd name="connsiteY18" fmla="*/ 244063 h 585653"/>
                    <a:gd name="connsiteX19" fmla="*/ 1037303 w 1402702"/>
                    <a:gd name="connsiteY19" fmla="*/ 238714 h 585653"/>
                    <a:gd name="connsiteX20" fmla="*/ 1075471 w 1402702"/>
                    <a:gd name="connsiteY20" fmla="*/ 236910 h 585653"/>
                    <a:gd name="connsiteX0" fmla="*/ 924170 w 1402702"/>
                    <a:gd name="connsiteY0" fmla="*/ 244062 h 585653"/>
                    <a:gd name="connsiteX1" fmla="*/ 919050 w 1402702"/>
                    <a:gd name="connsiteY1" fmla="*/ 265152 h 585653"/>
                    <a:gd name="connsiteX2" fmla="*/ 878166 w 1402702"/>
                    <a:gd name="connsiteY2" fmla="*/ 584241 h 585653"/>
                    <a:gd name="connsiteX3" fmla="*/ 878127 w 1402702"/>
                    <a:gd name="connsiteY3" fmla="*/ 585286 h 585653"/>
                    <a:gd name="connsiteX4" fmla="*/ 740322 w 1402702"/>
                    <a:gd name="connsiteY4" fmla="*/ 583280 h 585653"/>
                    <a:gd name="connsiteX5" fmla="*/ 3819 w 1402702"/>
                    <a:gd name="connsiteY5" fmla="*/ 360412 h 585653"/>
                    <a:gd name="connsiteX6" fmla="*/ 0 w 1402702"/>
                    <a:gd name="connsiteY6" fmla="*/ 0 h 585653"/>
                    <a:gd name="connsiteX7" fmla="*/ 911967 w 1402702"/>
                    <a:gd name="connsiteY7" fmla="*/ 244639 h 585653"/>
                    <a:gd name="connsiteX8" fmla="*/ 924170 w 1402702"/>
                    <a:gd name="connsiteY8" fmla="*/ 244062 h 585653"/>
                    <a:gd name="connsiteX9" fmla="*/ 1075471 w 1402702"/>
                    <a:gd name="connsiteY9" fmla="*/ 236910 h 585653"/>
                    <a:gd name="connsiteX10" fmla="*/ 1401265 w 1402702"/>
                    <a:gd name="connsiteY10" fmla="*/ 197996 h 585653"/>
                    <a:gd name="connsiteX11" fmla="*/ 1329089 w 1402702"/>
                    <a:gd name="connsiteY11" fmla="*/ 569513 h 585653"/>
                    <a:gd name="connsiteX12" fmla="*/ 1065764 w 1402702"/>
                    <a:gd name="connsiteY12" fmla="*/ 581671 h 585653"/>
                    <a:gd name="connsiteX13" fmla="*/ 1003277 w 1402702"/>
                    <a:gd name="connsiteY13" fmla="*/ 583202 h 585653"/>
                    <a:gd name="connsiteX14" fmla="*/ 903213 w 1402702"/>
                    <a:gd name="connsiteY14" fmla="*/ 585653 h 585653"/>
                    <a:gd name="connsiteX15" fmla="*/ 878127 w 1402702"/>
                    <a:gd name="connsiteY15" fmla="*/ 585287 h 585653"/>
                    <a:gd name="connsiteX16" fmla="*/ 878166 w 1402702"/>
                    <a:gd name="connsiteY16" fmla="*/ 584242 h 585653"/>
                    <a:gd name="connsiteX17" fmla="*/ 919050 w 1402702"/>
                    <a:gd name="connsiteY17" fmla="*/ 265153 h 585653"/>
                    <a:gd name="connsiteX18" fmla="*/ 924170 w 1402702"/>
                    <a:gd name="connsiteY18" fmla="*/ 244063 h 585653"/>
                    <a:gd name="connsiteX19" fmla="*/ 1037303 w 1402702"/>
                    <a:gd name="connsiteY19" fmla="*/ 238714 h 585653"/>
                    <a:gd name="connsiteX20" fmla="*/ 1075471 w 1402702"/>
                    <a:gd name="connsiteY20" fmla="*/ 236910 h 585653"/>
                    <a:gd name="connsiteX0" fmla="*/ 924170 w 1402702"/>
                    <a:gd name="connsiteY0" fmla="*/ 244062 h 585653"/>
                    <a:gd name="connsiteX1" fmla="*/ 919050 w 1402702"/>
                    <a:gd name="connsiteY1" fmla="*/ 265152 h 585653"/>
                    <a:gd name="connsiteX2" fmla="*/ 878166 w 1402702"/>
                    <a:gd name="connsiteY2" fmla="*/ 584241 h 585653"/>
                    <a:gd name="connsiteX3" fmla="*/ 878127 w 1402702"/>
                    <a:gd name="connsiteY3" fmla="*/ 585286 h 585653"/>
                    <a:gd name="connsiteX4" fmla="*/ 740322 w 1402702"/>
                    <a:gd name="connsiteY4" fmla="*/ 583280 h 585653"/>
                    <a:gd name="connsiteX5" fmla="*/ 3819 w 1402702"/>
                    <a:gd name="connsiteY5" fmla="*/ 360412 h 585653"/>
                    <a:gd name="connsiteX6" fmla="*/ 0 w 1402702"/>
                    <a:gd name="connsiteY6" fmla="*/ 0 h 585653"/>
                    <a:gd name="connsiteX7" fmla="*/ 911967 w 1402702"/>
                    <a:gd name="connsiteY7" fmla="*/ 244639 h 585653"/>
                    <a:gd name="connsiteX8" fmla="*/ 924170 w 1402702"/>
                    <a:gd name="connsiteY8" fmla="*/ 244062 h 585653"/>
                    <a:gd name="connsiteX9" fmla="*/ 1075471 w 1402702"/>
                    <a:gd name="connsiteY9" fmla="*/ 236910 h 585653"/>
                    <a:gd name="connsiteX10" fmla="*/ 1401265 w 1402702"/>
                    <a:gd name="connsiteY10" fmla="*/ 197996 h 585653"/>
                    <a:gd name="connsiteX11" fmla="*/ 1329089 w 1402702"/>
                    <a:gd name="connsiteY11" fmla="*/ 569513 h 585653"/>
                    <a:gd name="connsiteX12" fmla="*/ 1065764 w 1402702"/>
                    <a:gd name="connsiteY12" fmla="*/ 581671 h 585653"/>
                    <a:gd name="connsiteX13" fmla="*/ 1003277 w 1402702"/>
                    <a:gd name="connsiteY13" fmla="*/ 583202 h 585653"/>
                    <a:gd name="connsiteX14" fmla="*/ 903213 w 1402702"/>
                    <a:gd name="connsiteY14" fmla="*/ 585653 h 585653"/>
                    <a:gd name="connsiteX15" fmla="*/ 878127 w 1402702"/>
                    <a:gd name="connsiteY15" fmla="*/ 585287 h 585653"/>
                    <a:gd name="connsiteX16" fmla="*/ 878166 w 1402702"/>
                    <a:gd name="connsiteY16" fmla="*/ 584242 h 585653"/>
                    <a:gd name="connsiteX17" fmla="*/ 919050 w 1402702"/>
                    <a:gd name="connsiteY17" fmla="*/ 265153 h 585653"/>
                    <a:gd name="connsiteX18" fmla="*/ 924170 w 1402702"/>
                    <a:gd name="connsiteY18" fmla="*/ 244063 h 585653"/>
                    <a:gd name="connsiteX19" fmla="*/ 1037303 w 1402702"/>
                    <a:gd name="connsiteY19" fmla="*/ 238714 h 585653"/>
                    <a:gd name="connsiteX20" fmla="*/ 1075471 w 1402702"/>
                    <a:gd name="connsiteY20" fmla="*/ 236910 h 585653"/>
                    <a:gd name="connsiteX0" fmla="*/ 924170 w 1402495"/>
                    <a:gd name="connsiteY0" fmla="*/ 244062 h 585653"/>
                    <a:gd name="connsiteX1" fmla="*/ 919050 w 1402495"/>
                    <a:gd name="connsiteY1" fmla="*/ 265152 h 585653"/>
                    <a:gd name="connsiteX2" fmla="*/ 878166 w 1402495"/>
                    <a:gd name="connsiteY2" fmla="*/ 584241 h 585653"/>
                    <a:gd name="connsiteX3" fmla="*/ 878127 w 1402495"/>
                    <a:gd name="connsiteY3" fmla="*/ 585286 h 585653"/>
                    <a:gd name="connsiteX4" fmla="*/ 740322 w 1402495"/>
                    <a:gd name="connsiteY4" fmla="*/ 583280 h 585653"/>
                    <a:gd name="connsiteX5" fmla="*/ 3819 w 1402495"/>
                    <a:gd name="connsiteY5" fmla="*/ 360412 h 585653"/>
                    <a:gd name="connsiteX6" fmla="*/ 0 w 1402495"/>
                    <a:gd name="connsiteY6" fmla="*/ 0 h 585653"/>
                    <a:gd name="connsiteX7" fmla="*/ 911967 w 1402495"/>
                    <a:gd name="connsiteY7" fmla="*/ 244639 h 585653"/>
                    <a:gd name="connsiteX8" fmla="*/ 924170 w 1402495"/>
                    <a:gd name="connsiteY8" fmla="*/ 244062 h 585653"/>
                    <a:gd name="connsiteX9" fmla="*/ 1075471 w 1402495"/>
                    <a:gd name="connsiteY9" fmla="*/ 236910 h 585653"/>
                    <a:gd name="connsiteX10" fmla="*/ 1401265 w 1402495"/>
                    <a:gd name="connsiteY10" fmla="*/ 197996 h 585653"/>
                    <a:gd name="connsiteX11" fmla="*/ 1317759 w 1402495"/>
                    <a:gd name="connsiteY11" fmla="*/ 560275 h 585653"/>
                    <a:gd name="connsiteX12" fmla="*/ 1065764 w 1402495"/>
                    <a:gd name="connsiteY12" fmla="*/ 581671 h 585653"/>
                    <a:gd name="connsiteX13" fmla="*/ 1003277 w 1402495"/>
                    <a:gd name="connsiteY13" fmla="*/ 583202 h 585653"/>
                    <a:gd name="connsiteX14" fmla="*/ 903213 w 1402495"/>
                    <a:gd name="connsiteY14" fmla="*/ 585653 h 585653"/>
                    <a:gd name="connsiteX15" fmla="*/ 878127 w 1402495"/>
                    <a:gd name="connsiteY15" fmla="*/ 585287 h 585653"/>
                    <a:gd name="connsiteX16" fmla="*/ 878166 w 1402495"/>
                    <a:gd name="connsiteY16" fmla="*/ 584242 h 585653"/>
                    <a:gd name="connsiteX17" fmla="*/ 919050 w 1402495"/>
                    <a:gd name="connsiteY17" fmla="*/ 265153 h 585653"/>
                    <a:gd name="connsiteX18" fmla="*/ 924170 w 1402495"/>
                    <a:gd name="connsiteY18" fmla="*/ 244063 h 585653"/>
                    <a:gd name="connsiteX19" fmla="*/ 1037303 w 1402495"/>
                    <a:gd name="connsiteY19" fmla="*/ 238714 h 585653"/>
                    <a:gd name="connsiteX20" fmla="*/ 1075471 w 1402495"/>
                    <a:gd name="connsiteY20" fmla="*/ 236910 h 585653"/>
                    <a:gd name="connsiteX0" fmla="*/ 924170 w 1402413"/>
                    <a:gd name="connsiteY0" fmla="*/ 244062 h 585653"/>
                    <a:gd name="connsiteX1" fmla="*/ 919050 w 1402413"/>
                    <a:gd name="connsiteY1" fmla="*/ 265152 h 585653"/>
                    <a:gd name="connsiteX2" fmla="*/ 878166 w 1402413"/>
                    <a:gd name="connsiteY2" fmla="*/ 584241 h 585653"/>
                    <a:gd name="connsiteX3" fmla="*/ 878127 w 1402413"/>
                    <a:gd name="connsiteY3" fmla="*/ 585286 h 585653"/>
                    <a:gd name="connsiteX4" fmla="*/ 740322 w 1402413"/>
                    <a:gd name="connsiteY4" fmla="*/ 583280 h 585653"/>
                    <a:gd name="connsiteX5" fmla="*/ 3819 w 1402413"/>
                    <a:gd name="connsiteY5" fmla="*/ 360412 h 585653"/>
                    <a:gd name="connsiteX6" fmla="*/ 0 w 1402413"/>
                    <a:gd name="connsiteY6" fmla="*/ 0 h 585653"/>
                    <a:gd name="connsiteX7" fmla="*/ 911967 w 1402413"/>
                    <a:gd name="connsiteY7" fmla="*/ 244639 h 585653"/>
                    <a:gd name="connsiteX8" fmla="*/ 924170 w 1402413"/>
                    <a:gd name="connsiteY8" fmla="*/ 244062 h 585653"/>
                    <a:gd name="connsiteX9" fmla="*/ 1075471 w 1402413"/>
                    <a:gd name="connsiteY9" fmla="*/ 236910 h 585653"/>
                    <a:gd name="connsiteX10" fmla="*/ 1401265 w 1402413"/>
                    <a:gd name="connsiteY10" fmla="*/ 197996 h 585653"/>
                    <a:gd name="connsiteX11" fmla="*/ 1312157 w 1402413"/>
                    <a:gd name="connsiteY11" fmla="*/ 560478 h 585653"/>
                    <a:gd name="connsiteX12" fmla="*/ 1065764 w 1402413"/>
                    <a:gd name="connsiteY12" fmla="*/ 581671 h 585653"/>
                    <a:gd name="connsiteX13" fmla="*/ 1003277 w 1402413"/>
                    <a:gd name="connsiteY13" fmla="*/ 583202 h 585653"/>
                    <a:gd name="connsiteX14" fmla="*/ 903213 w 1402413"/>
                    <a:gd name="connsiteY14" fmla="*/ 585653 h 585653"/>
                    <a:gd name="connsiteX15" fmla="*/ 878127 w 1402413"/>
                    <a:gd name="connsiteY15" fmla="*/ 585287 h 585653"/>
                    <a:gd name="connsiteX16" fmla="*/ 878166 w 1402413"/>
                    <a:gd name="connsiteY16" fmla="*/ 584242 h 585653"/>
                    <a:gd name="connsiteX17" fmla="*/ 919050 w 1402413"/>
                    <a:gd name="connsiteY17" fmla="*/ 265153 h 585653"/>
                    <a:gd name="connsiteX18" fmla="*/ 924170 w 1402413"/>
                    <a:gd name="connsiteY18" fmla="*/ 244063 h 585653"/>
                    <a:gd name="connsiteX19" fmla="*/ 1037303 w 1402413"/>
                    <a:gd name="connsiteY19" fmla="*/ 238714 h 585653"/>
                    <a:gd name="connsiteX20" fmla="*/ 1075471 w 1402413"/>
                    <a:gd name="connsiteY20" fmla="*/ 236910 h 585653"/>
                    <a:gd name="connsiteX0" fmla="*/ 924170 w 1392717"/>
                    <a:gd name="connsiteY0" fmla="*/ 244062 h 585653"/>
                    <a:gd name="connsiteX1" fmla="*/ 919050 w 1392717"/>
                    <a:gd name="connsiteY1" fmla="*/ 265152 h 585653"/>
                    <a:gd name="connsiteX2" fmla="*/ 878166 w 1392717"/>
                    <a:gd name="connsiteY2" fmla="*/ 584241 h 585653"/>
                    <a:gd name="connsiteX3" fmla="*/ 878127 w 1392717"/>
                    <a:gd name="connsiteY3" fmla="*/ 585286 h 585653"/>
                    <a:gd name="connsiteX4" fmla="*/ 740322 w 1392717"/>
                    <a:gd name="connsiteY4" fmla="*/ 583280 h 585653"/>
                    <a:gd name="connsiteX5" fmla="*/ 3819 w 1392717"/>
                    <a:gd name="connsiteY5" fmla="*/ 360412 h 585653"/>
                    <a:gd name="connsiteX6" fmla="*/ 0 w 1392717"/>
                    <a:gd name="connsiteY6" fmla="*/ 0 h 585653"/>
                    <a:gd name="connsiteX7" fmla="*/ 911967 w 1392717"/>
                    <a:gd name="connsiteY7" fmla="*/ 244639 h 585653"/>
                    <a:gd name="connsiteX8" fmla="*/ 924170 w 1392717"/>
                    <a:gd name="connsiteY8" fmla="*/ 244062 h 585653"/>
                    <a:gd name="connsiteX9" fmla="*/ 1075471 w 1392717"/>
                    <a:gd name="connsiteY9" fmla="*/ 236910 h 585653"/>
                    <a:gd name="connsiteX10" fmla="*/ 1391417 w 1392717"/>
                    <a:gd name="connsiteY10" fmla="*/ 192519 h 585653"/>
                    <a:gd name="connsiteX11" fmla="*/ 1312157 w 1392717"/>
                    <a:gd name="connsiteY11" fmla="*/ 560478 h 585653"/>
                    <a:gd name="connsiteX12" fmla="*/ 1065764 w 1392717"/>
                    <a:gd name="connsiteY12" fmla="*/ 581671 h 585653"/>
                    <a:gd name="connsiteX13" fmla="*/ 1003277 w 1392717"/>
                    <a:gd name="connsiteY13" fmla="*/ 583202 h 585653"/>
                    <a:gd name="connsiteX14" fmla="*/ 903213 w 1392717"/>
                    <a:gd name="connsiteY14" fmla="*/ 585653 h 585653"/>
                    <a:gd name="connsiteX15" fmla="*/ 878127 w 1392717"/>
                    <a:gd name="connsiteY15" fmla="*/ 585287 h 585653"/>
                    <a:gd name="connsiteX16" fmla="*/ 878166 w 1392717"/>
                    <a:gd name="connsiteY16" fmla="*/ 584242 h 585653"/>
                    <a:gd name="connsiteX17" fmla="*/ 919050 w 1392717"/>
                    <a:gd name="connsiteY17" fmla="*/ 265153 h 585653"/>
                    <a:gd name="connsiteX18" fmla="*/ 924170 w 1392717"/>
                    <a:gd name="connsiteY18" fmla="*/ 244063 h 585653"/>
                    <a:gd name="connsiteX19" fmla="*/ 1037303 w 1392717"/>
                    <a:gd name="connsiteY19" fmla="*/ 238714 h 585653"/>
                    <a:gd name="connsiteX20" fmla="*/ 1075471 w 1392717"/>
                    <a:gd name="connsiteY20" fmla="*/ 236910 h 585653"/>
                    <a:gd name="connsiteX0" fmla="*/ 924170 w 1388200"/>
                    <a:gd name="connsiteY0" fmla="*/ 244062 h 585653"/>
                    <a:gd name="connsiteX1" fmla="*/ 919050 w 1388200"/>
                    <a:gd name="connsiteY1" fmla="*/ 265152 h 585653"/>
                    <a:gd name="connsiteX2" fmla="*/ 878166 w 1388200"/>
                    <a:gd name="connsiteY2" fmla="*/ 584241 h 585653"/>
                    <a:gd name="connsiteX3" fmla="*/ 878127 w 1388200"/>
                    <a:gd name="connsiteY3" fmla="*/ 585286 h 585653"/>
                    <a:gd name="connsiteX4" fmla="*/ 740322 w 1388200"/>
                    <a:gd name="connsiteY4" fmla="*/ 583280 h 585653"/>
                    <a:gd name="connsiteX5" fmla="*/ 3819 w 1388200"/>
                    <a:gd name="connsiteY5" fmla="*/ 360412 h 585653"/>
                    <a:gd name="connsiteX6" fmla="*/ 0 w 1388200"/>
                    <a:gd name="connsiteY6" fmla="*/ 0 h 585653"/>
                    <a:gd name="connsiteX7" fmla="*/ 911967 w 1388200"/>
                    <a:gd name="connsiteY7" fmla="*/ 244639 h 585653"/>
                    <a:gd name="connsiteX8" fmla="*/ 924170 w 1388200"/>
                    <a:gd name="connsiteY8" fmla="*/ 244062 h 585653"/>
                    <a:gd name="connsiteX9" fmla="*/ 1075471 w 1388200"/>
                    <a:gd name="connsiteY9" fmla="*/ 236910 h 585653"/>
                    <a:gd name="connsiteX10" fmla="*/ 1386814 w 1388200"/>
                    <a:gd name="connsiteY10" fmla="*/ 189320 h 585653"/>
                    <a:gd name="connsiteX11" fmla="*/ 1312157 w 1388200"/>
                    <a:gd name="connsiteY11" fmla="*/ 560478 h 585653"/>
                    <a:gd name="connsiteX12" fmla="*/ 1065764 w 1388200"/>
                    <a:gd name="connsiteY12" fmla="*/ 581671 h 585653"/>
                    <a:gd name="connsiteX13" fmla="*/ 1003277 w 1388200"/>
                    <a:gd name="connsiteY13" fmla="*/ 583202 h 585653"/>
                    <a:gd name="connsiteX14" fmla="*/ 903213 w 1388200"/>
                    <a:gd name="connsiteY14" fmla="*/ 585653 h 585653"/>
                    <a:gd name="connsiteX15" fmla="*/ 878127 w 1388200"/>
                    <a:gd name="connsiteY15" fmla="*/ 585287 h 585653"/>
                    <a:gd name="connsiteX16" fmla="*/ 878166 w 1388200"/>
                    <a:gd name="connsiteY16" fmla="*/ 584242 h 585653"/>
                    <a:gd name="connsiteX17" fmla="*/ 919050 w 1388200"/>
                    <a:gd name="connsiteY17" fmla="*/ 265153 h 585653"/>
                    <a:gd name="connsiteX18" fmla="*/ 924170 w 1388200"/>
                    <a:gd name="connsiteY18" fmla="*/ 244063 h 585653"/>
                    <a:gd name="connsiteX19" fmla="*/ 1037303 w 1388200"/>
                    <a:gd name="connsiteY19" fmla="*/ 238714 h 585653"/>
                    <a:gd name="connsiteX20" fmla="*/ 1075471 w 1388200"/>
                    <a:gd name="connsiteY20" fmla="*/ 236910 h 585653"/>
                    <a:gd name="connsiteX0" fmla="*/ 924170 w 1387069"/>
                    <a:gd name="connsiteY0" fmla="*/ 244062 h 585653"/>
                    <a:gd name="connsiteX1" fmla="*/ 919050 w 1387069"/>
                    <a:gd name="connsiteY1" fmla="*/ 265152 h 585653"/>
                    <a:gd name="connsiteX2" fmla="*/ 878166 w 1387069"/>
                    <a:gd name="connsiteY2" fmla="*/ 584241 h 585653"/>
                    <a:gd name="connsiteX3" fmla="*/ 878127 w 1387069"/>
                    <a:gd name="connsiteY3" fmla="*/ 585286 h 585653"/>
                    <a:gd name="connsiteX4" fmla="*/ 740322 w 1387069"/>
                    <a:gd name="connsiteY4" fmla="*/ 583280 h 585653"/>
                    <a:gd name="connsiteX5" fmla="*/ 3819 w 1387069"/>
                    <a:gd name="connsiteY5" fmla="*/ 360412 h 585653"/>
                    <a:gd name="connsiteX6" fmla="*/ 0 w 1387069"/>
                    <a:gd name="connsiteY6" fmla="*/ 0 h 585653"/>
                    <a:gd name="connsiteX7" fmla="*/ 911967 w 1387069"/>
                    <a:gd name="connsiteY7" fmla="*/ 244639 h 585653"/>
                    <a:gd name="connsiteX8" fmla="*/ 924170 w 1387069"/>
                    <a:gd name="connsiteY8" fmla="*/ 244062 h 585653"/>
                    <a:gd name="connsiteX9" fmla="*/ 1075471 w 1387069"/>
                    <a:gd name="connsiteY9" fmla="*/ 236910 h 585653"/>
                    <a:gd name="connsiteX10" fmla="*/ 1385660 w 1387069"/>
                    <a:gd name="connsiteY10" fmla="*/ 200806 h 585653"/>
                    <a:gd name="connsiteX11" fmla="*/ 1312157 w 1387069"/>
                    <a:gd name="connsiteY11" fmla="*/ 560478 h 585653"/>
                    <a:gd name="connsiteX12" fmla="*/ 1065764 w 1387069"/>
                    <a:gd name="connsiteY12" fmla="*/ 581671 h 585653"/>
                    <a:gd name="connsiteX13" fmla="*/ 1003277 w 1387069"/>
                    <a:gd name="connsiteY13" fmla="*/ 583202 h 585653"/>
                    <a:gd name="connsiteX14" fmla="*/ 903213 w 1387069"/>
                    <a:gd name="connsiteY14" fmla="*/ 585653 h 585653"/>
                    <a:gd name="connsiteX15" fmla="*/ 878127 w 1387069"/>
                    <a:gd name="connsiteY15" fmla="*/ 585287 h 585653"/>
                    <a:gd name="connsiteX16" fmla="*/ 878166 w 1387069"/>
                    <a:gd name="connsiteY16" fmla="*/ 584242 h 585653"/>
                    <a:gd name="connsiteX17" fmla="*/ 919050 w 1387069"/>
                    <a:gd name="connsiteY17" fmla="*/ 265153 h 585653"/>
                    <a:gd name="connsiteX18" fmla="*/ 924170 w 1387069"/>
                    <a:gd name="connsiteY18" fmla="*/ 244063 h 585653"/>
                    <a:gd name="connsiteX19" fmla="*/ 1037303 w 1387069"/>
                    <a:gd name="connsiteY19" fmla="*/ 238714 h 585653"/>
                    <a:gd name="connsiteX20" fmla="*/ 1075471 w 1387069"/>
                    <a:gd name="connsiteY20" fmla="*/ 236910 h 585653"/>
                    <a:gd name="connsiteX0" fmla="*/ 924170 w 1380146"/>
                    <a:gd name="connsiteY0" fmla="*/ 244062 h 585653"/>
                    <a:gd name="connsiteX1" fmla="*/ 919050 w 1380146"/>
                    <a:gd name="connsiteY1" fmla="*/ 265152 h 585653"/>
                    <a:gd name="connsiteX2" fmla="*/ 878166 w 1380146"/>
                    <a:gd name="connsiteY2" fmla="*/ 584241 h 585653"/>
                    <a:gd name="connsiteX3" fmla="*/ 878127 w 1380146"/>
                    <a:gd name="connsiteY3" fmla="*/ 585286 h 585653"/>
                    <a:gd name="connsiteX4" fmla="*/ 740322 w 1380146"/>
                    <a:gd name="connsiteY4" fmla="*/ 583280 h 585653"/>
                    <a:gd name="connsiteX5" fmla="*/ 3819 w 1380146"/>
                    <a:gd name="connsiteY5" fmla="*/ 360412 h 585653"/>
                    <a:gd name="connsiteX6" fmla="*/ 0 w 1380146"/>
                    <a:gd name="connsiteY6" fmla="*/ 0 h 585653"/>
                    <a:gd name="connsiteX7" fmla="*/ 911967 w 1380146"/>
                    <a:gd name="connsiteY7" fmla="*/ 244639 h 585653"/>
                    <a:gd name="connsiteX8" fmla="*/ 924170 w 1380146"/>
                    <a:gd name="connsiteY8" fmla="*/ 244062 h 585653"/>
                    <a:gd name="connsiteX9" fmla="*/ 1075471 w 1380146"/>
                    <a:gd name="connsiteY9" fmla="*/ 236910 h 585653"/>
                    <a:gd name="connsiteX10" fmla="*/ 1378575 w 1380146"/>
                    <a:gd name="connsiteY10" fmla="*/ 197248 h 585653"/>
                    <a:gd name="connsiteX11" fmla="*/ 1312157 w 1380146"/>
                    <a:gd name="connsiteY11" fmla="*/ 560478 h 585653"/>
                    <a:gd name="connsiteX12" fmla="*/ 1065764 w 1380146"/>
                    <a:gd name="connsiteY12" fmla="*/ 581671 h 585653"/>
                    <a:gd name="connsiteX13" fmla="*/ 1003277 w 1380146"/>
                    <a:gd name="connsiteY13" fmla="*/ 583202 h 585653"/>
                    <a:gd name="connsiteX14" fmla="*/ 903213 w 1380146"/>
                    <a:gd name="connsiteY14" fmla="*/ 585653 h 585653"/>
                    <a:gd name="connsiteX15" fmla="*/ 878127 w 1380146"/>
                    <a:gd name="connsiteY15" fmla="*/ 585287 h 585653"/>
                    <a:gd name="connsiteX16" fmla="*/ 878166 w 1380146"/>
                    <a:gd name="connsiteY16" fmla="*/ 584242 h 585653"/>
                    <a:gd name="connsiteX17" fmla="*/ 919050 w 1380146"/>
                    <a:gd name="connsiteY17" fmla="*/ 265153 h 585653"/>
                    <a:gd name="connsiteX18" fmla="*/ 924170 w 1380146"/>
                    <a:gd name="connsiteY18" fmla="*/ 244063 h 585653"/>
                    <a:gd name="connsiteX19" fmla="*/ 1037303 w 1380146"/>
                    <a:gd name="connsiteY19" fmla="*/ 238714 h 585653"/>
                    <a:gd name="connsiteX20" fmla="*/ 1075471 w 1380146"/>
                    <a:gd name="connsiteY20" fmla="*/ 236910 h 585653"/>
                    <a:gd name="connsiteX0" fmla="*/ 924170 w 1386794"/>
                    <a:gd name="connsiteY0" fmla="*/ 244062 h 585653"/>
                    <a:gd name="connsiteX1" fmla="*/ 919050 w 1386794"/>
                    <a:gd name="connsiteY1" fmla="*/ 265152 h 585653"/>
                    <a:gd name="connsiteX2" fmla="*/ 878166 w 1386794"/>
                    <a:gd name="connsiteY2" fmla="*/ 584241 h 585653"/>
                    <a:gd name="connsiteX3" fmla="*/ 878127 w 1386794"/>
                    <a:gd name="connsiteY3" fmla="*/ 585286 h 585653"/>
                    <a:gd name="connsiteX4" fmla="*/ 740322 w 1386794"/>
                    <a:gd name="connsiteY4" fmla="*/ 583280 h 585653"/>
                    <a:gd name="connsiteX5" fmla="*/ 3819 w 1386794"/>
                    <a:gd name="connsiteY5" fmla="*/ 360412 h 585653"/>
                    <a:gd name="connsiteX6" fmla="*/ 0 w 1386794"/>
                    <a:gd name="connsiteY6" fmla="*/ 0 h 585653"/>
                    <a:gd name="connsiteX7" fmla="*/ 911967 w 1386794"/>
                    <a:gd name="connsiteY7" fmla="*/ 244639 h 585653"/>
                    <a:gd name="connsiteX8" fmla="*/ 924170 w 1386794"/>
                    <a:gd name="connsiteY8" fmla="*/ 244062 h 585653"/>
                    <a:gd name="connsiteX9" fmla="*/ 1075471 w 1386794"/>
                    <a:gd name="connsiteY9" fmla="*/ 236910 h 585653"/>
                    <a:gd name="connsiteX10" fmla="*/ 1385379 w 1386794"/>
                    <a:gd name="connsiteY10" fmla="*/ 199246 h 585653"/>
                    <a:gd name="connsiteX11" fmla="*/ 1312157 w 1386794"/>
                    <a:gd name="connsiteY11" fmla="*/ 560478 h 585653"/>
                    <a:gd name="connsiteX12" fmla="*/ 1065764 w 1386794"/>
                    <a:gd name="connsiteY12" fmla="*/ 581671 h 585653"/>
                    <a:gd name="connsiteX13" fmla="*/ 1003277 w 1386794"/>
                    <a:gd name="connsiteY13" fmla="*/ 583202 h 585653"/>
                    <a:gd name="connsiteX14" fmla="*/ 903213 w 1386794"/>
                    <a:gd name="connsiteY14" fmla="*/ 585653 h 585653"/>
                    <a:gd name="connsiteX15" fmla="*/ 878127 w 1386794"/>
                    <a:gd name="connsiteY15" fmla="*/ 585287 h 585653"/>
                    <a:gd name="connsiteX16" fmla="*/ 878166 w 1386794"/>
                    <a:gd name="connsiteY16" fmla="*/ 584242 h 585653"/>
                    <a:gd name="connsiteX17" fmla="*/ 919050 w 1386794"/>
                    <a:gd name="connsiteY17" fmla="*/ 265153 h 585653"/>
                    <a:gd name="connsiteX18" fmla="*/ 924170 w 1386794"/>
                    <a:gd name="connsiteY18" fmla="*/ 244063 h 585653"/>
                    <a:gd name="connsiteX19" fmla="*/ 1037303 w 1386794"/>
                    <a:gd name="connsiteY19" fmla="*/ 238714 h 585653"/>
                    <a:gd name="connsiteX20" fmla="*/ 1075471 w 1386794"/>
                    <a:gd name="connsiteY20" fmla="*/ 236910 h 585653"/>
                    <a:gd name="connsiteX0" fmla="*/ 924170 w 1386813"/>
                    <a:gd name="connsiteY0" fmla="*/ 244062 h 585653"/>
                    <a:gd name="connsiteX1" fmla="*/ 919050 w 1386813"/>
                    <a:gd name="connsiteY1" fmla="*/ 265152 h 585653"/>
                    <a:gd name="connsiteX2" fmla="*/ 878166 w 1386813"/>
                    <a:gd name="connsiteY2" fmla="*/ 584241 h 585653"/>
                    <a:gd name="connsiteX3" fmla="*/ 878127 w 1386813"/>
                    <a:gd name="connsiteY3" fmla="*/ 585286 h 585653"/>
                    <a:gd name="connsiteX4" fmla="*/ 740322 w 1386813"/>
                    <a:gd name="connsiteY4" fmla="*/ 583280 h 585653"/>
                    <a:gd name="connsiteX5" fmla="*/ 3819 w 1386813"/>
                    <a:gd name="connsiteY5" fmla="*/ 360412 h 585653"/>
                    <a:gd name="connsiteX6" fmla="*/ 0 w 1386813"/>
                    <a:gd name="connsiteY6" fmla="*/ 0 h 585653"/>
                    <a:gd name="connsiteX7" fmla="*/ 911967 w 1386813"/>
                    <a:gd name="connsiteY7" fmla="*/ 244639 h 585653"/>
                    <a:gd name="connsiteX8" fmla="*/ 924170 w 1386813"/>
                    <a:gd name="connsiteY8" fmla="*/ 244062 h 585653"/>
                    <a:gd name="connsiteX9" fmla="*/ 1075471 w 1386813"/>
                    <a:gd name="connsiteY9" fmla="*/ 236910 h 585653"/>
                    <a:gd name="connsiteX10" fmla="*/ 1385379 w 1386813"/>
                    <a:gd name="connsiteY10" fmla="*/ 199246 h 585653"/>
                    <a:gd name="connsiteX11" fmla="*/ 1313078 w 1386813"/>
                    <a:gd name="connsiteY11" fmla="*/ 561118 h 585653"/>
                    <a:gd name="connsiteX12" fmla="*/ 1065764 w 1386813"/>
                    <a:gd name="connsiteY12" fmla="*/ 581671 h 585653"/>
                    <a:gd name="connsiteX13" fmla="*/ 1003277 w 1386813"/>
                    <a:gd name="connsiteY13" fmla="*/ 583202 h 585653"/>
                    <a:gd name="connsiteX14" fmla="*/ 903213 w 1386813"/>
                    <a:gd name="connsiteY14" fmla="*/ 585653 h 585653"/>
                    <a:gd name="connsiteX15" fmla="*/ 878127 w 1386813"/>
                    <a:gd name="connsiteY15" fmla="*/ 585287 h 585653"/>
                    <a:gd name="connsiteX16" fmla="*/ 878166 w 1386813"/>
                    <a:gd name="connsiteY16" fmla="*/ 584242 h 585653"/>
                    <a:gd name="connsiteX17" fmla="*/ 919050 w 1386813"/>
                    <a:gd name="connsiteY17" fmla="*/ 265153 h 585653"/>
                    <a:gd name="connsiteX18" fmla="*/ 924170 w 1386813"/>
                    <a:gd name="connsiteY18" fmla="*/ 244063 h 585653"/>
                    <a:gd name="connsiteX19" fmla="*/ 1037303 w 1386813"/>
                    <a:gd name="connsiteY19" fmla="*/ 238714 h 585653"/>
                    <a:gd name="connsiteX20" fmla="*/ 1075471 w 1386813"/>
                    <a:gd name="connsiteY20" fmla="*/ 236910 h 585653"/>
                    <a:gd name="connsiteX0" fmla="*/ 924170 w 1386995"/>
                    <a:gd name="connsiteY0" fmla="*/ 244062 h 585653"/>
                    <a:gd name="connsiteX1" fmla="*/ 919050 w 1386995"/>
                    <a:gd name="connsiteY1" fmla="*/ 265152 h 585653"/>
                    <a:gd name="connsiteX2" fmla="*/ 878166 w 1386995"/>
                    <a:gd name="connsiteY2" fmla="*/ 584241 h 585653"/>
                    <a:gd name="connsiteX3" fmla="*/ 878127 w 1386995"/>
                    <a:gd name="connsiteY3" fmla="*/ 585286 h 585653"/>
                    <a:gd name="connsiteX4" fmla="*/ 740322 w 1386995"/>
                    <a:gd name="connsiteY4" fmla="*/ 583280 h 585653"/>
                    <a:gd name="connsiteX5" fmla="*/ 3819 w 1386995"/>
                    <a:gd name="connsiteY5" fmla="*/ 360412 h 585653"/>
                    <a:gd name="connsiteX6" fmla="*/ 0 w 1386995"/>
                    <a:gd name="connsiteY6" fmla="*/ 0 h 585653"/>
                    <a:gd name="connsiteX7" fmla="*/ 911967 w 1386995"/>
                    <a:gd name="connsiteY7" fmla="*/ 244639 h 585653"/>
                    <a:gd name="connsiteX8" fmla="*/ 924170 w 1386995"/>
                    <a:gd name="connsiteY8" fmla="*/ 244062 h 585653"/>
                    <a:gd name="connsiteX9" fmla="*/ 1075471 w 1386995"/>
                    <a:gd name="connsiteY9" fmla="*/ 236910 h 585653"/>
                    <a:gd name="connsiteX10" fmla="*/ 1385379 w 1386995"/>
                    <a:gd name="connsiteY10" fmla="*/ 199246 h 585653"/>
                    <a:gd name="connsiteX11" fmla="*/ 1313078 w 1386995"/>
                    <a:gd name="connsiteY11" fmla="*/ 561118 h 585653"/>
                    <a:gd name="connsiteX12" fmla="*/ 1065764 w 1386995"/>
                    <a:gd name="connsiteY12" fmla="*/ 581671 h 585653"/>
                    <a:gd name="connsiteX13" fmla="*/ 1003277 w 1386995"/>
                    <a:gd name="connsiteY13" fmla="*/ 583202 h 585653"/>
                    <a:gd name="connsiteX14" fmla="*/ 903213 w 1386995"/>
                    <a:gd name="connsiteY14" fmla="*/ 585653 h 585653"/>
                    <a:gd name="connsiteX15" fmla="*/ 878127 w 1386995"/>
                    <a:gd name="connsiteY15" fmla="*/ 585287 h 585653"/>
                    <a:gd name="connsiteX16" fmla="*/ 878166 w 1386995"/>
                    <a:gd name="connsiteY16" fmla="*/ 584242 h 585653"/>
                    <a:gd name="connsiteX17" fmla="*/ 919050 w 1386995"/>
                    <a:gd name="connsiteY17" fmla="*/ 265153 h 585653"/>
                    <a:gd name="connsiteX18" fmla="*/ 924170 w 1386995"/>
                    <a:gd name="connsiteY18" fmla="*/ 244063 h 585653"/>
                    <a:gd name="connsiteX19" fmla="*/ 1037303 w 1386995"/>
                    <a:gd name="connsiteY19" fmla="*/ 238714 h 585653"/>
                    <a:gd name="connsiteX20" fmla="*/ 1075471 w 1386995"/>
                    <a:gd name="connsiteY20" fmla="*/ 236910 h 585653"/>
                    <a:gd name="connsiteX0" fmla="*/ 924170 w 1386920"/>
                    <a:gd name="connsiteY0" fmla="*/ 244062 h 585653"/>
                    <a:gd name="connsiteX1" fmla="*/ 919050 w 1386920"/>
                    <a:gd name="connsiteY1" fmla="*/ 265152 h 585653"/>
                    <a:gd name="connsiteX2" fmla="*/ 878166 w 1386920"/>
                    <a:gd name="connsiteY2" fmla="*/ 584241 h 585653"/>
                    <a:gd name="connsiteX3" fmla="*/ 878127 w 1386920"/>
                    <a:gd name="connsiteY3" fmla="*/ 585286 h 585653"/>
                    <a:gd name="connsiteX4" fmla="*/ 740322 w 1386920"/>
                    <a:gd name="connsiteY4" fmla="*/ 583280 h 585653"/>
                    <a:gd name="connsiteX5" fmla="*/ 3819 w 1386920"/>
                    <a:gd name="connsiteY5" fmla="*/ 360412 h 585653"/>
                    <a:gd name="connsiteX6" fmla="*/ 0 w 1386920"/>
                    <a:gd name="connsiteY6" fmla="*/ 0 h 585653"/>
                    <a:gd name="connsiteX7" fmla="*/ 911967 w 1386920"/>
                    <a:gd name="connsiteY7" fmla="*/ 244639 h 585653"/>
                    <a:gd name="connsiteX8" fmla="*/ 924170 w 1386920"/>
                    <a:gd name="connsiteY8" fmla="*/ 244062 h 585653"/>
                    <a:gd name="connsiteX9" fmla="*/ 1075471 w 1386920"/>
                    <a:gd name="connsiteY9" fmla="*/ 236910 h 585653"/>
                    <a:gd name="connsiteX10" fmla="*/ 1385379 w 1386920"/>
                    <a:gd name="connsiteY10" fmla="*/ 199246 h 585653"/>
                    <a:gd name="connsiteX11" fmla="*/ 1313078 w 1386920"/>
                    <a:gd name="connsiteY11" fmla="*/ 561118 h 585653"/>
                    <a:gd name="connsiteX12" fmla="*/ 1065764 w 1386920"/>
                    <a:gd name="connsiteY12" fmla="*/ 581671 h 585653"/>
                    <a:gd name="connsiteX13" fmla="*/ 1003277 w 1386920"/>
                    <a:gd name="connsiteY13" fmla="*/ 583202 h 585653"/>
                    <a:gd name="connsiteX14" fmla="*/ 903213 w 1386920"/>
                    <a:gd name="connsiteY14" fmla="*/ 585653 h 585653"/>
                    <a:gd name="connsiteX15" fmla="*/ 878127 w 1386920"/>
                    <a:gd name="connsiteY15" fmla="*/ 585287 h 585653"/>
                    <a:gd name="connsiteX16" fmla="*/ 878166 w 1386920"/>
                    <a:gd name="connsiteY16" fmla="*/ 584242 h 585653"/>
                    <a:gd name="connsiteX17" fmla="*/ 919050 w 1386920"/>
                    <a:gd name="connsiteY17" fmla="*/ 265153 h 585653"/>
                    <a:gd name="connsiteX18" fmla="*/ 924170 w 1386920"/>
                    <a:gd name="connsiteY18" fmla="*/ 244063 h 585653"/>
                    <a:gd name="connsiteX19" fmla="*/ 1037303 w 1386920"/>
                    <a:gd name="connsiteY19" fmla="*/ 238714 h 585653"/>
                    <a:gd name="connsiteX20" fmla="*/ 1075471 w 1386920"/>
                    <a:gd name="connsiteY20" fmla="*/ 236910 h 585653"/>
                    <a:gd name="connsiteX0" fmla="*/ 924170 w 1386871"/>
                    <a:gd name="connsiteY0" fmla="*/ 244062 h 585653"/>
                    <a:gd name="connsiteX1" fmla="*/ 919050 w 1386871"/>
                    <a:gd name="connsiteY1" fmla="*/ 265152 h 585653"/>
                    <a:gd name="connsiteX2" fmla="*/ 878166 w 1386871"/>
                    <a:gd name="connsiteY2" fmla="*/ 584241 h 585653"/>
                    <a:gd name="connsiteX3" fmla="*/ 878127 w 1386871"/>
                    <a:gd name="connsiteY3" fmla="*/ 585286 h 585653"/>
                    <a:gd name="connsiteX4" fmla="*/ 740322 w 1386871"/>
                    <a:gd name="connsiteY4" fmla="*/ 583280 h 585653"/>
                    <a:gd name="connsiteX5" fmla="*/ 3819 w 1386871"/>
                    <a:gd name="connsiteY5" fmla="*/ 360412 h 585653"/>
                    <a:gd name="connsiteX6" fmla="*/ 0 w 1386871"/>
                    <a:gd name="connsiteY6" fmla="*/ 0 h 585653"/>
                    <a:gd name="connsiteX7" fmla="*/ 911967 w 1386871"/>
                    <a:gd name="connsiteY7" fmla="*/ 244639 h 585653"/>
                    <a:gd name="connsiteX8" fmla="*/ 924170 w 1386871"/>
                    <a:gd name="connsiteY8" fmla="*/ 244062 h 585653"/>
                    <a:gd name="connsiteX9" fmla="*/ 1075471 w 1386871"/>
                    <a:gd name="connsiteY9" fmla="*/ 236910 h 585653"/>
                    <a:gd name="connsiteX10" fmla="*/ 1385379 w 1386871"/>
                    <a:gd name="connsiteY10" fmla="*/ 199246 h 585653"/>
                    <a:gd name="connsiteX11" fmla="*/ 1313078 w 1386871"/>
                    <a:gd name="connsiteY11" fmla="*/ 561118 h 585653"/>
                    <a:gd name="connsiteX12" fmla="*/ 1065764 w 1386871"/>
                    <a:gd name="connsiteY12" fmla="*/ 581671 h 585653"/>
                    <a:gd name="connsiteX13" fmla="*/ 1003277 w 1386871"/>
                    <a:gd name="connsiteY13" fmla="*/ 583202 h 585653"/>
                    <a:gd name="connsiteX14" fmla="*/ 903213 w 1386871"/>
                    <a:gd name="connsiteY14" fmla="*/ 585653 h 585653"/>
                    <a:gd name="connsiteX15" fmla="*/ 878127 w 1386871"/>
                    <a:gd name="connsiteY15" fmla="*/ 585287 h 585653"/>
                    <a:gd name="connsiteX16" fmla="*/ 878166 w 1386871"/>
                    <a:gd name="connsiteY16" fmla="*/ 584242 h 585653"/>
                    <a:gd name="connsiteX17" fmla="*/ 919050 w 1386871"/>
                    <a:gd name="connsiteY17" fmla="*/ 265153 h 585653"/>
                    <a:gd name="connsiteX18" fmla="*/ 924170 w 1386871"/>
                    <a:gd name="connsiteY18" fmla="*/ 244063 h 585653"/>
                    <a:gd name="connsiteX19" fmla="*/ 1037303 w 1386871"/>
                    <a:gd name="connsiteY19" fmla="*/ 238714 h 585653"/>
                    <a:gd name="connsiteX20" fmla="*/ 1075471 w 1386871"/>
                    <a:gd name="connsiteY20" fmla="*/ 236910 h 585653"/>
                    <a:gd name="connsiteX0" fmla="*/ 924170 w 1386991"/>
                    <a:gd name="connsiteY0" fmla="*/ 244062 h 585653"/>
                    <a:gd name="connsiteX1" fmla="*/ 919050 w 1386991"/>
                    <a:gd name="connsiteY1" fmla="*/ 265152 h 585653"/>
                    <a:gd name="connsiteX2" fmla="*/ 878166 w 1386991"/>
                    <a:gd name="connsiteY2" fmla="*/ 584241 h 585653"/>
                    <a:gd name="connsiteX3" fmla="*/ 878127 w 1386991"/>
                    <a:gd name="connsiteY3" fmla="*/ 585286 h 585653"/>
                    <a:gd name="connsiteX4" fmla="*/ 740322 w 1386991"/>
                    <a:gd name="connsiteY4" fmla="*/ 583280 h 585653"/>
                    <a:gd name="connsiteX5" fmla="*/ 3819 w 1386991"/>
                    <a:gd name="connsiteY5" fmla="*/ 360412 h 585653"/>
                    <a:gd name="connsiteX6" fmla="*/ 0 w 1386991"/>
                    <a:gd name="connsiteY6" fmla="*/ 0 h 585653"/>
                    <a:gd name="connsiteX7" fmla="*/ 911967 w 1386991"/>
                    <a:gd name="connsiteY7" fmla="*/ 244639 h 585653"/>
                    <a:gd name="connsiteX8" fmla="*/ 924170 w 1386991"/>
                    <a:gd name="connsiteY8" fmla="*/ 244062 h 585653"/>
                    <a:gd name="connsiteX9" fmla="*/ 1075471 w 1386991"/>
                    <a:gd name="connsiteY9" fmla="*/ 236910 h 585653"/>
                    <a:gd name="connsiteX10" fmla="*/ 1385379 w 1386991"/>
                    <a:gd name="connsiteY10" fmla="*/ 199246 h 585653"/>
                    <a:gd name="connsiteX11" fmla="*/ 1313078 w 1386991"/>
                    <a:gd name="connsiteY11" fmla="*/ 561118 h 585653"/>
                    <a:gd name="connsiteX12" fmla="*/ 1065764 w 1386991"/>
                    <a:gd name="connsiteY12" fmla="*/ 581671 h 585653"/>
                    <a:gd name="connsiteX13" fmla="*/ 1003277 w 1386991"/>
                    <a:gd name="connsiteY13" fmla="*/ 583202 h 585653"/>
                    <a:gd name="connsiteX14" fmla="*/ 903213 w 1386991"/>
                    <a:gd name="connsiteY14" fmla="*/ 585653 h 585653"/>
                    <a:gd name="connsiteX15" fmla="*/ 878127 w 1386991"/>
                    <a:gd name="connsiteY15" fmla="*/ 585287 h 585653"/>
                    <a:gd name="connsiteX16" fmla="*/ 878166 w 1386991"/>
                    <a:gd name="connsiteY16" fmla="*/ 584242 h 585653"/>
                    <a:gd name="connsiteX17" fmla="*/ 919050 w 1386991"/>
                    <a:gd name="connsiteY17" fmla="*/ 265153 h 585653"/>
                    <a:gd name="connsiteX18" fmla="*/ 924170 w 1386991"/>
                    <a:gd name="connsiteY18" fmla="*/ 244063 h 585653"/>
                    <a:gd name="connsiteX19" fmla="*/ 1037303 w 1386991"/>
                    <a:gd name="connsiteY19" fmla="*/ 238714 h 585653"/>
                    <a:gd name="connsiteX20" fmla="*/ 1075471 w 1386991"/>
                    <a:gd name="connsiteY20" fmla="*/ 236910 h 585653"/>
                    <a:gd name="connsiteX0" fmla="*/ 924170 w 1387060"/>
                    <a:gd name="connsiteY0" fmla="*/ 244062 h 585653"/>
                    <a:gd name="connsiteX1" fmla="*/ 919050 w 1387060"/>
                    <a:gd name="connsiteY1" fmla="*/ 265152 h 585653"/>
                    <a:gd name="connsiteX2" fmla="*/ 878166 w 1387060"/>
                    <a:gd name="connsiteY2" fmla="*/ 584241 h 585653"/>
                    <a:gd name="connsiteX3" fmla="*/ 878127 w 1387060"/>
                    <a:gd name="connsiteY3" fmla="*/ 585286 h 585653"/>
                    <a:gd name="connsiteX4" fmla="*/ 740322 w 1387060"/>
                    <a:gd name="connsiteY4" fmla="*/ 583280 h 585653"/>
                    <a:gd name="connsiteX5" fmla="*/ 3819 w 1387060"/>
                    <a:gd name="connsiteY5" fmla="*/ 360412 h 585653"/>
                    <a:gd name="connsiteX6" fmla="*/ 0 w 1387060"/>
                    <a:gd name="connsiteY6" fmla="*/ 0 h 585653"/>
                    <a:gd name="connsiteX7" fmla="*/ 911967 w 1387060"/>
                    <a:gd name="connsiteY7" fmla="*/ 244639 h 585653"/>
                    <a:gd name="connsiteX8" fmla="*/ 924170 w 1387060"/>
                    <a:gd name="connsiteY8" fmla="*/ 244062 h 585653"/>
                    <a:gd name="connsiteX9" fmla="*/ 1075471 w 1387060"/>
                    <a:gd name="connsiteY9" fmla="*/ 236910 h 585653"/>
                    <a:gd name="connsiteX10" fmla="*/ 1385379 w 1387060"/>
                    <a:gd name="connsiteY10" fmla="*/ 199246 h 585653"/>
                    <a:gd name="connsiteX11" fmla="*/ 1315560 w 1387060"/>
                    <a:gd name="connsiteY11" fmla="*/ 561477 h 585653"/>
                    <a:gd name="connsiteX12" fmla="*/ 1065764 w 1387060"/>
                    <a:gd name="connsiteY12" fmla="*/ 581671 h 585653"/>
                    <a:gd name="connsiteX13" fmla="*/ 1003277 w 1387060"/>
                    <a:gd name="connsiteY13" fmla="*/ 583202 h 585653"/>
                    <a:gd name="connsiteX14" fmla="*/ 903213 w 1387060"/>
                    <a:gd name="connsiteY14" fmla="*/ 585653 h 585653"/>
                    <a:gd name="connsiteX15" fmla="*/ 878127 w 1387060"/>
                    <a:gd name="connsiteY15" fmla="*/ 585287 h 585653"/>
                    <a:gd name="connsiteX16" fmla="*/ 878166 w 1387060"/>
                    <a:gd name="connsiteY16" fmla="*/ 584242 h 585653"/>
                    <a:gd name="connsiteX17" fmla="*/ 919050 w 1387060"/>
                    <a:gd name="connsiteY17" fmla="*/ 265153 h 585653"/>
                    <a:gd name="connsiteX18" fmla="*/ 924170 w 1387060"/>
                    <a:gd name="connsiteY18" fmla="*/ 244063 h 585653"/>
                    <a:gd name="connsiteX19" fmla="*/ 1037303 w 1387060"/>
                    <a:gd name="connsiteY19" fmla="*/ 238714 h 585653"/>
                    <a:gd name="connsiteX20" fmla="*/ 1075471 w 1387060"/>
                    <a:gd name="connsiteY20" fmla="*/ 236910 h 585653"/>
                    <a:gd name="connsiteX0" fmla="*/ 924170 w 1387163"/>
                    <a:gd name="connsiteY0" fmla="*/ 244062 h 585653"/>
                    <a:gd name="connsiteX1" fmla="*/ 919050 w 1387163"/>
                    <a:gd name="connsiteY1" fmla="*/ 265152 h 585653"/>
                    <a:gd name="connsiteX2" fmla="*/ 878166 w 1387163"/>
                    <a:gd name="connsiteY2" fmla="*/ 584241 h 585653"/>
                    <a:gd name="connsiteX3" fmla="*/ 878127 w 1387163"/>
                    <a:gd name="connsiteY3" fmla="*/ 585286 h 585653"/>
                    <a:gd name="connsiteX4" fmla="*/ 740322 w 1387163"/>
                    <a:gd name="connsiteY4" fmla="*/ 583280 h 585653"/>
                    <a:gd name="connsiteX5" fmla="*/ 3819 w 1387163"/>
                    <a:gd name="connsiteY5" fmla="*/ 360412 h 585653"/>
                    <a:gd name="connsiteX6" fmla="*/ 0 w 1387163"/>
                    <a:gd name="connsiteY6" fmla="*/ 0 h 585653"/>
                    <a:gd name="connsiteX7" fmla="*/ 911967 w 1387163"/>
                    <a:gd name="connsiteY7" fmla="*/ 244639 h 585653"/>
                    <a:gd name="connsiteX8" fmla="*/ 924170 w 1387163"/>
                    <a:gd name="connsiteY8" fmla="*/ 244062 h 585653"/>
                    <a:gd name="connsiteX9" fmla="*/ 1075471 w 1387163"/>
                    <a:gd name="connsiteY9" fmla="*/ 236910 h 585653"/>
                    <a:gd name="connsiteX10" fmla="*/ 1385379 w 1387163"/>
                    <a:gd name="connsiteY10" fmla="*/ 199246 h 585653"/>
                    <a:gd name="connsiteX11" fmla="*/ 1315560 w 1387163"/>
                    <a:gd name="connsiteY11" fmla="*/ 561477 h 585653"/>
                    <a:gd name="connsiteX12" fmla="*/ 1065764 w 1387163"/>
                    <a:gd name="connsiteY12" fmla="*/ 581671 h 585653"/>
                    <a:gd name="connsiteX13" fmla="*/ 1003277 w 1387163"/>
                    <a:gd name="connsiteY13" fmla="*/ 583202 h 585653"/>
                    <a:gd name="connsiteX14" fmla="*/ 903213 w 1387163"/>
                    <a:gd name="connsiteY14" fmla="*/ 585653 h 585653"/>
                    <a:gd name="connsiteX15" fmla="*/ 878127 w 1387163"/>
                    <a:gd name="connsiteY15" fmla="*/ 585287 h 585653"/>
                    <a:gd name="connsiteX16" fmla="*/ 878166 w 1387163"/>
                    <a:gd name="connsiteY16" fmla="*/ 584242 h 585653"/>
                    <a:gd name="connsiteX17" fmla="*/ 919050 w 1387163"/>
                    <a:gd name="connsiteY17" fmla="*/ 265153 h 585653"/>
                    <a:gd name="connsiteX18" fmla="*/ 924170 w 1387163"/>
                    <a:gd name="connsiteY18" fmla="*/ 244063 h 585653"/>
                    <a:gd name="connsiteX19" fmla="*/ 1037303 w 1387163"/>
                    <a:gd name="connsiteY19" fmla="*/ 238714 h 585653"/>
                    <a:gd name="connsiteX20" fmla="*/ 1075471 w 1387163"/>
                    <a:gd name="connsiteY20" fmla="*/ 236910 h 585653"/>
                    <a:gd name="connsiteX0" fmla="*/ 924170 w 1395018"/>
                    <a:gd name="connsiteY0" fmla="*/ 244062 h 585653"/>
                    <a:gd name="connsiteX1" fmla="*/ 919050 w 1395018"/>
                    <a:gd name="connsiteY1" fmla="*/ 265152 h 585653"/>
                    <a:gd name="connsiteX2" fmla="*/ 878166 w 1395018"/>
                    <a:gd name="connsiteY2" fmla="*/ 584241 h 585653"/>
                    <a:gd name="connsiteX3" fmla="*/ 878127 w 1395018"/>
                    <a:gd name="connsiteY3" fmla="*/ 585286 h 585653"/>
                    <a:gd name="connsiteX4" fmla="*/ 740322 w 1395018"/>
                    <a:gd name="connsiteY4" fmla="*/ 583280 h 585653"/>
                    <a:gd name="connsiteX5" fmla="*/ 3819 w 1395018"/>
                    <a:gd name="connsiteY5" fmla="*/ 360412 h 585653"/>
                    <a:gd name="connsiteX6" fmla="*/ 0 w 1395018"/>
                    <a:gd name="connsiteY6" fmla="*/ 0 h 585653"/>
                    <a:gd name="connsiteX7" fmla="*/ 911967 w 1395018"/>
                    <a:gd name="connsiteY7" fmla="*/ 244639 h 585653"/>
                    <a:gd name="connsiteX8" fmla="*/ 924170 w 1395018"/>
                    <a:gd name="connsiteY8" fmla="*/ 244062 h 585653"/>
                    <a:gd name="connsiteX9" fmla="*/ 1075471 w 1395018"/>
                    <a:gd name="connsiteY9" fmla="*/ 236910 h 585653"/>
                    <a:gd name="connsiteX10" fmla="*/ 1393463 w 1395018"/>
                    <a:gd name="connsiteY10" fmla="*/ 199402 h 585653"/>
                    <a:gd name="connsiteX11" fmla="*/ 1315560 w 1395018"/>
                    <a:gd name="connsiteY11" fmla="*/ 561477 h 585653"/>
                    <a:gd name="connsiteX12" fmla="*/ 1065764 w 1395018"/>
                    <a:gd name="connsiteY12" fmla="*/ 581671 h 585653"/>
                    <a:gd name="connsiteX13" fmla="*/ 1003277 w 1395018"/>
                    <a:gd name="connsiteY13" fmla="*/ 583202 h 585653"/>
                    <a:gd name="connsiteX14" fmla="*/ 903213 w 1395018"/>
                    <a:gd name="connsiteY14" fmla="*/ 585653 h 585653"/>
                    <a:gd name="connsiteX15" fmla="*/ 878127 w 1395018"/>
                    <a:gd name="connsiteY15" fmla="*/ 585287 h 585653"/>
                    <a:gd name="connsiteX16" fmla="*/ 878166 w 1395018"/>
                    <a:gd name="connsiteY16" fmla="*/ 584242 h 585653"/>
                    <a:gd name="connsiteX17" fmla="*/ 919050 w 1395018"/>
                    <a:gd name="connsiteY17" fmla="*/ 265153 h 585653"/>
                    <a:gd name="connsiteX18" fmla="*/ 924170 w 1395018"/>
                    <a:gd name="connsiteY18" fmla="*/ 244063 h 585653"/>
                    <a:gd name="connsiteX19" fmla="*/ 1037303 w 1395018"/>
                    <a:gd name="connsiteY19" fmla="*/ 238714 h 585653"/>
                    <a:gd name="connsiteX20" fmla="*/ 1075471 w 1395018"/>
                    <a:gd name="connsiteY20" fmla="*/ 236910 h 585653"/>
                    <a:gd name="connsiteX0" fmla="*/ 924170 w 1393463"/>
                    <a:gd name="connsiteY0" fmla="*/ 244062 h 585653"/>
                    <a:gd name="connsiteX1" fmla="*/ 919050 w 1393463"/>
                    <a:gd name="connsiteY1" fmla="*/ 265152 h 585653"/>
                    <a:gd name="connsiteX2" fmla="*/ 878166 w 1393463"/>
                    <a:gd name="connsiteY2" fmla="*/ 584241 h 585653"/>
                    <a:gd name="connsiteX3" fmla="*/ 878127 w 1393463"/>
                    <a:gd name="connsiteY3" fmla="*/ 585286 h 585653"/>
                    <a:gd name="connsiteX4" fmla="*/ 740322 w 1393463"/>
                    <a:gd name="connsiteY4" fmla="*/ 583280 h 585653"/>
                    <a:gd name="connsiteX5" fmla="*/ 3819 w 1393463"/>
                    <a:gd name="connsiteY5" fmla="*/ 360412 h 585653"/>
                    <a:gd name="connsiteX6" fmla="*/ 0 w 1393463"/>
                    <a:gd name="connsiteY6" fmla="*/ 0 h 585653"/>
                    <a:gd name="connsiteX7" fmla="*/ 911967 w 1393463"/>
                    <a:gd name="connsiteY7" fmla="*/ 244639 h 585653"/>
                    <a:gd name="connsiteX8" fmla="*/ 924170 w 1393463"/>
                    <a:gd name="connsiteY8" fmla="*/ 244062 h 585653"/>
                    <a:gd name="connsiteX9" fmla="*/ 1075471 w 1393463"/>
                    <a:gd name="connsiteY9" fmla="*/ 236910 h 585653"/>
                    <a:gd name="connsiteX10" fmla="*/ 1393463 w 1393463"/>
                    <a:gd name="connsiteY10" fmla="*/ 199402 h 585653"/>
                    <a:gd name="connsiteX11" fmla="*/ 1315560 w 1393463"/>
                    <a:gd name="connsiteY11" fmla="*/ 561477 h 585653"/>
                    <a:gd name="connsiteX12" fmla="*/ 1065764 w 1393463"/>
                    <a:gd name="connsiteY12" fmla="*/ 581671 h 585653"/>
                    <a:gd name="connsiteX13" fmla="*/ 1003277 w 1393463"/>
                    <a:gd name="connsiteY13" fmla="*/ 583202 h 585653"/>
                    <a:gd name="connsiteX14" fmla="*/ 903213 w 1393463"/>
                    <a:gd name="connsiteY14" fmla="*/ 585653 h 585653"/>
                    <a:gd name="connsiteX15" fmla="*/ 878127 w 1393463"/>
                    <a:gd name="connsiteY15" fmla="*/ 585287 h 585653"/>
                    <a:gd name="connsiteX16" fmla="*/ 878166 w 1393463"/>
                    <a:gd name="connsiteY16" fmla="*/ 584242 h 585653"/>
                    <a:gd name="connsiteX17" fmla="*/ 919050 w 1393463"/>
                    <a:gd name="connsiteY17" fmla="*/ 265153 h 585653"/>
                    <a:gd name="connsiteX18" fmla="*/ 924170 w 1393463"/>
                    <a:gd name="connsiteY18" fmla="*/ 244063 h 585653"/>
                    <a:gd name="connsiteX19" fmla="*/ 1037303 w 1393463"/>
                    <a:gd name="connsiteY19" fmla="*/ 238714 h 585653"/>
                    <a:gd name="connsiteX20" fmla="*/ 1075471 w 1393463"/>
                    <a:gd name="connsiteY20" fmla="*/ 236910 h 585653"/>
                    <a:gd name="connsiteX0" fmla="*/ 924170 w 1393463"/>
                    <a:gd name="connsiteY0" fmla="*/ 244062 h 585653"/>
                    <a:gd name="connsiteX1" fmla="*/ 919050 w 1393463"/>
                    <a:gd name="connsiteY1" fmla="*/ 265152 h 585653"/>
                    <a:gd name="connsiteX2" fmla="*/ 878166 w 1393463"/>
                    <a:gd name="connsiteY2" fmla="*/ 584241 h 585653"/>
                    <a:gd name="connsiteX3" fmla="*/ 878127 w 1393463"/>
                    <a:gd name="connsiteY3" fmla="*/ 585286 h 585653"/>
                    <a:gd name="connsiteX4" fmla="*/ 740322 w 1393463"/>
                    <a:gd name="connsiteY4" fmla="*/ 583280 h 585653"/>
                    <a:gd name="connsiteX5" fmla="*/ 3819 w 1393463"/>
                    <a:gd name="connsiteY5" fmla="*/ 360412 h 585653"/>
                    <a:gd name="connsiteX6" fmla="*/ 0 w 1393463"/>
                    <a:gd name="connsiteY6" fmla="*/ 0 h 585653"/>
                    <a:gd name="connsiteX7" fmla="*/ 911967 w 1393463"/>
                    <a:gd name="connsiteY7" fmla="*/ 244639 h 585653"/>
                    <a:gd name="connsiteX8" fmla="*/ 924170 w 1393463"/>
                    <a:gd name="connsiteY8" fmla="*/ 244062 h 585653"/>
                    <a:gd name="connsiteX9" fmla="*/ 1075471 w 1393463"/>
                    <a:gd name="connsiteY9" fmla="*/ 236910 h 585653"/>
                    <a:gd name="connsiteX10" fmla="*/ 1393463 w 1393463"/>
                    <a:gd name="connsiteY10" fmla="*/ 199402 h 585653"/>
                    <a:gd name="connsiteX11" fmla="*/ 1315560 w 1393463"/>
                    <a:gd name="connsiteY11" fmla="*/ 561477 h 585653"/>
                    <a:gd name="connsiteX12" fmla="*/ 1065764 w 1393463"/>
                    <a:gd name="connsiteY12" fmla="*/ 581671 h 585653"/>
                    <a:gd name="connsiteX13" fmla="*/ 1003277 w 1393463"/>
                    <a:gd name="connsiteY13" fmla="*/ 583202 h 585653"/>
                    <a:gd name="connsiteX14" fmla="*/ 903213 w 1393463"/>
                    <a:gd name="connsiteY14" fmla="*/ 585653 h 585653"/>
                    <a:gd name="connsiteX15" fmla="*/ 878127 w 1393463"/>
                    <a:gd name="connsiteY15" fmla="*/ 585287 h 585653"/>
                    <a:gd name="connsiteX16" fmla="*/ 878166 w 1393463"/>
                    <a:gd name="connsiteY16" fmla="*/ 584242 h 585653"/>
                    <a:gd name="connsiteX17" fmla="*/ 919050 w 1393463"/>
                    <a:gd name="connsiteY17" fmla="*/ 265153 h 585653"/>
                    <a:gd name="connsiteX18" fmla="*/ 924170 w 1393463"/>
                    <a:gd name="connsiteY18" fmla="*/ 244063 h 585653"/>
                    <a:gd name="connsiteX19" fmla="*/ 1037303 w 1393463"/>
                    <a:gd name="connsiteY19" fmla="*/ 238714 h 585653"/>
                    <a:gd name="connsiteX20" fmla="*/ 1075471 w 1393463"/>
                    <a:gd name="connsiteY20" fmla="*/ 236910 h 585653"/>
                    <a:gd name="connsiteX0" fmla="*/ 924170 w 1393463"/>
                    <a:gd name="connsiteY0" fmla="*/ 244062 h 585653"/>
                    <a:gd name="connsiteX1" fmla="*/ 919050 w 1393463"/>
                    <a:gd name="connsiteY1" fmla="*/ 265152 h 585653"/>
                    <a:gd name="connsiteX2" fmla="*/ 878166 w 1393463"/>
                    <a:gd name="connsiteY2" fmla="*/ 584241 h 585653"/>
                    <a:gd name="connsiteX3" fmla="*/ 878127 w 1393463"/>
                    <a:gd name="connsiteY3" fmla="*/ 585286 h 585653"/>
                    <a:gd name="connsiteX4" fmla="*/ 740322 w 1393463"/>
                    <a:gd name="connsiteY4" fmla="*/ 583280 h 585653"/>
                    <a:gd name="connsiteX5" fmla="*/ 3819 w 1393463"/>
                    <a:gd name="connsiteY5" fmla="*/ 360412 h 585653"/>
                    <a:gd name="connsiteX6" fmla="*/ 0 w 1393463"/>
                    <a:gd name="connsiteY6" fmla="*/ 0 h 585653"/>
                    <a:gd name="connsiteX7" fmla="*/ 911967 w 1393463"/>
                    <a:gd name="connsiteY7" fmla="*/ 244639 h 585653"/>
                    <a:gd name="connsiteX8" fmla="*/ 924170 w 1393463"/>
                    <a:gd name="connsiteY8" fmla="*/ 244062 h 585653"/>
                    <a:gd name="connsiteX9" fmla="*/ 1075471 w 1393463"/>
                    <a:gd name="connsiteY9" fmla="*/ 236910 h 585653"/>
                    <a:gd name="connsiteX10" fmla="*/ 1393463 w 1393463"/>
                    <a:gd name="connsiteY10" fmla="*/ 199402 h 585653"/>
                    <a:gd name="connsiteX11" fmla="*/ 1315560 w 1393463"/>
                    <a:gd name="connsiteY11" fmla="*/ 561477 h 585653"/>
                    <a:gd name="connsiteX12" fmla="*/ 1065764 w 1393463"/>
                    <a:gd name="connsiteY12" fmla="*/ 581671 h 585653"/>
                    <a:gd name="connsiteX13" fmla="*/ 1003277 w 1393463"/>
                    <a:gd name="connsiteY13" fmla="*/ 583202 h 585653"/>
                    <a:gd name="connsiteX14" fmla="*/ 903213 w 1393463"/>
                    <a:gd name="connsiteY14" fmla="*/ 585653 h 585653"/>
                    <a:gd name="connsiteX15" fmla="*/ 878127 w 1393463"/>
                    <a:gd name="connsiteY15" fmla="*/ 585287 h 585653"/>
                    <a:gd name="connsiteX16" fmla="*/ 878166 w 1393463"/>
                    <a:gd name="connsiteY16" fmla="*/ 584242 h 585653"/>
                    <a:gd name="connsiteX17" fmla="*/ 919050 w 1393463"/>
                    <a:gd name="connsiteY17" fmla="*/ 265153 h 585653"/>
                    <a:gd name="connsiteX18" fmla="*/ 924170 w 1393463"/>
                    <a:gd name="connsiteY18" fmla="*/ 244063 h 585653"/>
                    <a:gd name="connsiteX19" fmla="*/ 1037303 w 1393463"/>
                    <a:gd name="connsiteY19" fmla="*/ 238714 h 585653"/>
                    <a:gd name="connsiteX20" fmla="*/ 1075471 w 1393463"/>
                    <a:gd name="connsiteY20" fmla="*/ 236910 h 585653"/>
                    <a:gd name="connsiteX0" fmla="*/ 924170 w 1393463"/>
                    <a:gd name="connsiteY0" fmla="*/ 244062 h 585653"/>
                    <a:gd name="connsiteX1" fmla="*/ 919050 w 1393463"/>
                    <a:gd name="connsiteY1" fmla="*/ 265152 h 585653"/>
                    <a:gd name="connsiteX2" fmla="*/ 878166 w 1393463"/>
                    <a:gd name="connsiteY2" fmla="*/ 584241 h 585653"/>
                    <a:gd name="connsiteX3" fmla="*/ 878127 w 1393463"/>
                    <a:gd name="connsiteY3" fmla="*/ 585286 h 585653"/>
                    <a:gd name="connsiteX4" fmla="*/ 740322 w 1393463"/>
                    <a:gd name="connsiteY4" fmla="*/ 583280 h 585653"/>
                    <a:gd name="connsiteX5" fmla="*/ 3819 w 1393463"/>
                    <a:gd name="connsiteY5" fmla="*/ 360412 h 585653"/>
                    <a:gd name="connsiteX6" fmla="*/ 0 w 1393463"/>
                    <a:gd name="connsiteY6" fmla="*/ 0 h 585653"/>
                    <a:gd name="connsiteX7" fmla="*/ 911967 w 1393463"/>
                    <a:gd name="connsiteY7" fmla="*/ 244639 h 585653"/>
                    <a:gd name="connsiteX8" fmla="*/ 924170 w 1393463"/>
                    <a:gd name="connsiteY8" fmla="*/ 244062 h 585653"/>
                    <a:gd name="connsiteX9" fmla="*/ 1075471 w 1393463"/>
                    <a:gd name="connsiteY9" fmla="*/ 236910 h 585653"/>
                    <a:gd name="connsiteX10" fmla="*/ 1393463 w 1393463"/>
                    <a:gd name="connsiteY10" fmla="*/ 199402 h 585653"/>
                    <a:gd name="connsiteX11" fmla="*/ 1315560 w 1393463"/>
                    <a:gd name="connsiteY11" fmla="*/ 561477 h 585653"/>
                    <a:gd name="connsiteX12" fmla="*/ 1065764 w 1393463"/>
                    <a:gd name="connsiteY12" fmla="*/ 581671 h 585653"/>
                    <a:gd name="connsiteX13" fmla="*/ 1003277 w 1393463"/>
                    <a:gd name="connsiteY13" fmla="*/ 583202 h 585653"/>
                    <a:gd name="connsiteX14" fmla="*/ 903213 w 1393463"/>
                    <a:gd name="connsiteY14" fmla="*/ 585653 h 585653"/>
                    <a:gd name="connsiteX15" fmla="*/ 878127 w 1393463"/>
                    <a:gd name="connsiteY15" fmla="*/ 585287 h 585653"/>
                    <a:gd name="connsiteX16" fmla="*/ 878166 w 1393463"/>
                    <a:gd name="connsiteY16" fmla="*/ 584242 h 585653"/>
                    <a:gd name="connsiteX17" fmla="*/ 919050 w 1393463"/>
                    <a:gd name="connsiteY17" fmla="*/ 265153 h 585653"/>
                    <a:gd name="connsiteX18" fmla="*/ 924170 w 1393463"/>
                    <a:gd name="connsiteY18" fmla="*/ 244063 h 585653"/>
                    <a:gd name="connsiteX19" fmla="*/ 1037303 w 1393463"/>
                    <a:gd name="connsiteY19" fmla="*/ 238714 h 585653"/>
                    <a:gd name="connsiteX20" fmla="*/ 1075471 w 1393463"/>
                    <a:gd name="connsiteY20" fmla="*/ 236910 h 585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93463" h="585653">
                      <a:moveTo>
                        <a:pt x="924170" y="244062"/>
                      </a:moveTo>
                      <a:lnTo>
                        <a:pt x="919050" y="265152"/>
                      </a:lnTo>
                      <a:cubicBezTo>
                        <a:pt x="900040" y="360039"/>
                        <a:pt x="885946" y="467995"/>
                        <a:pt x="878166" y="584241"/>
                      </a:cubicBezTo>
                      <a:cubicBezTo>
                        <a:pt x="878153" y="584589"/>
                        <a:pt x="878140" y="584938"/>
                        <a:pt x="878127" y="585286"/>
                      </a:cubicBezTo>
                      <a:lnTo>
                        <a:pt x="740322" y="583280"/>
                      </a:lnTo>
                      <a:cubicBezTo>
                        <a:pt x="363676" y="570068"/>
                        <a:pt x="24438" y="502205"/>
                        <a:pt x="3819" y="360412"/>
                      </a:cubicBezTo>
                      <a:cubicBezTo>
                        <a:pt x="2540" y="242520"/>
                        <a:pt x="1280" y="117893"/>
                        <a:pt x="0" y="0"/>
                      </a:cubicBezTo>
                      <a:cubicBezTo>
                        <a:pt x="25740" y="187873"/>
                        <a:pt x="472748" y="255625"/>
                        <a:pt x="911967" y="244639"/>
                      </a:cubicBezTo>
                      <a:lnTo>
                        <a:pt x="924170" y="244062"/>
                      </a:lnTo>
                      <a:close/>
                      <a:moveTo>
                        <a:pt x="1075471" y="236910"/>
                      </a:moveTo>
                      <a:lnTo>
                        <a:pt x="1393463" y="199402"/>
                      </a:lnTo>
                      <a:cubicBezTo>
                        <a:pt x="1392389" y="270741"/>
                        <a:pt x="1359188" y="491483"/>
                        <a:pt x="1315560" y="561477"/>
                      </a:cubicBezTo>
                      <a:cubicBezTo>
                        <a:pt x="1286033" y="580258"/>
                        <a:pt x="1106406" y="579322"/>
                        <a:pt x="1065764" y="581671"/>
                      </a:cubicBezTo>
                      <a:lnTo>
                        <a:pt x="1003277" y="583202"/>
                      </a:lnTo>
                      <a:lnTo>
                        <a:pt x="903213" y="585653"/>
                      </a:lnTo>
                      <a:lnTo>
                        <a:pt x="878127" y="585287"/>
                      </a:lnTo>
                      <a:cubicBezTo>
                        <a:pt x="878140" y="584939"/>
                        <a:pt x="878153" y="584590"/>
                        <a:pt x="878166" y="584242"/>
                      </a:cubicBezTo>
                      <a:cubicBezTo>
                        <a:pt x="885946" y="467996"/>
                        <a:pt x="900040" y="360040"/>
                        <a:pt x="919050" y="265153"/>
                      </a:cubicBezTo>
                      <a:lnTo>
                        <a:pt x="924170" y="244063"/>
                      </a:lnTo>
                      <a:lnTo>
                        <a:pt x="1037303" y="238714"/>
                      </a:lnTo>
                      <a:lnTo>
                        <a:pt x="1075471" y="236910"/>
                      </a:lnTo>
                      <a:close/>
                    </a:path>
                  </a:pathLst>
                </a:custGeom>
                <a:gradFill flip="none" rotWithShape="1">
                  <a:gsLst>
                    <a:gs pos="78774">
                      <a:srgbClr val="7B97C1"/>
                    </a:gs>
                    <a:gs pos="27000">
                      <a:srgbClr val="7B97C1"/>
                    </a:gs>
                    <a:gs pos="0">
                      <a:srgbClr val="00338D"/>
                    </a:gs>
                    <a:gs pos="100000">
                      <a:srgbClr val="00338D"/>
                    </a:gs>
                  </a:gsLst>
                  <a:lin ang="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prstClr val="white"/>
                    </a:solidFill>
                    <a:latin typeface="Univers for KPMG Light" panose="020B0403020202020204" pitchFamily="34" charset="0"/>
                  </a:endParaRPr>
                </a:p>
              </p:txBody>
            </p:sp>
          </p:grpSp>
          <p:sp>
            <p:nvSpPr>
              <p:cNvPr id="118" name="TextBox 117"/>
              <p:cNvSpPr txBox="1"/>
              <p:nvPr/>
            </p:nvSpPr>
            <p:spPr>
              <a:xfrm rot="1998948">
                <a:off x="1605180" y="2996940"/>
                <a:ext cx="1684397" cy="395439"/>
              </a:xfrm>
              <a:prstGeom prst="rect">
                <a:avLst/>
              </a:prstGeom>
              <a:noFill/>
            </p:spPr>
            <p:txBody>
              <a:bodyPr wrap="square" rtlCol="0">
                <a:spAutoFit/>
              </a:bodyPr>
              <a:lstStyle/>
              <a:p>
                <a:pPr algn="ctr"/>
                <a:r>
                  <a:rPr lang="en-US" sz="1400" b="1" dirty="0">
                    <a:solidFill>
                      <a:prstClr val="white"/>
                    </a:solidFill>
                    <a:latin typeface="Univers for KPMG Light" panose="020B0403020202020204" pitchFamily="34" charset="0"/>
                    <a:cs typeface="Angsana New" panose="02020603050405020304" pitchFamily="18" charset="-34"/>
                  </a:rPr>
                  <a:t>Affordable</a:t>
                </a:r>
              </a:p>
            </p:txBody>
          </p:sp>
          <p:sp>
            <p:nvSpPr>
              <p:cNvPr id="120" name="TextBox 119"/>
              <p:cNvSpPr txBox="1"/>
              <p:nvPr/>
            </p:nvSpPr>
            <p:spPr>
              <a:xfrm rot="18157169">
                <a:off x="205106" y="3778680"/>
                <a:ext cx="1809001" cy="335452"/>
              </a:xfrm>
              <a:prstGeom prst="rect">
                <a:avLst/>
              </a:prstGeom>
              <a:noFill/>
            </p:spPr>
            <p:txBody>
              <a:bodyPr wrap="square" rtlCol="0">
                <a:spAutoFit/>
              </a:bodyPr>
              <a:lstStyle/>
              <a:p>
                <a:pPr algn="ctr"/>
                <a:r>
                  <a:rPr lang="en-US" sz="1400" b="1" dirty="0">
                    <a:solidFill>
                      <a:prstClr val="white"/>
                    </a:solidFill>
                    <a:latin typeface="Univers for KPMG Light" panose="020B0403020202020204" pitchFamily="34" charset="0"/>
                    <a:cs typeface="Angsana New" panose="02020603050405020304" pitchFamily="18" charset="-34"/>
                  </a:rPr>
                  <a:t>Accessible</a:t>
                </a:r>
              </a:p>
            </p:txBody>
          </p:sp>
          <p:sp>
            <p:nvSpPr>
              <p:cNvPr id="121" name="TextBox 120"/>
              <p:cNvSpPr txBox="1"/>
              <p:nvPr/>
            </p:nvSpPr>
            <p:spPr>
              <a:xfrm rot="1671889">
                <a:off x="1279671" y="5178668"/>
                <a:ext cx="1465075" cy="439532"/>
              </a:xfrm>
              <a:prstGeom prst="rect">
                <a:avLst/>
              </a:prstGeom>
              <a:noFill/>
            </p:spPr>
            <p:txBody>
              <a:bodyPr wrap="square" rtlCol="0">
                <a:spAutoFit/>
              </a:bodyPr>
              <a:lstStyle/>
              <a:p>
                <a:pPr algn="ctr"/>
                <a:r>
                  <a:rPr lang="en-US" sz="1400" b="1" dirty="0">
                    <a:solidFill>
                      <a:prstClr val="white"/>
                    </a:solidFill>
                    <a:latin typeface="Univers for KPMG Light" panose="020B0403020202020204" pitchFamily="34" charset="0"/>
                    <a:cs typeface="Angsana New" panose="02020603050405020304" pitchFamily="18" charset="-34"/>
                  </a:rPr>
                  <a:t>Sustainable</a:t>
                </a:r>
              </a:p>
            </p:txBody>
          </p:sp>
        </p:grpSp>
        <p:sp>
          <p:nvSpPr>
            <p:cNvPr id="119" name="TextBox 118"/>
            <p:cNvSpPr txBox="1"/>
            <p:nvPr/>
          </p:nvSpPr>
          <p:spPr>
            <a:xfrm rot="17792603">
              <a:off x="2038432" y="4289568"/>
              <a:ext cx="1709887" cy="307777"/>
            </a:xfrm>
            <a:prstGeom prst="rect">
              <a:avLst/>
            </a:prstGeom>
            <a:noFill/>
          </p:spPr>
          <p:txBody>
            <a:bodyPr wrap="square" rtlCol="0">
              <a:spAutoFit/>
            </a:bodyPr>
            <a:lstStyle/>
            <a:p>
              <a:pPr algn="ctr"/>
              <a:r>
                <a:rPr lang="en-US" sz="1400" b="1" dirty="0">
                  <a:solidFill>
                    <a:prstClr val="white"/>
                  </a:solidFill>
                  <a:latin typeface="Univers for KPMG Light" panose="020B0403020202020204" pitchFamily="34" charset="0"/>
                  <a:cs typeface="Angsana New" panose="02020603050405020304" pitchFamily="18" charset="-34"/>
                </a:rPr>
                <a:t>Equitable</a:t>
              </a:r>
            </a:p>
          </p:txBody>
        </p:sp>
      </p:grpSp>
      <p:graphicFrame>
        <p:nvGraphicFramePr>
          <p:cNvPr id="63" name="Diagram 62"/>
          <p:cNvGraphicFramePr/>
          <p:nvPr/>
        </p:nvGraphicFramePr>
        <p:xfrm>
          <a:off x="5356630" y="1685686"/>
          <a:ext cx="6035271" cy="80086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22" name="TextBox 121"/>
          <p:cNvSpPr txBox="1"/>
          <p:nvPr/>
        </p:nvSpPr>
        <p:spPr>
          <a:xfrm>
            <a:off x="5898678" y="1357700"/>
            <a:ext cx="5359400" cy="352186"/>
          </a:xfrm>
          <a:prstGeom prst="rect">
            <a:avLst/>
          </a:prstGeom>
          <a:noFill/>
        </p:spPr>
        <p:txBody>
          <a:bodyPr wrap="square" lIns="54610" tIns="54610" rIns="54610" bIns="54610" rtlCol="0">
            <a:noAutofit/>
          </a:bodyPr>
          <a:lstStyle/>
          <a:p>
            <a:pPr>
              <a:spcAft>
                <a:spcPts val="600"/>
              </a:spcAft>
            </a:pPr>
            <a:r>
              <a:rPr lang="en-US" sz="1600" b="1" i="1" dirty="0">
                <a:solidFill>
                  <a:srgbClr val="00338D"/>
                </a:solidFill>
                <a:latin typeface="Calibri" panose="020F0502020204030204" pitchFamily="34" charset="0"/>
                <a:cs typeface="Calibri" panose="020F0502020204030204" pitchFamily="34" charset="0"/>
              </a:rPr>
              <a:t>These challenges give rise to the never ending cycle of Poverty</a:t>
            </a:r>
          </a:p>
        </p:txBody>
      </p:sp>
      <p:sp>
        <p:nvSpPr>
          <p:cNvPr id="142" name="TextBox 141"/>
          <p:cNvSpPr txBox="1"/>
          <p:nvPr/>
        </p:nvSpPr>
        <p:spPr>
          <a:xfrm>
            <a:off x="800099" y="3571741"/>
            <a:ext cx="4452257" cy="464010"/>
          </a:xfrm>
          <a:prstGeom prst="rect">
            <a:avLst/>
          </a:prstGeom>
          <a:noFill/>
        </p:spPr>
        <p:txBody>
          <a:bodyPr wrap="square" lIns="54610" tIns="54610" rIns="54610" bIns="54610" rtlCol="0">
            <a:noAutofit/>
          </a:bodyPr>
          <a:lstStyle/>
          <a:p>
            <a:pPr algn="ctr">
              <a:spcAft>
                <a:spcPts val="600"/>
              </a:spcAft>
            </a:pPr>
            <a:r>
              <a:rPr lang="en-US" sz="1400" b="1" i="1" dirty="0">
                <a:solidFill>
                  <a:srgbClr val="00338D"/>
                </a:solidFill>
                <a:latin typeface="Calibri" panose="020F0502020204030204" pitchFamily="34" charset="0"/>
                <a:cs typeface="Calibri" panose="020F0502020204030204" pitchFamily="34" charset="0"/>
              </a:rPr>
              <a:t>There is a need to build cities that are based on 4 aspects of inclusiveness</a:t>
            </a:r>
          </a:p>
        </p:txBody>
      </p:sp>
      <p:sp>
        <p:nvSpPr>
          <p:cNvPr id="175" name="Rounded Rectangle 174"/>
          <p:cNvSpPr/>
          <p:nvPr/>
        </p:nvSpPr>
        <p:spPr>
          <a:xfrm>
            <a:off x="812000" y="1332300"/>
            <a:ext cx="3760612" cy="304186"/>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prstClr val="white"/>
                </a:solidFill>
                <a:latin typeface="Calibri" panose="020F0502020204030204" pitchFamily="34" charset="0"/>
                <a:cs typeface="Calibri" panose="020F0502020204030204" pitchFamily="34" charset="0"/>
              </a:rPr>
              <a:t>Challenges due to increasing urbanization</a:t>
            </a:r>
          </a:p>
        </p:txBody>
      </p:sp>
      <p:sp>
        <p:nvSpPr>
          <p:cNvPr id="4" name="Right Arrow 3"/>
          <p:cNvSpPr/>
          <p:nvPr/>
        </p:nvSpPr>
        <p:spPr>
          <a:xfrm>
            <a:off x="4543830" y="1823912"/>
            <a:ext cx="812800" cy="732357"/>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pic>
        <p:nvPicPr>
          <p:cNvPr id="2" name="Picture 1"/>
          <p:cNvPicPr>
            <a:picLocks noChangeAspect="1"/>
          </p:cNvPicPr>
          <p:nvPr/>
        </p:nvPicPr>
        <p:blipFill>
          <a:blip r:embed="rId9" cstate="print"/>
          <a:stretch>
            <a:fillRect/>
          </a:stretch>
        </p:blipFill>
        <p:spPr>
          <a:xfrm>
            <a:off x="5153430" y="2556269"/>
            <a:ext cx="6849897" cy="3814978"/>
          </a:xfrm>
          <a:prstGeom prst="rect">
            <a:avLst/>
          </a:prstGeom>
        </p:spPr>
      </p:pic>
    </p:spTree>
    <p:extLst>
      <p:ext uri="{BB962C8B-B14F-4D97-AF65-F5344CB8AC3E}">
        <p14:creationId xmlns:p14="http://schemas.microsoft.com/office/powerpoint/2010/main" val="18948092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4721000" y="714185"/>
            <a:ext cx="7018986" cy="5969855"/>
            <a:chOff x="3488436" y="483127"/>
            <a:chExt cx="6771127" cy="6757415"/>
          </a:xfrm>
        </p:grpSpPr>
        <p:sp>
          <p:nvSpPr>
            <p:cNvPr id="120" name="object 6"/>
            <p:cNvSpPr/>
            <p:nvPr/>
          </p:nvSpPr>
          <p:spPr>
            <a:xfrm>
              <a:off x="3488436" y="483127"/>
              <a:ext cx="6771127" cy="6757415"/>
            </a:xfrm>
            <a:prstGeom prst="rect">
              <a:avLst/>
            </a:prstGeom>
            <a:blipFill>
              <a:blip r:embed="rId2" cstate="print">
                <a:extLst>
                  <a:ext uri="{BEBA8EAE-BF5A-486C-A8C5-ECC9F3942E4B}">
                    <a14:imgProps xmlns:a14="http://schemas.microsoft.com/office/drawing/2010/main">
                      <a14:imgLayer r:embed="rId3">
                        <a14:imgEffect>
                          <a14:brightnessContrast bright="20000" contrast="-20000"/>
                        </a14:imgEffect>
                      </a14:imgLayer>
                    </a14:imgProps>
                  </a:ext>
                </a:extLst>
              </a:blip>
              <a:stretch>
                <a:fillRect/>
              </a:stretch>
            </a:blipFill>
          </p:spPr>
          <p:txBody>
            <a:bodyPr wrap="square" lIns="0" tIns="0" rIns="0" bIns="0" rtlCol="0"/>
            <a:lstStyle/>
            <a:p>
              <a:endParaRPr/>
            </a:p>
          </p:txBody>
        </p:sp>
        <p:sp>
          <p:nvSpPr>
            <p:cNvPr id="123" name="object 9"/>
            <p:cNvSpPr txBox="1"/>
            <p:nvPr/>
          </p:nvSpPr>
          <p:spPr>
            <a:xfrm>
              <a:off x="7183306" y="1182576"/>
              <a:ext cx="2012027" cy="517482"/>
            </a:xfrm>
            <a:prstGeom prst="rect">
              <a:avLst/>
            </a:prstGeom>
          </p:spPr>
          <p:txBody>
            <a:bodyPr vert="horz" wrap="square" lIns="0" tIns="0" rIns="0" bIns="0" rtlCol="0">
              <a:spAutoFit/>
            </a:bodyPr>
            <a:lstStyle/>
            <a:p>
              <a:pPr marL="12700" marR="189865">
                <a:lnSpc>
                  <a:spcPct val="100000"/>
                </a:lnSpc>
              </a:pPr>
              <a:r>
                <a:rPr sz="1050" b="0" spc="-10" dirty="0">
                  <a:solidFill>
                    <a:srgbClr val="FFFFFF"/>
                  </a:solidFill>
                  <a:cs typeface="Univers for KPMG Light"/>
                </a:rPr>
                <a:t>A city </a:t>
              </a:r>
              <a:r>
                <a:rPr sz="1050" b="0" spc="-5" dirty="0">
                  <a:solidFill>
                    <a:srgbClr val="FFFFFF"/>
                  </a:solidFill>
                  <a:cs typeface="Univers for KPMG Light"/>
                </a:rPr>
                <a:t>that applies  technology</a:t>
              </a:r>
              <a:endParaRPr sz="1050" dirty="0">
                <a:cs typeface="Univers for KPMG Light"/>
              </a:endParaRPr>
            </a:p>
            <a:p>
              <a:pPr marL="12700" marR="5080">
                <a:lnSpc>
                  <a:spcPct val="99700"/>
                </a:lnSpc>
              </a:pPr>
              <a:r>
                <a:rPr sz="1050" b="0" spc="-5" dirty="0">
                  <a:solidFill>
                    <a:srgbClr val="FFFFFF"/>
                  </a:solidFill>
                  <a:cs typeface="Univers for KPMG Light"/>
                </a:rPr>
                <a:t>and innovation to  ensure a cleaner</a:t>
              </a:r>
              <a:r>
                <a:rPr sz="1050" b="0" spc="-70" dirty="0">
                  <a:solidFill>
                    <a:srgbClr val="FFFFFF"/>
                  </a:solidFill>
                  <a:cs typeface="Univers for KPMG Light"/>
                </a:rPr>
                <a:t> </a:t>
              </a:r>
              <a:r>
                <a:rPr sz="1050" b="0" spc="-10" dirty="0">
                  <a:solidFill>
                    <a:srgbClr val="FFFFFF"/>
                  </a:solidFill>
                  <a:cs typeface="Univers for KPMG Light"/>
                </a:rPr>
                <a:t>and  </a:t>
              </a:r>
              <a:r>
                <a:rPr sz="1050" b="0" spc="-5" dirty="0">
                  <a:solidFill>
                    <a:srgbClr val="FFFFFF"/>
                  </a:solidFill>
                  <a:cs typeface="Univers for KPMG Light"/>
                </a:rPr>
                <a:t>more sustainable  future</a:t>
              </a:r>
              <a:endParaRPr sz="1050" dirty="0">
                <a:cs typeface="Univers for KPMG Light"/>
              </a:endParaRPr>
            </a:p>
          </p:txBody>
        </p:sp>
        <p:sp>
          <p:nvSpPr>
            <p:cNvPr id="131" name="object 10"/>
            <p:cNvSpPr txBox="1"/>
            <p:nvPr/>
          </p:nvSpPr>
          <p:spPr>
            <a:xfrm>
              <a:off x="6974423" y="5743521"/>
              <a:ext cx="2099841" cy="862470"/>
            </a:xfrm>
            <a:prstGeom prst="rect">
              <a:avLst/>
            </a:prstGeom>
          </p:spPr>
          <p:txBody>
            <a:bodyPr vert="horz" wrap="square" lIns="0" tIns="0" rIns="0" bIns="0" rtlCol="0">
              <a:spAutoFit/>
            </a:bodyPr>
            <a:lstStyle/>
            <a:p>
              <a:pPr marL="12700" marR="5080">
                <a:lnSpc>
                  <a:spcPct val="100000"/>
                </a:lnSpc>
              </a:pPr>
              <a:r>
                <a:rPr sz="1050" b="0" spc="-10" dirty="0">
                  <a:solidFill>
                    <a:srgbClr val="FFFFFF"/>
                  </a:solidFill>
                  <a:cs typeface="Univers for KPMG Light"/>
                </a:rPr>
                <a:t>A city </a:t>
              </a:r>
              <a:r>
                <a:rPr sz="1050" b="0" spc="-5" dirty="0">
                  <a:solidFill>
                    <a:srgbClr val="FFFFFF"/>
                  </a:solidFill>
                  <a:cs typeface="Univers for KPMG Light"/>
                </a:rPr>
                <a:t>with </a:t>
              </a:r>
              <a:r>
                <a:rPr sz="1050" b="0" spc="-10" dirty="0">
                  <a:solidFill>
                    <a:srgbClr val="FFFFFF"/>
                  </a:solidFill>
                  <a:cs typeface="Univers for KPMG Light"/>
                </a:rPr>
                <a:t>connected  </a:t>
              </a:r>
              <a:r>
                <a:rPr sz="1050" b="0" spc="-5" dirty="0">
                  <a:solidFill>
                    <a:srgbClr val="FFFFFF"/>
                  </a:solidFill>
                  <a:cs typeface="Univers for KPMG Light"/>
                </a:rPr>
                <a:t>technology-enabled  infrastructure for</a:t>
              </a:r>
              <a:r>
                <a:rPr sz="1050" b="0" spc="-70" dirty="0">
                  <a:solidFill>
                    <a:srgbClr val="FFFFFF"/>
                  </a:solidFill>
                  <a:cs typeface="Univers for KPMG Light"/>
                </a:rPr>
                <a:t> </a:t>
              </a:r>
              <a:r>
                <a:rPr sz="1050" b="0" spc="-5" dirty="0">
                  <a:solidFill>
                    <a:srgbClr val="FFFFFF"/>
                  </a:solidFill>
                  <a:cs typeface="Univers for KPMG Light"/>
                </a:rPr>
                <a:t>multiple  modes of mobility, that  innovates towards future  transport modes </a:t>
              </a:r>
              <a:r>
                <a:rPr sz="1050" b="0" spc="-10" dirty="0">
                  <a:solidFill>
                    <a:srgbClr val="FFFFFF"/>
                  </a:solidFill>
                  <a:cs typeface="Univers for KPMG Light"/>
                </a:rPr>
                <a:t>and  </a:t>
              </a:r>
              <a:r>
                <a:rPr sz="1050" b="0" spc="-5" dirty="0">
                  <a:solidFill>
                    <a:srgbClr val="FFFFFF"/>
                  </a:solidFill>
                  <a:cs typeface="Univers for KPMG Light"/>
                </a:rPr>
                <a:t>prioritises </a:t>
              </a:r>
              <a:r>
                <a:rPr sz="1050" b="0" spc="-10" dirty="0">
                  <a:solidFill>
                    <a:srgbClr val="FFFFFF"/>
                  </a:solidFill>
                  <a:cs typeface="Univers for KPMG Light"/>
                </a:rPr>
                <a:t>walking</a:t>
              </a:r>
              <a:r>
                <a:rPr sz="1050" b="0" spc="-5" dirty="0">
                  <a:solidFill>
                    <a:srgbClr val="FFFFFF"/>
                  </a:solidFill>
                  <a:cs typeface="Univers for KPMG Light"/>
                </a:rPr>
                <a:t> and</a:t>
              </a:r>
              <a:endParaRPr sz="1050" dirty="0">
                <a:cs typeface="Univers for KPMG Light"/>
              </a:endParaRPr>
            </a:p>
          </p:txBody>
        </p:sp>
        <p:sp>
          <p:nvSpPr>
            <p:cNvPr id="133" name="object 12"/>
            <p:cNvSpPr txBox="1"/>
            <p:nvPr/>
          </p:nvSpPr>
          <p:spPr>
            <a:xfrm>
              <a:off x="5026137" y="1099949"/>
              <a:ext cx="1823610" cy="1097395"/>
            </a:xfrm>
            <a:prstGeom prst="rect">
              <a:avLst/>
            </a:prstGeom>
          </p:spPr>
          <p:txBody>
            <a:bodyPr vert="horz" wrap="square" lIns="0" tIns="0" rIns="0" bIns="0" rtlCol="0">
              <a:spAutoFit/>
            </a:bodyPr>
            <a:lstStyle/>
            <a:p>
              <a:pPr marL="12700" marR="5080">
                <a:lnSpc>
                  <a:spcPct val="100000"/>
                </a:lnSpc>
              </a:pPr>
              <a:r>
                <a:rPr sz="1050" b="0" spc="-10" dirty="0">
                  <a:solidFill>
                    <a:srgbClr val="FFFFFF"/>
                  </a:solidFill>
                  <a:cs typeface="Univers for KPMG Light"/>
                </a:rPr>
                <a:t>A </a:t>
              </a:r>
              <a:r>
                <a:rPr sz="1050" b="0" spc="-5" dirty="0">
                  <a:solidFill>
                    <a:srgbClr val="FFFFFF"/>
                  </a:solidFill>
                  <a:cs typeface="Univers for KPMG Light"/>
                </a:rPr>
                <a:t> smart city with  coordinated leadership </a:t>
              </a:r>
              <a:r>
                <a:rPr sz="1050" b="0" spc="-10" dirty="0">
                  <a:solidFill>
                    <a:srgbClr val="FFFFFF"/>
                  </a:solidFill>
                  <a:cs typeface="Univers for KPMG Light"/>
                </a:rPr>
                <a:t>and  </a:t>
              </a:r>
              <a:r>
                <a:rPr sz="1050" b="0" spc="-5" dirty="0">
                  <a:solidFill>
                    <a:srgbClr val="FFFFFF"/>
                  </a:solidFill>
                  <a:cs typeface="Univers for KPMG Light"/>
                </a:rPr>
                <a:t>collaboration across  government, industry </a:t>
              </a:r>
              <a:r>
                <a:rPr sz="1050" b="0" spc="-10" dirty="0">
                  <a:solidFill>
                    <a:srgbClr val="FFFFFF"/>
                  </a:solidFill>
                  <a:cs typeface="Univers for KPMG Light"/>
                </a:rPr>
                <a:t>and  </a:t>
              </a:r>
              <a:r>
                <a:rPr sz="1050" b="0" spc="-5" dirty="0">
                  <a:solidFill>
                    <a:srgbClr val="FFFFFF"/>
                  </a:solidFill>
                  <a:cs typeface="Univers for KPMG Light"/>
                </a:rPr>
                <a:t>business, which </a:t>
              </a:r>
              <a:r>
                <a:rPr sz="1050" b="0" spc="-10" dirty="0">
                  <a:solidFill>
                    <a:srgbClr val="FFFFFF"/>
                  </a:solidFill>
                  <a:cs typeface="Univers for KPMG Light"/>
                </a:rPr>
                <a:t>leads the  way </a:t>
              </a:r>
              <a:r>
                <a:rPr sz="1050" b="0" spc="-5" dirty="0">
                  <a:solidFill>
                    <a:srgbClr val="FFFFFF"/>
                  </a:solidFill>
                  <a:cs typeface="Univers for KPMG Light"/>
                </a:rPr>
                <a:t>and connects with </a:t>
              </a:r>
              <a:r>
                <a:rPr sz="1050" b="0" dirty="0">
                  <a:solidFill>
                    <a:srgbClr val="FFFFFF"/>
                  </a:solidFill>
                  <a:cs typeface="Univers for KPMG Light"/>
                </a:rPr>
                <a:t>its  </a:t>
              </a:r>
              <a:r>
                <a:rPr sz="1050" b="0" spc="-5" dirty="0">
                  <a:solidFill>
                    <a:srgbClr val="FFFFFF"/>
                  </a:solidFill>
                  <a:cs typeface="Univers for KPMG Light"/>
                </a:rPr>
                <a:t>citizens</a:t>
              </a:r>
              <a:endParaRPr sz="1050" dirty="0">
                <a:cs typeface="Univers for KPMG Light"/>
              </a:endParaRPr>
            </a:p>
          </p:txBody>
        </p:sp>
        <p:sp>
          <p:nvSpPr>
            <p:cNvPr id="134" name="object 13"/>
            <p:cNvSpPr txBox="1"/>
            <p:nvPr/>
          </p:nvSpPr>
          <p:spPr>
            <a:xfrm>
              <a:off x="4773466" y="5651972"/>
              <a:ext cx="1951204" cy="914495"/>
            </a:xfrm>
            <a:prstGeom prst="rect">
              <a:avLst/>
            </a:prstGeom>
          </p:spPr>
          <p:txBody>
            <a:bodyPr vert="horz" wrap="square" lIns="0" tIns="0" rIns="0" bIns="0" rtlCol="0">
              <a:spAutoFit/>
            </a:bodyPr>
            <a:lstStyle/>
            <a:p>
              <a:pPr marL="12700" marR="5080">
                <a:lnSpc>
                  <a:spcPct val="100000"/>
                </a:lnSpc>
              </a:pPr>
              <a:r>
                <a:rPr sz="1050" b="0" spc="-10" dirty="0">
                  <a:solidFill>
                    <a:srgbClr val="FFFFFF"/>
                  </a:solidFill>
                  <a:cs typeface="Univers for KPMG Light"/>
                </a:rPr>
                <a:t>A city </a:t>
              </a:r>
              <a:r>
                <a:rPr sz="1050" b="0" spc="-5" dirty="0">
                  <a:solidFill>
                    <a:srgbClr val="FFFFFF"/>
                  </a:solidFill>
                  <a:cs typeface="Univers for KPMG Light"/>
                </a:rPr>
                <a:t>that invests </a:t>
              </a:r>
              <a:r>
                <a:rPr sz="1050" b="0" spc="-10" dirty="0">
                  <a:solidFill>
                    <a:srgbClr val="FFFFFF"/>
                  </a:solidFill>
                  <a:cs typeface="Univers for KPMG Light"/>
                </a:rPr>
                <a:t>in </a:t>
              </a:r>
              <a:r>
                <a:rPr sz="1050" b="0" spc="-5" dirty="0">
                  <a:solidFill>
                    <a:srgbClr val="FFFFFF"/>
                  </a:solidFill>
                  <a:cs typeface="Univers for KPMG Light"/>
                </a:rPr>
                <a:t>people </a:t>
              </a:r>
              <a:r>
                <a:rPr sz="1050" b="0" spc="-10" dirty="0">
                  <a:solidFill>
                    <a:srgbClr val="FFFFFF"/>
                  </a:solidFill>
                  <a:cs typeface="Univers for KPMG Light"/>
                </a:rPr>
                <a:t>and  </a:t>
              </a:r>
              <a:r>
                <a:rPr sz="1050" b="0" spc="-5" dirty="0">
                  <a:solidFill>
                    <a:srgbClr val="FFFFFF"/>
                  </a:solidFill>
                  <a:cs typeface="Univers for KPMG Light"/>
                </a:rPr>
                <a:t>attracts talent to the </a:t>
              </a:r>
              <a:r>
                <a:rPr sz="1050" b="0" spc="-10" dirty="0">
                  <a:solidFill>
                    <a:srgbClr val="FFFFFF"/>
                  </a:solidFill>
                  <a:cs typeface="Univers for KPMG Light"/>
                </a:rPr>
                <a:t>area, </a:t>
              </a:r>
              <a:r>
                <a:rPr sz="1050" b="0" spc="-5" dirty="0">
                  <a:solidFill>
                    <a:srgbClr val="FFFFFF"/>
                  </a:solidFill>
                  <a:cs typeface="Univers for KPMG Light"/>
                </a:rPr>
                <a:t>which  creates opportunities through  emerging smart technologies and  enables everyone </a:t>
              </a:r>
              <a:r>
                <a:rPr sz="1050" b="0" spc="-10" dirty="0">
                  <a:solidFill>
                    <a:srgbClr val="FFFFFF"/>
                  </a:solidFill>
                  <a:cs typeface="Univers for KPMG Light"/>
                </a:rPr>
                <a:t>to</a:t>
              </a:r>
              <a:r>
                <a:rPr sz="1050" b="0" spc="-35" dirty="0">
                  <a:solidFill>
                    <a:srgbClr val="FFFFFF"/>
                  </a:solidFill>
                  <a:cs typeface="Univers for KPMG Light"/>
                </a:rPr>
                <a:t> </a:t>
              </a:r>
              <a:r>
                <a:rPr sz="1050" b="0" spc="-5" dirty="0">
                  <a:solidFill>
                    <a:srgbClr val="FFFFFF"/>
                  </a:solidFill>
                  <a:cs typeface="Univers for KPMG Light"/>
                </a:rPr>
                <a:t>participate</a:t>
              </a:r>
              <a:endParaRPr sz="1050" dirty="0">
                <a:cs typeface="Univers for KPMG Light"/>
              </a:endParaRPr>
            </a:p>
          </p:txBody>
        </p:sp>
        <p:sp>
          <p:nvSpPr>
            <p:cNvPr id="135" name="object 14"/>
            <p:cNvSpPr txBox="1"/>
            <p:nvPr/>
          </p:nvSpPr>
          <p:spPr>
            <a:xfrm>
              <a:off x="3788249" y="3161257"/>
              <a:ext cx="1241425" cy="1552446"/>
            </a:xfrm>
            <a:prstGeom prst="rect">
              <a:avLst/>
            </a:prstGeom>
          </p:spPr>
          <p:txBody>
            <a:bodyPr vert="horz" wrap="square" lIns="0" tIns="0" rIns="0" bIns="0" rtlCol="0">
              <a:spAutoFit/>
            </a:bodyPr>
            <a:lstStyle/>
            <a:p>
              <a:pPr marL="12700" marR="5080">
                <a:lnSpc>
                  <a:spcPct val="100000"/>
                </a:lnSpc>
              </a:pPr>
              <a:r>
                <a:rPr sz="1050" b="0" spc="-10" dirty="0">
                  <a:solidFill>
                    <a:srgbClr val="FFFFFF"/>
                  </a:solidFill>
                  <a:cs typeface="Univers for KPMG Light"/>
                </a:rPr>
                <a:t>A city </a:t>
              </a:r>
              <a:r>
                <a:rPr sz="1050" b="0" spc="-5" dirty="0">
                  <a:solidFill>
                    <a:srgbClr val="FFFFFF"/>
                  </a:solidFill>
                  <a:cs typeface="Univers for KPMG Light"/>
                </a:rPr>
                <a:t>that invests  </a:t>
              </a:r>
              <a:r>
                <a:rPr sz="1050" b="0" spc="-10" dirty="0">
                  <a:solidFill>
                    <a:srgbClr val="FFFFFF"/>
                  </a:solidFill>
                  <a:cs typeface="Univers for KPMG Light"/>
                </a:rPr>
                <a:t>in </a:t>
              </a:r>
              <a:r>
                <a:rPr sz="1050" b="0" spc="-5" dirty="0">
                  <a:solidFill>
                    <a:srgbClr val="FFFFFF"/>
                  </a:solidFill>
                  <a:cs typeface="Univers for KPMG Light"/>
                </a:rPr>
                <a:t>innovation and  provides a</a:t>
              </a:r>
              <a:r>
                <a:rPr sz="1050" b="0" spc="-80" dirty="0">
                  <a:solidFill>
                    <a:srgbClr val="FFFFFF"/>
                  </a:solidFill>
                  <a:cs typeface="Univers for KPMG Light"/>
                </a:rPr>
                <a:t> </a:t>
              </a:r>
              <a:r>
                <a:rPr sz="1050" b="0" spc="-5" dirty="0">
                  <a:solidFill>
                    <a:srgbClr val="FFFFFF"/>
                  </a:solidFill>
                  <a:cs typeface="Univers for KPMG Light"/>
                </a:rPr>
                <a:t>roadmap  and infrastructure  </a:t>
              </a:r>
              <a:r>
                <a:rPr sz="1050" b="0" spc="-10" dirty="0">
                  <a:solidFill>
                    <a:srgbClr val="FFFFFF"/>
                  </a:solidFill>
                  <a:cs typeface="Univers for KPMG Light"/>
                </a:rPr>
                <a:t>to </a:t>
              </a:r>
              <a:r>
                <a:rPr sz="1050" b="0" spc="-5" dirty="0">
                  <a:solidFill>
                    <a:srgbClr val="FFFFFF"/>
                  </a:solidFill>
                  <a:cs typeface="Univers for KPMG Light"/>
                </a:rPr>
                <a:t>support  successful  </a:t>
              </a:r>
              <a:r>
                <a:rPr sz="1050" b="0" spc="-10" dirty="0">
                  <a:solidFill>
                    <a:srgbClr val="FFFFFF"/>
                  </a:solidFill>
                  <a:cs typeface="Univers for KPMG Light"/>
                </a:rPr>
                <a:t>business </a:t>
              </a:r>
              <a:r>
                <a:rPr sz="1050" b="0" spc="-5" dirty="0">
                  <a:solidFill>
                    <a:srgbClr val="FFFFFF"/>
                  </a:solidFill>
                  <a:cs typeface="Univers for KPMG Light"/>
                </a:rPr>
                <a:t>outcomes  and attract industry  and investment in  smart</a:t>
              </a:r>
              <a:r>
                <a:rPr sz="1050" b="0" spc="-100" dirty="0">
                  <a:solidFill>
                    <a:srgbClr val="FFFFFF"/>
                  </a:solidFill>
                  <a:cs typeface="Univers for KPMG Light"/>
                </a:rPr>
                <a:t> </a:t>
              </a:r>
              <a:r>
                <a:rPr sz="1050" b="0" spc="-5" dirty="0">
                  <a:solidFill>
                    <a:srgbClr val="FFFFFF"/>
                  </a:solidFill>
                  <a:cs typeface="Univers for KPMG Light"/>
                </a:rPr>
                <a:t>sectors</a:t>
              </a:r>
              <a:endParaRPr sz="1050" dirty="0">
                <a:cs typeface="Univers for KPMG Light"/>
              </a:endParaRPr>
            </a:p>
          </p:txBody>
        </p:sp>
        <p:sp>
          <p:nvSpPr>
            <p:cNvPr id="143" name="object 16"/>
            <p:cNvSpPr txBox="1"/>
            <p:nvPr/>
          </p:nvSpPr>
          <p:spPr>
            <a:xfrm>
              <a:off x="8919176" y="3075009"/>
              <a:ext cx="1246888" cy="1724941"/>
            </a:xfrm>
            <a:prstGeom prst="rect">
              <a:avLst/>
            </a:prstGeom>
          </p:spPr>
          <p:txBody>
            <a:bodyPr vert="horz" wrap="square" lIns="0" tIns="0" rIns="0" bIns="0" rtlCol="0">
              <a:spAutoFit/>
            </a:bodyPr>
            <a:lstStyle/>
            <a:p>
              <a:pPr marL="12700" marR="5080">
                <a:lnSpc>
                  <a:spcPct val="100000"/>
                </a:lnSpc>
              </a:pPr>
              <a:r>
                <a:rPr sz="1050" b="0" spc="-10" dirty="0">
                  <a:solidFill>
                    <a:srgbClr val="FFFFFF"/>
                  </a:solidFill>
                  <a:cs typeface="Univers for KPMG Light"/>
                </a:rPr>
                <a:t>A city </a:t>
              </a:r>
              <a:r>
                <a:rPr sz="1050" b="0" spc="-5" dirty="0">
                  <a:solidFill>
                    <a:srgbClr val="FFFFFF"/>
                  </a:solidFill>
                  <a:cs typeface="Univers for KPMG Light"/>
                </a:rPr>
                <a:t>that makes  life </a:t>
              </a:r>
              <a:r>
                <a:rPr sz="1050" b="0" spc="-10" dirty="0">
                  <a:solidFill>
                    <a:srgbClr val="FFFFFF"/>
                  </a:solidFill>
                  <a:cs typeface="Univers for KPMG Light"/>
                </a:rPr>
                <a:t>easier </a:t>
              </a:r>
              <a:r>
                <a:rPr sz="1050" b="0" spc="-5" dirty="0">
                  <a:solidFill>
                    <a:srgbClr val="FFFFFF"/>
                  </a:solidFill>
                  <a:cs typeface="Univers for KPMG Light"/>
                </a:rPr>
                <a:t>for  everyone, which  uses smart  technology </a:t>
              </a:r>
              <a:r>
                <a:rPr sz="1050" b="0" spc="-10" dirty="0">
                  <a:solidFill>
                    <a:srgbClr val="FFFFFF"/>
                  </a:solidFill>
                  <a:cs typeface="Univers for KPMG Light"/>
                </a:rPr>
                <a:t>in </a:t>
              </a:r>
              <a:r>
                <a:rPr sz="1050" b="0" spc="-5" dirty="0">
                  <a:solidFill>
                    <a:srgbClr val="FFFFFF"/>
                  </a:solidFill>
                  <a:cs typeface="Univers for KPMG Light"/>
                </a:rPr>
                <a:t>its  public places,</a:t>
              </a:r>
              <a:r>
                <a:rPr sz="1050" b="0" spc="-55" dirty="0">
                  <a:solidFill>
                    <a:srgbClr val="FFFFFF"/>
                  </a:solidFill>
                  <a:cs typeface="Univers for KPMG Light"/>
                </a:rPr>
                <a:t> </a:t>
              </a:r>
              <a:r>
                <a:rPr sz="1050" b="0" spc="-5" dirty="0">
                  <a:solidFill>
                    <a:srgbClr val="FFFFFF"/>
                  </a:solidFill>
                  <a:cs typeface="Univers for KPMG Light"/>
                </a:rPr>
                <a:t>and  that develops  </a:t>
              </a:r>
              <a:r>
                <a:rPr sz="1050" b="0" spc="-10" dirty="0">
                  <a:solidFill>
                    <a:srgbClr val="FFFFFF"/>
                  </a:solidFill>
                  <a:cs typeface="Univers for KPMG Light"/>
                </a:rPr>
                <a:t>new </a:t>
              </a:r>
              <a:r>
                <a:rPr sz="1050" b="0" spc="-5" dirty="0">
                  <a:solidFill>
                    <a:srgbClr val="FFFFFF"/>
                  </a:solidFill>
                  <a:cs typeface="Univers for KPMG Light"/>
                </a:rPr>
                <a:t>ways of  connecting  people </a:t>
              </a:r>
              <a:r>
                <a:rPr sz="1050" b="0" spc="-10" dirty="0">
                  <a:solidFill>
                    <a:srgbClr val="FFFFFF"/>
                  </a:solidFill>
                  <a:cs typeface="Univers for KPMG Light"/>
                </a:rPr>
                <a:t>and  </a:t>
              </a:r>
              <a:r>
                <a:rPr sz="1050" b="0" spc="-5" dirty="0">
                  <a:solidFill>
                    <a:srgbClr val="FFFFFF"/>
                  </a:solidFill>
                  <a:cs typeface="Univers for KPMG Light"/>
                </a:rPr>
                <a:t>improving city  amenity</a:t>
              </a:r>
              <a:endParaRPr sz="1050" dirty="0">
                <a:cs typeface="Univers for KPMG Light"/>
              </a:endParaRPr>
            </a:p>
          </p:txBody>
        </p:sp>
      </p:grpSp>
      <p:sp>
        <p:nvSpPr>
          <p:cNvPr id="119" name="Title 1">
            <a:extLst>
              <a:ext uri="{FF2B5EF4-FFF2-40B4-BE49-F238E27FC236}">
                <a16:creationId xmlns:a16="http://schemas.microsoft.com/office/drawing/2014/main" xmlns="" id="{1B2F9459-C4C9-4934-B621-852895064953}"/>
              </a:ext>
            </a:extLst>
          </p:cNvPr>
          <p:cNvSpPr>
            <a:spLocks noGrp="1"/>
          </p:cNvSpPr>
          <p:nvPr>
            <p:ph type="title"/>
          </p:nvPr>
        </p:nvSpPr>
        <p:spPr>
          <a:xfrm>
            <a:off x="557511" y="200685"/>
            <a:ext cx="10195200" cy="533400"/>
          </a:xfrm>
        </p:spPr>
        <p:txBody>
          <a:bodyPr/>
          <a:lstStyle/>
          <a:p>
            <a:r>
              <a:rPr lang="en-US" sz="3200" dirty="0">
                <a:solidFill>
                  <a:srgbClr val="0070C0"/>
                </a:solidFill>
                <a:latin typeface="Cambria" panose="02040503050406030204" pitchFamily="18" charset="0"/>
              </a:rPr>
              <a:t>Smart Cities for Urbanization: </a:t>
            </a:r>
            <a:r>
              <a:rPr lang="en-US" sz="2800" dirty="0">
                <a:solidFill>
                  <a:srgbClr val="BC204B"/>
                </a:solidFill>
                <a:latin typeface="Cambria" panose="02040503050406030204" pitchFamily="18" charset="0"/>
              </a:rPr>
              <a:t>India’s Perspective</a:t>
            </a:r>
            <a:endParaRPr lang="en-US" sz="3200" dirty="0">
              <a:solidFill>
                <a:srgbClr val="BC204B"/>
              </a:solidFill>
              <a:latin typeface="Cambria" panose="02040503050406030204" pitchFamily="18" charset="0"/>
            </a:endParaRPr>
          </a:p>
        </p:txBody>
      </p:sp>
      <p:sp>
        <p:nvSpPr>
          <p:cNvPr id="136" name="object 15"/>
          <p:cNvSpPr txBox="1"/>
          <p:nvPr/>
        </p:nvSpPr>
        <p:spPr>
          <a:xfrm>
            <a:off x="7840102" y="3508612"/>
            <a:ext cx="787400" cy="381000"/>
          </a:xfrm>
          <a:prstGeom prst="rect">
            <a:avLst/>
          </a:prstGeom>
        </p:spPr>
        <p:txBody>
          <a:bodyPr vert="horz" wrap="square" lIns="0" tIns="0" rIns="0" bIns="0" rtlCol="0">
            <a:spAutoFit/>
          </a:bodyPr>
          <a:lstStyle/>
          <a:p>
            <a:pPr marL="32384" marR="5080" indent="-20320">
              <a:lnSpc>
                <a:spcPct val="100000"/>
              </a:lnSpc>
            </a:pPr>
            <a:r>
              <a:rPr sz="1200" spc="100" dirty="0">
                <a:solidFill>
                  <a:srgbClr val="00338C"/>
                </a:solidFill>
                <a:latin typeface="Times New Roman"/>
                <a:cs typeface="Times New Roman"/>
              </a:rPr>
              <a:t>Smart</a:t>
            </a:r>
            <a:r>
              <a:rPr sz="1200" spc="-35" dirty="0">
                <a:solidFill>
                  <a:srgbClr val="00338C"/>
                </a:solidFill>
                <a:latin typeface="Times New Roman"/>
                <a:cs typeface="Times New Roman"/>
              </a:rPr>
              <a:t> </a:t>
            </a:r>
            <a:r>
              <a:rPr sz="1200" spc="45" dirty="0">
                <a:solidFill>
                  <a:srgbClr val="00338C"/>
                </a:solidFill>
                <a:latin typeface="Times New Roman"/>
                <a:cs typeface="Times New Roman"/>
              </a:rPr>
              <a:t>City  </a:t>
            </a:r>
            <a:r>
              <a:rPr sz="1200" spc="85" dirty="0">
                <a:solidFill>
                  <a:srgbClr val="00338C"/>
                </a:solidFill>
                <a:latin typeface="Times New Roman"/>
                <a:cs typeface="Times New Roman"/>
              </a:rPr>
              <a:t>Attributes</a:t>
            </a:r>
            <a:endParaRPr sz="1200" dirty="0">
              <a:latin typeface="Times New Roman"/>
              <a:cs typeface="Times New Roman"/>
            </a:endParaRPr>
          </a:p>
        </p:txBody>
      </p:sp>
      <p:sp>
        <p:nvSpPr>
          <p:cNvPr id="144" name="object 17"/>
          <p:cNvSpPr txBox="1"/>
          <p:nvPr/>
        </p:nvSpPr>
        <p:spPr>
          <a:xfrm>
            <a:off x="680859" y="1286684"/>
            <a:ext cx="3646442" cy="4790414"/>
          </a:xfrm>
          <a:prstGeom prst="rect">
            <a:avLst/>
          </a:prstGeom>
          <a:solidFill>
            <a:srgbClr val="00338C"/>
          </a:solidFill>
        </p:spPr>
        <p:txBody>
          <a:bodyPr vert="horz" wrap="square" lIns="0" tIns="42545" rIns="0" bIns="0" rtlCol="0">
            <a:spAutoFit/>
          </a:bodyPr>
          <a:lstStyle/>
          <a:p>
            <a:pPr marL="95885" marR="67310">
              <a:lnSpc>
                <a:spcPct val="100000"/>
              </a:lnSpc>
              <a:spcBef>
                <a:spcPts val="335"/>
              </a:spcBef>
            </a:pPr>
            <a:r>
              <a:rPr lang="en-US" sz="1400" dirty="0">
                <a:solidFill>
                  <a:srgbClr val="FFFFFF"/>
                </a:solidFill>
                <a:cs typeface="Univers for KPMG Light"/>
              </a:rPr>
              <a:t>Smart Cities has different connotation in India, than say, Europe. No universally accepted Definition!. </a:t>
            </a:r>
            <a:r>
              <a:rPr lang="en-US" sz="1400" dirty="0">
                <a:solidFill>
                  <a:schemeClr val="bg1"/>
                </a:solidFill>
                <a:ea typeface="Segoe UI" panose="020B0502040204020203" pitchFamily="34" charset="0"/>
                <a:cs typeface="Segoe UI" panose="020B0502040204020203" pitchFamily="34" charset="0"/>
              </a:rPr>
              <a:t>Even within India, the idea of Smart City varies by stakeholders and cities. It is driven by,</a:t>
            </a:r>
          </a:p>
          <a:p>
            <a:pPr marL="95885" marR="67310">
              <a:lnSpc>
                <a:spcPct val="100000"/>
              </a:lnSpc>
              <a:spcBef>
                <a:spcPts val="335"/>
              </a:spcBef>
            </a:pPr>
            <a:endParaRPr lang="en-US" sz="1400" dirty="0">
              <a:solidFill>
                <a:schemeClr val="bg1"/>
              </a:solidFill>
              <a:ea typeface="Segoe UI" panose="020B0502040204020203" pitchFamily="34" charset="0"/>
              <a:cs typeface="Segoe UI" panose="020B0502040204020203" pitchFamily="34" charset="0"/>
            </a:endParaRPr>
          </a:p>
          <a:p>
            <a:pPr marL="306898" indent="-380990">
              <a:buFont typeface="Wingdings" panose="05000000000000000000" pitchFamily="2" charset="2"/>
              <a:buChar char="ü"/>
            </a:pPr>
            <a:r>
              <a:rPr lang="en-US" sz="1400" dirty="0">
                <a:solidFill>
                  <a:schemeClr val="bg1"/>
                </a:solidFill>
                <a:ea typeface="Segoe UI" panose="020B0502040204020203" pitchFamily="34" charset="0"/>
                <a:cs typeface="Segoe UI" panose="020B0502040204020203" pitchFamily="34" charset="0"/>
              </a:rPr>
              <a:t>level of existing degree of development</a:t>
            </a:r>
          </a:p>
          <a:p>
            <a:pPr marL="306898" indent="-380990">
              <a:buFont typeface="Wingdings" panose="05000000000000000000" pitchFamily="2" charset="2"/>
              <a:buChar char="ü"/>
            </a:pPr>
            <a:r>
              <a:rPr lang="en-US" sz="1400" dirty="0">
                <a:solidFill>
                  <a:schemeClr val="bg1"/>
                </a:solidFill>
                <a:ea typeface="Segoe UI" panose="020B0502040204020203" pitchFamily="34" charset="0"/>
                <a:cs typeface="Segoe UI" panose="020B0502040204020203" pitchFamily="34" charset="0"/>
              </a:rPr>
              <a:t>willingness to change and </a:t>
            </a:r>
            <a:r>
              <a:rPr lang="en-US" sz="1400" dirty="0" smtClean="0">
                <a:solidFill>
                  <a:schemeClr val="bg1"/>
                </a:solidFill>
                <a:ea typeface="Segoe UI" panose="020B0502040204020203" pitchFamily="34" charset="0"/>
                <a:cs typeface="Segoe UI" panose="020B0502040204020203" pitchFamily="34" charset="0"/>
              </a:rPr>
              <a:t>reform     </a:t>
            </a:r>
          </a:p>
          <a:p>
            <a:pPr marL="306898" indent="-380990"/>
            <a:r>
              <a:rPr lang="en-US" sz="1400" dirty="0" smtClean="0">
                <a:solidFill>
                  <a:schemeClr val="bg1"/>
                </a:solidFill>
                <a:ea typeface="Segoe UI" panose="020B0502040204020203" pitchFamily="34" charset="0"/>
                <a:cs typeface="Segoe UI" panose="020B0502040204020203" pitchFamily="34" charset="0"/>
              </a:rPr>
              <a:t>        resources </a:t>
            </a:r>
            <a:r>
              <a:rPr lang="en-US" sz="1400" dirty="0">
                <a:solidFill>
                  <a:schemeClr val="bg1"/>
                </a:solidFill>
                <a:ea typeface="Segoe UI" panose="020B0502040204020203" pitchFamily="34" charset="0"/>
                <a:cs typeface="Segoe UI" panose="020B0502040204020203" pitchFamily="34" charset="0"/>
              </a:rPr>
              <a:t>and aspirations of the </a:t>
            </a:r>
            <a:r>
              <a:rPr lang="en-US" sz="1400" dirty="0" smtClean="0">
                <a:solidFill>
                  <a:schemeClr val="bg1"/>
                </a:solidFill>
                <a:ea typeface="Segoe UI" panose="020B0502040204020203" pitchFamily="34" charset="0"/>
                <a:cs typeface="Segoe UI" panose="020B0502040204020203" pitchFamily="34" charset="0"/>
              </a:rPr>
              <a:t>city   </a:t>
            </a:r>
          </a:p>
          <a:p>
            <a:pPr marL="306898" indent="-380990"/>
            <a:r>
              <a:rPr lang="en-US" sz="1400" dirty="0" smtClean="0">
                <a:solidFill>
                  <a:schemeClr val="bg1"/>
                </a:solidFill>
                <a:ea typeface="Segoe UI" panose="020B0502040204020203" pitchFamily="34" charset="0"/>
                <a:cs typeface="Segoe UI" panose="020B0502040204020203" pitchFamily="34" charset="0"/>
              </a:rPr>
              <a:t>        residents</a:t>
            </a:r>
            <a:r>
              <a:rPr lang="en-US" sz="1600" b="1" dirty="0" smtClean="0">
                <a:solidFill>
                  <a:schemeClr val="tx2"/>
                </a:solidFill>
                <a:latin typeface="Segoe UI" panose="020B0502040204020203" pitchFamily="34" charset="0"/>
                <a:ea typeface="Segoe UI" panose="020B0502040204020203" pitchFamily="34" charset="0"/>
                <a:cs typeface="Segoe UI" panose="020B0502040204020203" pitchFamily="34" charset="0"/>
              </a:rPr>
              <a:t> </a:t>
            </a:r>
            <a:r>
              <a:rPr lang="en-US" sz="1600" b="1" dirty="0">
                <a:solidFill>
                  <a:schemeClr val="tx2"/>
                </a:solidFill>
                <a:latin typeface="Segoe UI" panose="020B0502040204020203" pitchFamily="34" charset="0"/>
                <a:ea typeface="Segoe UI" panose="020B0502040204020203" pitchFamily="34" charset="0"/>
                <a:cs typeface="Segoe UI" panose="020B0502040204020203" pitchFamily="34" charset="0"/>
              </a:rPr>
              <a:t>residents</a:t>
            </a:r>
          </a:p>
          <a:p>
            <a:pPr marL="95885" marR="67310">
              <a:lnSpc>
                <a:spcPct val="100000"/>
              </a:lnSpc>
              <a:spcBef>
                <a:spcPts val="335"/>
              </a:spcBef>
            </a:pPr>
            <a:endParaRPr lang="en-US" sz="1400" dirty="0">
              <a:solidFill>
                <a:srgbClr val="FFFFFF"/>
              </a:solidFill>
              <a:cs typeface="Univers for KPMG Light"/>
            </a:endParaRPr>
          </a:p>
          <a:p>
            <a:pPr marL="95885" marR="67310">
              <a:lnSpc>
                <a:spcPct val="100000"/>
              </a:lnSpc>
              <a:spcBef>
                <a:spcPts val="335"/>
              </a:spcBef>
            </a:pPr>
            <a:r>
              <a:rPr lang="en-US" sz="1400" dirty="0">
                <a:solidFill>
                  <a:srgbClr val="FFFFFF"/>
                </a:solidFill>
                <a:cs typeface="Univers for KPMG Light"/>
              </a:rPr>
              <a:t>Smart Cities Mission follows an India-centric approach - citizen driven, comprehensive and interconnected.</a:t>
            </a:r>
          </a:p>
          <a:p>
            <a:pPr marL="95885" marR="67310">
              <a:lnSpc>
                <a:spcPct val="100000"/>
              </a:lnSpc>
              <a:spcBef>
                <a:spcPts val="335"/>
              </a:spcBef>
            </a:pPr>
            <a:endParaRPr lang="en-US" sz="1400" b="0" dirty="0">
              <a:solidFill>
                <a:srgbClr val="FFFFFF"/>
              </a:solidFill>
              <a:cs typeface="Univers for KPMG Light"/>
            </a:endParaRPr>
          </a:p>
          <a:p>
            <a:pPr marL="95885" marR="67310">
              <a:lnSpc>
                <a:spcPct val="100000"/>
              </a:lnSpc>
              <a:spcBef>
                <a:spcPts val="335"/>
              </a:spcBef>
            </a:pPr>
            <a:r>
              <a:rPr sz="1400" b="0" dirty="0">
                <a:solidFill>
                  <a:srgbClr val="FFFFFF"/>
                </a:solidFill>
                <a:cs typeface="Univers for KPMG Light"/>
              </a:rPr>
              <a:t>A Smart City </a:t>
            </a:r>
            <a:r>
              <a:rPr sz="1400" b="0" spc="-5" dirty="0">
                <a:solidFill>
                  <a:srgbClr val="FFFFFF"/>
                </a:solidFill>
                <a:cs typeface="Univers for KPMG Light"/>
              </a:rPr>
              <a:t>is </a:t>
            </a:r>
            <a:r>
              <a:rPr sz="1400" b="0" dirty="0">
                <a:solidFill>
                  <a:srgbClr val="FFFFFF"/>
                </a:solidFill>
                <a:cs typeface="Univers for KPMG Light"/>
              </a:rPr>
              <a:t>a </a:t>
            </a:r>
            <a:r>
              <a:rPr sz="1400" b="0" spc="5" dirty="0">
                <a:solidFill>
                  <a:srgbClr val="FFFFFF"/>
                </a:solidFill>
                <a:cs typeface="Univers for KPMG Light"/>
              </a:rPr>
              <a:t>city </a:t>
            </a:r>
            <a:r>
              <a:rPr sz="1400" b="0" spc="-5" dirty="0">
                <a:solidFill>
                  <a:srgbClr val="FFFFFF"/>
                </a:solidFill>
                <a:cs typeface="Univers for KPMG Light"/>
              </a:rPr>
              <a:t>that harnesses  emerging </a:t>
            </a:r>
            <a:r>
              <a:rPr sz="1400" b="0" spc="-10" dirty="0">
                <a:solidFill>
                  <a:srgbClr val="FFFFFF"/>
                </a:solidFill>
                <a:cs typeface="Univers for KPMG Light"/>
              </a:rPr>
              <a:t>technologies </a:t>
            </a:r>
            <a:r>
              <a:rPr sz="1400" b="0" spc="-15" dirty="0">
                <a:solidFill>
                  <a:srgbClr val="FFFFFF"/>
                </a:solidFill>
                <a:cs typeface="Univers for KPMG Light"/>
              </a:rPr>
              <a:t>such </a:t>
            </a:r>
            <a:r>
              <a:rPr sz="1400" b="0" dirty="0">
                <a:solidFill>
                  <a:srgbClr val="FFFFFF"/>
                </a:solidFill>
                <a:cs typeface="Univers for KPMG Light"/>
              </a:rPr>
              <a:t>as </a:t>
            </a:r>
            <a:r>
              <a:rPr sz="1400" b="0" spc="-5" dirty="0">
                <a:solidFill>
                  <a:srgbClr val="FFFFFF"/>
                </a:solidFill>
                <a:cs typeface="Univers for KPMG Light"/>
              </a:rPr>
              <a:t>the  Internet of </a:t>
            </a:r>
            <a:r>
              <a:rPr sz="1400" b="0" spc="-10" dirty="0">
                <a:solidFill>
                  <a:srgbClr val="FFFFFF"/>
                </a:solidFill>
                <a:cs typeface="Univers for KPMG Light"/>
              </a:rPr>
              <a:t>Things, </a:t>
            </a:r>
            <a:r>
              <a:rPr sz="1400" b="0" spc="-5" dirty="0">
                <a:solidFill>
                  <a:srgbClr val="FFFFFF"/>
                </a:solidFill>
                <a:cs typeface="Univers for KPMG Light"/>
              </a:rPr>
              <a:t>Artificial  Intelligence, </a:t>
            </a:r>
            <a:r>
              <a:rPr sz="1400" b="0" spc="-10" dirty="0">
                <a:solidFill>
                  <a:srgbClr val="FFFFFF"/>
                </a:solidFill>
                <a:cs typeface="Univers for KPMG Light"/>
              </a:rPr>
              <a:t>Machine </a:t>
            </a:r>
            <a:r>
              <a:rPr sz="1400" b="0" spc="-5" dirty="0">
                <a:solidFill>
                  <a:srgbClr val="FFFFFF"/>
                </a:solidFill>
                <a:cs typeface="Univers for KPMG Light"/>
              </a:rPr>
              <a:t>Learning and  Big </a:t>
            </a:r>
            <a:r>
              <a:rPr sz="1400" b="0" spc="5" dirty="0">
                <a:solidFill>
                  <a:srgbClr val="FFFFFF"/>
                </a:solidFill>
                <a:cs typeface="Univers for KPMG Light"/>
              </a:rPr>
              <a:t>Data </a:t>
            </a:r>
            <a:r>
              <a:rPr sz="1400" b="0" spc="-5" dirty="0">
                <a:solidFill>
                  <a:srgbClr val="FFFFFF"/>
                </a:solidFill>
                <a:cs typeface="Univers for KPMG Light"/>
              </a:rPr>
              <a:t>in order </a:t>
            </a:r>
            <a:r>
              <a:rPr sz="1400" b="0" dirty="0">
                <a:solidFill>
                  <a:srgbClr val="FFFFFF"/>
                </a:solidFill>
                <a:cs typeface="Univers for KPMG Light"/>
              </a:rPr>
              <a:t>to </a:t>
            </a:r>
            <a:r>
              <a:rPr sz="1400" b="0" spc="-10" dirty="0">
                <a:solidFill>
                  <a:srgbClr val="FFFFFF"/>
                </a:solidFill>
                <a:cs typeface="Univers for KPMG Light"/>
              </a:rPr>
              <a:t>make </a:t>
            </a:r>
            <a:r>
              <a:rPr sz="1400" b="0" spc="-5" dirty="0">
                <a:solidFill>
                  <a:srgbClr val="FFFFFF"/>
                </a:solidFill>
                <a:cs typeface="Univers for KPMG Light"/>
              </a:rPr>
              <a:t>it more  </a:t>
            </a:r>
            <a:r>
              <a:rPr sz="1400" b="0" spc="-10" dirty="0" err="1">
                <a:solidFill>
                  <a:srgbClr val="FFFFFF"/>
                </a:solidFill>
                <a:cs typeface="Univers for KPMG Light"/>
              </a:rPr>
              <a:t>liveable</a:t>
            </a:r>
            <a:r>
              <a:rPr sz="1400" b="0" spc="-10" dirty="0">
                <a:solidFill>
                  <a:srgbClr val="FFFFFF"/>
                </a:solidFill>
                <a:cs typeface="Univers for KPMG Light"/>
              </a:rPr>
              <a:t>, workable </a:t>
            </a:r>
            <a:r>
              <a:rPr sz="1400" b="0" spc="-5" dirty="0">
                <a:solidFill>
                  <a:srgbClr val="FFFFFF"/>
                </a:solidFill>
                <a:cs typeface="Univers for KPMG Light"/>
              </a:rPr>
              <a:t>and</a:t>
            </a:r>
            <a:r>
              <a:rPr sz="1400" b="0" spc="-25" dirty="0">
                <a:solidFill>
                  <a:srgbClr val="FFFFFF"/>
                </a:solidFill>
                <a:cs typeface="Univers for KPMG Light"/>
              </a:rPr>
              <a:t> </a:t>
            </a:r>
            <a:r>
              <a:rPr sz="1400" b="0" dirty="0">
                <a:solidFill>
                  <a:srgbClr val="FFFFFF"/>
                </a:solidFill>
                <a:cs typeface="Univers for KPMG Light"/>
              </a:rPr>
              <a:t>sustainable.</a:t>
            </a:r>
            <a:endParaRPr sz="1400" dirty="0">
              <a:cs typeface="Univers for KPMG Light"/>
            </a:endParaRPr>
          </a:p>
          <a:p>
            <a:pPr>
              <a:lnSpc>
                <a:spcPct val="100000"/>
              </a:lnSpc>
            </a:pPr>
            <a:endParaRPr sz="1400" dirty="0">
              <a:cs typeface="Times New Roman"/>
            </a:endParaRPr>
          </a:p>
        </p:txBody>
      </p:sp>
      <p:sp>
        <p:nvSpPr>
          <p:cNvPr id="164" name="object 4"/>
          <p:cNvSpPr/>
          <p:nvPr/>
        </p:nvSpPr>
        <p:spPr>
          <a:xfrm>
            <a:off x="586412" y="584391"/>
            <a:ext cx="10553700" cy="76200"/>
          </a:xfrm>
          <a:custGeom>
            <a:avLst/>
            <a:gdLst/>
            <a:ahLst/>
            <a:cxnLst/>
            <a:rect l="l" t="t" r="r" b="b"/>
            <a:pathLst>
              <a:path w="10553700" h="76200">
                <a:moveTo>
                  <a:pt x="10515600" y="0"/>
                </a:moveTo>
                <a:lnTo>
                  <a:pt x="10477500" y="38100"/>
                </a:lnTo>
                <a:lnTo>
                  <a:pt x="10515600" y="76200"/>
                </a:lnTo>
                <a:lnTo>
                  <a:pt x="10547350" y="44450"/>
                </a:lnTo>
                <a:lnTo>
                  <a:pt x="10515600" y="44450"/>
                </a:lnTo>
                <a:lnTo>
                  <a:pt x="10515600" y="31750"/>
                </a:lnTo>
                <a:lnTo>
                  <a:pt x="10547350" y="31750"/>
                </a:lnTo>
                <a:lnTo>
                  <a:pt x="10515600" y="0"/>
                </a:lnTo>
                <a:close/>
              </a:path>
              <a:path w="10553700" h="76200">
                <a:moveTo>
                  <a:pt x="10483850" y="31750"/>
                </a:moveTo>
                <a:lnTo>
                  <a:pt x="0" y="31750"/>
                </a:lnTo>
                <a:lnTo>
                  <a:pt x="0" y="44450"/>
                </a:lnTo>
                <a:lnTo>
                  <a:pt x="10483850" y="44450"/>
                </a:lnTo>
                <a:lnTo>
                  <a:pt x="10477500" y="38100"/>
                </a:lnTo>
                <a:lnTo>
                  <a:pt x="10483850" y="31750"/>
                </a:lnTo>
                <a:close/>
              </a:path>
              <a:path w="10553700" h="76200">
                <a:moveTo>
                  <a:pt x="10547350" y="31750"/>
                </a:moveTo>
                <a:lnTo>
                  <a:pt x="10515600" y="31750"/>
                </a:lnTo>
                <a:lnTo>
                  <a:pt x="10515600" y="44450"/>
                </a:lnTo>
                <a:lnTo>
                  <a:pt x="10547350" y="44450"/>
                </a:lnTo>
                <a:lnTo>
                  <a:pt x="10553700" y="38100"/>
                </a:lnTo>
                <a:lnTo>
                  <a:pt x="10547350" y="31750"/>
                </a:lnTo>
                <a:close/>
              </a:path>
            </a:pathLst>
          </a:custGeom>
          <a:solidFill>
            <a:srgbClr val="6C1F77"/>
          </a:solidFill>
        </p:spPr>
        <p:txBody>
          <a:bodyPr wrap="square" lIns="0" tIns="0" rIns="0" bIns="0" rtlCol="0"/>
          <a:lstStyle/>
          <a:p>
            <a:endParaRPr/>
          </a:p>
        </p:txBody>
      </p:sp>
    </p:spTree>
    <p:extLst>
      <p:ext uri="{BB962C8B-B14F-4D97-AF65-F5344CB8AC3E}">
        <p14:creationId xmlns:p14="http://schemas.microsoft.com/office/powerpoint/2010/main" val="3994560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35" presetClass="path" presetSubtype="0" decel="100000" fill="hold" grpId="1" nodeType="withEffect">
                                  <p:stCondLst>
                                    <p:cond delay="500"/>
                                  </p:stCondLst>
                                  <p:childTnLst>
                                    <p:animMotion origin="layout" path="M 0 -1.85185E-6 L 0 0.06736 " pathEditMode="relative" rAng="0" ptsTypes="AA">
                                      <p:cBhvr>
                                        <p:cTn id="9" dur="750" spd="-100000" fill="hold"/>
                                        <p:tgtEl>
                                          <p:spTgt spid="119"/>
                                        </p:tgtEl>
                                        <p:attrNameLst>
                                          <p:attrName>ppt_x</p:attrName>
                                          <p:attrName>ppt_y</p:attrName>
                                        </p:attrNameLst>
                                      </p:cBhvr>
                                      <p:rCtr x="0" y="33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19" grpId="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Title 1">
            <a:extLst>
              <a:ext uri="{FF2B5EF4-FFF2-40B4-BE49-F238E27FC236}">
                <a16:creationId xmlns:a16="http://schemas.microsoft.com/office/drawing/2014/main" xmlns="" id="{1B2F9459-C4C9-4934-B621-852895064953}"/>
              </a:ext>
            </a:extLst>
          </p:cNvPr>
          <p:cNvSpPr>
            <a:spLocks noGrp="1"/>
          </p:cNvSpPr>
          <p:nvPr>
            <p:ph type="title"/>
          </p:nvPr>
        </p:nvSpPr>
        <p:spPr>
          <a:xfrm>
            <a:off x="557511" y="200685"/>
            <a:ext cx="10195200" cy="533400"/>
          </a:xfrm>
        </p:spPr>
        <p:txBody>
          <a:bodyPr/>
          <a:lstStyle/>
          <a:p>
            <a:r>
              <a:rPr lang="en-US" sz="3200" dirty="0">
                <a:solidFill>
                  <a:srgbClr val="0070C0"/>
                </a:solidFill>
                <a:latin typeface="Cambria" panose="02040503050406030204" pitchFamily="18" charset="0"/>
              </a:rPr>
              <a:t>Smart Cities Ecosystem: </a:t>
            </a:r>
            <a:r>
              <a:rPr lang="en-US" sz="2400" dirty="0">
                <a:solidFill>
                  <a:srgbClr val="C00000"/>
                </a:solidFill>
                <a:latin typeface="Cambria" panose="02040503050406030204" pitchFamily="18" charset="0"/>
              </a:rPr>
              <a:t>“System of Systems” and related Services</a:t>
            </a:r>
          </a:p>
        </p:txBody>
      </p:sp>
      <p:grpSp>
        <p:nvGrpSpPr>
          <p:cNvPr id="3" name="Group 2"/>
          <p:cNvGrpSpPr/>
          <p:nvPr/>
        </p:nvGrpSpPr>
        <p:grpSpPr>
          <a:xfrm>
            <a:off x="557512" y="734085"/>
            <a:ext cx="11394082" cy="5409138"/>
            <a:chOff x="1827658" y="734085"/>
            <a:chExt cx="8925053" cy="4967223"/>
          </a:xfrm>
        </p:grpSpPr>
        <p:sp>
          <p:nvSpPr>
            <p:cNvPr id="13" name="object 6"/>
            <p:cNvSpPr/>
            <p:nvPr/>
          </p:nvSpPr>
          <p:spPr>
            <a:xfrm>
              <a:off x="1833754" y="4745252"/>
              <a:ext cx="8910955" cy="949960"/>
            </a:xfrm>
            <a:custGeom>
              <a:avLst/>
              <a:gdLst/>
              <a:ahLst/>
              <a:cxnLst/>
              <a:rect l="l" t="t" r="r" b="b"/>
              <a:pathLst>
                <a:path w="8910955" h="949959">
                  <a:moveTo>
                    <a:pt x="8910827" y="0"/>
                  </a:moveTo>
                  <a:lnTo>
                    <a:pt x="8910827" y="949451"/>
                  </a:lnTo>
                  <a:lnTo>
                    <a:pt x="0" y="949451"/>
                  </a:lnTo>
                  <a:lnTo>
                    <a:pt x="0" y="0"/>
                  </a:lnTo>
                  <a:lnTo>
                    <a:pt x="8910827" y="0"/>
                  </a:lnTo>
                  <a:close/>
                </a:path>
              </a:pathLst>
            </a:custGeom>
            <a:solidFill>
              <a:srgbClr val="460A67"/>
            </a:solidFill>
          </p:spPr>
          <p:txBody>
            <a:bodyPr wrap="square" lIns="0" tIns="0" rIns="0" bIns="0" rtlCol="0"/>
            <a:lstStyle/>
            <a:p>
              <a:endParaRPr/>
            </a:p>
          </p:txBody>
        </p:sp>
        <p:sp>
          <p:nvSpPr>
            <p:cNvPr id="14" name="object 7"/>
            <p:cNvSpPr/>
            <p:nvPr/>
          </p:nvSpPr>
          <p:spPr>
            <a:xfrm>
              <a:off x="10744710" y="4739157"/>
              <a:ext cx="0" cy="962025"/>
            </a:xfrm>
            <a:custGeom>
              <a:avLst/>
              <a:gdLst/>
              <a:ahLst/>
              <a:cxnLst/>
              <a:rect l="l" t="t" r="r" b="b"/>
              <a:pathLst>
                <a:path h="962025">
                  <a:moveTo>
                    <a:pt x="0" y="0"/>
                  </a:moveTo>
                  <a:lnTo>
                    <a:pt x="0" y="961644"/>
                  </a:lnTo>
                </a:path>
              </a:pathLst>
            </a:custGeom>
            <a:ln w="11430">
              <a:solidFill>
                <a:srgbClr val="460A67"/>
              </a:solidFill>
            </a:ln>
          </p:spPr>
          <p:txBody>
            <a:bodyPr wrap="square" lIns="0" tIns="0" rIns="0" bIns="0" rtlCol="0"/>
            <a:lstStyle/>
            <a:p>
              <a:endParaRPr/>
            </a:p>
          </p:txBody>
        </p:sp>
        <p:sp>
          <p:nvSpPr>
            <p:cNvPr id="15" name="object 8"/>
            <p:cNvSpPr/>
            <p:nvPr/>
          </p:nvSpPr>
          <p:spPr>
            <a:xfrm>
              <a:off x="1840104" y="4739157"/>
              <a:ext cx="8898890" cy="13970"/>
            </a:xfrm>
            <a:custGeom>
              <a:avLst/>
              <a:gdLst/>
              <a:ahLst/>
              <a:cxnLst/>
              <a:rect l="l" t="t" r="r" b="b"/>
              <a:pathLst>
                <a:path w="8898890" h="13970">
                  <a:moveTo>
                    <a:pt x="0" y="13716"/>
                  </a:moveTo>
                  <a:lnTo>
                    <a:pt x="8898890" y="13716"/>
                  </a:lnTo>
                  <a:lnTo>
                    <a:pt x="8898890" y="0"/>
                  </a:lnTo>
                  <a:lnTo>
                    <a:pt x="0" y="0"/>
                  </a:lnTo>
                  <a:lnTo>
                    <a:pt x="0" y="13716"/>
                  </a:lnTo>
                  <a:close/>
                </a:path>
              </a:pathLst>
            </a:custGeom>
            <a:solidFill>
              <a:srgbClr val="460A67"/>
            </a:solidFill>
          </p:spPr>
          <p:txBody>
            <a:bodyPr wrap="square" lIns="0" tIns="0" rIns="0" bIns="0" rtlCol="0"/>
            <a:lstStyle/>
            <a:p>
              <a:endParaRPr/>
            </a:p>
          </p:txBody>
        </p:sp>
        <p:sp>
          <p:nvSpPr>
            <p:cNvPr id="16" name="object 9"/>
            <p:cNvSpPr/>
            <p:nvPr/>
          </p:nvSpPr>
          <p:spPr>
            <a:xfrm>
              <a:off x="1833754" y="4742967"/>
              <a:ext cx="6350" cy="0"/>
            </a:xfrm>
            <a:custGeom>
              <a:avLst/>
              <a:gdLst/>
              <a:ahLst/>
              <a:cxnLst/>
              <a:rect l="l" t="t" r="r" b="b"/>
              <a:pathLst>
                <a:path w="6350">
                  <a:moveTo>
                    <a:pt x="0" y="0"/>
                  </a:moveTo>
                  <a:lnTo>
                    <a:pt x="6350" y="0"/>
                  </a:lnTo>
                </a:path>
              </a:pathLst>
            </a:custGeom>
            <a:ln w="7619">
              <a:solidFill>
                <a:srgbClr val="460A67"/>
              </a:solidFill>
            </a:ln>
          </p:spPr>
          <p:txBody>
            <a:bodyPr wrap="square" lIns="0" tIns="0" rIns="0" bIns="0" rtlCol="0"/>
            <a:lstStyle/>
            <a:p>
              <a:endParaRPr/>
            </a:p>
          </p:txBody>
        </p:sp>
        <p:sp>
          <p:nvSpPr>
            <p:cNvPr id="17" name="object 10"/>
            <p:cNvSpPr/>
            <p:nvPr/>
          </p:nvSpPr>
          <p:spPr>
            <a:xfrm>
              <a:off x="1830579" y="4739157"/>
              <a:ext cx="0" cy="962025"/>
            </a:xfrm>
            <a:custGeom>
              <a:avLst/>
              <a:gdLst/>
              <a:ahLst/>
              <a:cxnLst/>
              <a:rect l="l" t="t" r="r" b="b"/>
              <a:pathLst>
                <a:path h="962025">
                  <a:moveTo>
                    <a:pt x="0" y="0"/>
                  </a:moveTo>
                  <a:lnTo>
                    <a:pt x="0" y="961644"/>
                  </a:lnTo>
                </a:path>
              </a:pathLst>
            </a:custGeom>
            <a:ln w="6350">
              <a:solidFill>
                <a:srgbClr val="460A67"/>
              </a:solidFill>
            </a:ln>
          </p:spPr>
          <p:txBody>
            <a:bodyPr wrap="square" lIns="0" tIns="0" rIns="0" bIns="0" rtlCol="0"/>
            <a:lstStyle/>
            <a:p>
              <a:endParaRPr/>
            </a:p>
          </p:txBody>
        </p:sp>
        <p:sp>
          <p:nvSpPr>
            <p:cNvPr id="18" name="object 11"/>
            <p:cNvSpPr/>
            <p:nvPr/>
          </p:nvSpPr>
          <p:spPr>
            <a:xfrm>
              <a:off x="1840104" y="5688608"/>
              <a:ext cx="8898890" cy="12700"/>
            </a:xfrm>
            <a:custGeom>
              <a:avLst/>
              <a:gdLst/>
              <a:ahLst/>
              <a:cxnLst/>
              <a:rect l="l" t="t" r="r" b="b"/>
              <a:pathLst>
                <a:path w="8898890" h="12700">
                  <a:moveTo>
                    <a:pt x="0" y="12192"/>
                  </a:moveTo>
                  <a:lnTo>
                    <a:pt x="8898890" y="12192"/>
                  </a:lnTo>
                  <a:lnTo>
                    <a:pt x="8898890" y="0"/>
                  </a:lnTo>
                  <a:lnTo>
                    <a:pt x="0" y="0"/>
                  </a:lnTo>
                  <a:lnTo>
                    <a:pt x="0" y="12192"/>
                  </a:lnTo>
                  <a:close/>
                </a:path>
              </a:pathLst>
            </a:custGeom>
            <a:solidFill>
              <a:srgbClr val="460A67"/>
            </a:solidFill>
          </p:spPr>
          <p:txBody>
            <a:bodyPr wrap="square" lIns="0" tIns="0" rIns="0" bIns="0" rtlCol="0"/>
            <a:lstStyle/>
            <a:p>
              <a:endParaRPr/>
            </a:p>
          </p:txBody>
        </p:sp>
        <p:sp>
          <p:nvSpPr>
            <p:cNvPr id="19" name="object 12"/>
            <p:cNvSpPr/>
            <p:nvPr/>
          </p:nvSpPr>
          <p:spPr>
            <a:xfrm>
              <a:off x="1836929" y="4746776"/>
              <a:ext cx="0" cy="954405"/>
            </a:xfrm>
            <a:custGeom>
              <a:avLst/>
              <a:gdLst/>
              <a:ahLst/>
              <a:cxnLst/>
              <a:rect l="l" t="t" r="r" b="b"/>
              <a:pathLst>
                <a:path h="954404">
                  <a:moveTo>
                    <a:pt x="0" y="0"/>
                  </a:moveTo>
                  <a:lnTo>
                    <a:pt x="0" y="954024"/>
                  </a:lnTo>
                </a:path>
              </a:pathLst>
            </a:custGeom>
            <a:ln w="6350">
              <a:solidFill>
                <a:srgbClr val="460A67"/>
              </a:solidFill>
            </a:ln>
          </p:spPr>
          <p:txBody>
            <a:bodyPr wrap="square" lIns="0" tIns="0" rIns="0" bIns="0" rtlCol="0"/>
            <a:lstStyle/>
            <a:p>
              <a:endParaRPr/>
            </a:p>
          </p:txBody>
        </p:sp>
        <p:sp>
          <p:nvSpPr>
            <p:cNvPr id="20" name="object 13"/>
            <p:cNvSpPr txBox="1"/>
            <p:nvPr/>
          </p:nvSpPr>
          <p:spPr>
            <a:xfrm>
              <a:off x="5813989" y="4796524"/>
              <a:ext cx="948690" cy="153888"/>
            </a:xfrm>
            <a:prstGeom prst="rect">
              <a:avLst/>
            </a:prstGeom>
          </p:spPr>
          <p:txBody>
            <a:bodyPr vert="horz" wrap="square" lIns="0" tIns="0" rIns="0" bIns="0" rtlCol="0">
              <a:spAutoFit/>
            </a:bodyPr>
            <a:lstStyle/>
            <a:p>
              <a:pPr marL="12700">
                <a:lnSpc>
                  <a:spcPct val="100000"/>
                </a:lnSpc>
              </a:pPr>
              <a:r>
                <a:rPr sz="1000" spc="65" dirty="0">
                  <a:solidFill>
                    <a:srgbClr val="FFFFFF"/>
                  </a:solidFill>
                  <a:cs typeface="Times New Roman"/>
                </a:rPr>
                <a:t>Enabling</a:t>
              </a:r>
              <a:r>
                <a:rPr sz="1000" spc="-60" dirty="0">
                  <a:solidFill>
                    <a:srgbClr val="FFFFFF"/>
                  </a:solidFill>
                  <a:cs typeface="Times New Roman"/>
                </a:rPr>
                <a:t> </a:t>
              </a:r>
              <a:r>
                <a:rPr sz="1000" spc="70" dirty="0">
                  <a:solidFill>
                    <a:srgbClr val="FFFFFF"/>
                  </a:solidFill>
                  <a:cs typeface="Times New Roman"/>
                </a:rPr>
                <a:t>levers</a:t>
              </a:r>
              <a:endParaRPr sz="1000">
                <a:cs typeface="Times New Roman"/>
              </a:endParaRPr>
            </a:p>
          </p:txBody>
        </p:sp>
        <p:sp>
          <p:nvSpPr>
            <p:cNvPr id="21" name="object 14"/>
            <p:cNvSpPr/>
            <p:nvPr/>
          </p:nvSpPr>
          <p:spPr>
            <a:xfrm>
              <a:off x="1987678" y="5042432"/>
              <a:ext cx="821690" cy="605155"/>
            </a:xfrm>
            <a:custGeom>
              <a:avLst/>
              <a:gdLst/>
              <a:ahLst/>
              <a:cxnLst/>
              <a:rect l="l" t="t" r="r" b="b"/>
              <a:pathLst>
                <a:path w="821689" h="605154">
                  <a:moveTo>
                    <a:pt x="0" y="504444"/>
                  </a:moveTo>
                  <a:lnTo>
                    <a:pt x="0" y="100584"/>
                  </a:lnTo>
                  <a:lnTo>
                    <a:pt x="7786" y="61079"/>
                  </a:lnTo>
                  <a:lnTo>
                    <a:pt x="29146" y="29146"/>
                  </a:lnTo>
                  <a:lnTo>
                    <a:pt x="61079" y="7786"/>
                  </a:lnTo>
                  <a:lnTo>
                    <a:pt x="100583" y="0"/>
                  </a:lnTo>
                  <a:lnTo>
                    <a:pt x="720852" y="0"/>
                  </a:lnTo>
                  <a:lnTo>
                    <a:pt x="760356" y="7786"/>
                  </a:lnTo>
                  <a:lnTo>
                    <a:pt x="792289" y="29146"/>
                  </a:lnTo>
                  <a:lnTo>
                    <a:pt x="813649" y="61079"/>
                  </a:lnTo>
                  <a:lnTo>
                    <a:pt x="821435" y="100584"/>
                  </a:lnTo>
                  <a:lnTo>
                    <a:pt x="821435" y="504444"/>
                  </a:lnTo>
                  <a:lnTo>
                    <a:pt x="813649" y="543306"/>
                  </a:lnTo>
                  <a:lnTo>
                    <a:pt x="792289" y="575309"/>
                  </a:lnTo>
                  <a:lnTo>
                    <a:pt x="760356" y="597026"/>
                  </a:lnTo>
                  <a:lnTo>
                    <a:pt x="720852"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22" name="object 15"/>
            <p:cNvSpPr txBox="1"/>
            <p:nvPr/>
          </p:nvSpPr>
          <p:spPr>
            <a:xfrm>
              <a:off x="2095306" y="5074896"/>
              <a:ext cx="606425" cy="123111"/>
            </a:xfrm>
            <a:prstGeom prst="rect">
              <a:avLst/>
            </a:prstGeom>
          </p:spPr>
          <p:txBody>
            <a:bodyPr vert="horz" wrap="square" lIns="0" tIns="0" rIns="0" bIns="0" rtlCol="0">
              <a:spAutoFit/>
            </a:bodyPr>
            <a:lstStyle/>
            <a:p>
              <a:pPr marL="12700">
                <a:lnSpc>
                  <a:spcPct val="100000"/>
                </a:lnSpc>
              </a:pPr>
              <a:r>
                <a:rPr sz="800" spc="65" dirty="0">
                  <a:solidFill>
                    <a:srgbClr val="460A67"/>
                  </a:solidFill>
                  <a:cs typeface="Times New Roman"/>
                </a:rPr>
                <a:t>Governance</a:t>
              </a:r>
              <a:endParaRPr sz="800">
                <a:cs typeface="Times New Roman"/>
              </a:endParaRPr>
            </a:p>
          </p:txBody>
        </p:sp>
        <p:sp>
          <p:nvSpPr>
            <p:cNvPr id="23" name="object 16"/>
            <p:cNvSpPr/>
            <p:nvPr/>
          </p:nvSpPr>
          <p:spPr>
            <a:xfrm>
              <a:off x="2455546" y="5453913"/>
              <a:ext cx="43180" cy="40005"/>
            </a:xfrm>
            <a:custGeom>
              <a:avLst/>
              <a:gdLst/>
              <a:ahLst/>
              <a:cxnLst/>
              <a:rect l="l" t="t" r="r" b="b"/>
              <a:pathLst>
                <a:path w="43180" h="40004">
                  <a:moveTo>
                    <a:pt x="0" y="19812"/>
                  </a:moveTo>
                  <a:lnTo>
                    <a:pt x="1619" y="12215"/>
                  </a:lnTo>
                  <a:lnTo>
                    <a:pt x="6095" y="5905"/>
                  </a:lnTo>
                  <a:lnTo>
                    <a:pt x="12858" y="1595"/>
                  </a:lnTo>
                  <a:lnTo>
                    <a:pt x="21336" y="0"/>
                  </a:lnTo>
                  <a:lnTo>
                    <a:pt x="29170" y="1595"/>
                  </a:lnTo>
                  <a:lnTo>
                    <a:pt x="36004" y="5905"/>
                  </a:lnTo>
                  <a:lnTo>
                    <a:pt x="40838" y="12215"/>
                  </a:lnTo>
                  <a:lnTo>
                    <a:pt x="42672" y="19812"/>
                  </a:lnTo>
                  <a:lnTo>
                    <a:pt x="40838" y="27408"/>
                  </a:lnTo>
                  <a:lnTo>
                    <a:pt x="36004" y="33718"/>
                  </a:lnTo>
                  <a:lnTo>
                    <a:pt x="29170" y="38028"/>
                  </a:lnTo>
                  <a:lnTo>
                    <a:pt x="21336" y="39624"/>
                  </a:lnTo>
                  <a:lnTo>
                    <a:pt x="12858" y="38028"/>
                  </a:lnTo>
                  <a:lnTo>
                    <a:pt x="6095" y="33718"/>
                  </a:lnTo>
                  <a:lnTo>
                    <a:pt x="1619" y="27408"/>
                  </a:lnTo>
                  <a:lnTo>
                    <a:pt x="0" y="19812"/>
                  </a:lnTo>
                  <a:close/>
                </a:path>
              </a:pathLst>
            </a:custGeom>
            <a:solidFill>
              <a:srgbClr val="460A67"/>
            </a:solidFill>
          </p:spPr>
          <p:txBody>
            <a:bodyPr wrap="square" lIns="0" tIns="0" rIns="0" bIns="0" rtlCol="0"/>
            <a:lstStyle/>
            <a:p>
              <a:endParaRPr/>
            </a:p>
          </p:txBody>
        </p:sp>
        <p:sp>
          <p:nvSpPr>
            <p:cNvPr id="24" name="object 17"/>
            <p:cNvSpPr/>
            <p:nvPr/>
          </p:nvSpPr>
          <p:spPr>
            <a:xfrm>
              <a:off x="2437258" y="5432576"/>
              <a:ext cx="91440" cy="149860"/>
            </a:xfrm>
            <a:custGeom>
              <a:avLst/>
              <a:gdLst/>
              <a:ahLst/>
              <a:cxnLst/>
              <a:rect l="l" t="t" r="r" b="b"/>
              <a:pathLst>
                <a:path w="91440" h="149859">
                  <a:moveTo>
                    <a:pt x="60959" y="143255"/>
                  </a:moveTo>
                  <a:lnTo>
                    <a:pt x="60959" y="73151"/>
                  </a:lnTo>
                  <a:lnTo>
                    <a:pt x="91439" y="134111"/>
                  </a:lnTo>
                  <a:lnTo>
                    <a:pt x="73151" y="134111"/>
                  </a:lnTo>
                  <a:lnTo>
                    <a:pt x="64007" y="149351"/>
                  </a:lnTo>
                  <a:lnTo>
                    <a:pt x="60959" y="143255"/>
                  </a:lnTo>
                  <a:close/>
                </a:path>
                <a:path w="91440" h="149859">
                  <a:moveTo>
                    <a:pt x="0" y="39623"/>
                  </a:moveTo>
                  <a:lnTo>
                    <a:pt x="3190" y="24431"/>
                  </a:lnTo>
                  <a:lnTo>
                    <a:pt x="11810" y="11810"/>
                  </a:lnTo>
                  <a:lnTo>
                    <a:pt x="24431" y="3190"/>
                  </a:lnTo>
                  <a:lnTo>
                    <a:pt x="39623" y="0"/>
                  </a:lnTo>
                  <a:lnTo>
                    <a:pt x="54816" y="3190"/>
                  </a:lnTo>
                  <a:lnTo>
                    <a:pt x="67436" y="11810"/>
                  </a:lnTo>
                  <a:lnTo>
                    <a:pt x="76057" y="24431"/>
                  </a:lnTo>
                  <a:lnTo>
                    <a:pt x="79247" y="39623"/>
                  </a:lnTo>
                  <a:lnTo>
                    <a:pt x="78104" y="50434"/>
                  </a:lnTo>
                  <a:lnTo>
                    <a:pt x="76199" y="55647"/>
                  </a:lnTo>
                  <a:lnTo>
                    <a:pt x="76199" y="33527"/>
                  </a:lnTo>
                  <a:lnTo>
                    <a:pt x="70103" y="35559"/>
                  </a:lnTo>
                  <a:lnTo>
                    <a:pt x="70103" y="18287"/>
                  </a:lnTo>
                  <a:lnTo>
                    <a:pt x="67055" y="15239"/>
                  </a:lnTo>
                  <a:lnTo>
                    <a:pt x="60959" y="12191"/>
                  </a:lnTo>
                  <a:lnTo>
                    <a:pt x="57911" y="9143"/>
                  </a:lnTo>
                  <a:lnTo>
                    <a:pt x="51815" y="15239"/>
                  </a:lnTo>
                  <a:lnTo>
                    <a:pt x="51815" y="18742"/>
                  </a:lnTo>
                  <a:lnTo>
                    <a:pt x="49863" y="17335"/>
                  </a:lnTo>
                  <a:lnTo>
                    <a:pt x="42671" y="15863"/>
                  </a:lnTo>
                  <a:lnTo>
                    <a:pt x="42671" y="3047"/>
                  </a:lnTo>
                  <a:lnTo>
                    <a:pt x="33527" y="3047"/>
                  </a:lnTo>
                  <a:lnTo>
                    <a:pt x="30479" y="6095"/>
                  </a:lnTo>
                  <a:lnTo>
                    <a:pt x="27431" y="6095"/>
                  </a:lnTo>
                  <a:lnTo>
                    <a:pt x="27431" y="18742"/>
                  </a:lnTo>
                  <a:lnTo>
                    <a:pt x="21716" y="22859"/>
                  </a:lnTo>
                  <a:lnTo>
                    <a:pt x="18287" y="28427"/>
                  </a:lnTo>
                  <a:lnTo>
                    <a:pt x="18287" y="21335"/>
                  </a:lnTo>
                  <a:lnTo>
                    <a:pt x="12191" y="15239"/>
                  </a:lnTo>
                  <a:lnTo>
                    <a:pt x="9143" y="18287"/>
                  </a:lnTo>
                  <a:lnTo>
                    <a:pt x="6095" y="24383"/>
                  </a:lnTo>
                  <a:lnTo>
                    <a:pt x="6095" y="44703"/>
                  </a:lnTo>
                  <a:lnTo>
                    <a:pt x="3047" y="45719"/>
                  </a:lnTo>
                  <a:lnTo>
                    <a:pt x="3047" y="55647"/>
                  </a:lnTo>
                  <a:lnTo>
                    <a:pt x="1142" y="50434"/>
                  </a:lnTo>
                  <a:lnTo>
                    <a:pt x="0" y="39623"/>
                  </a:lnTo>
                  <a:close/>
                </a:path>
                <a:path w="91440" h="149859">
                  <a:moveTo>
                    <a:pt x="45719" y="112775"/>
                  </a:moveTo>
                  <a:lnTo>
                    <a:pt x="45719" y="67055"/>
                  </a:lnTo>
                  <a:lnTo>
                    <a:pt x="48767" y="76199"/>
                  </a:lnTo>
                  <a:lnTo>
                    <a:pt x="54863" y="76199"/>
                  </a:lnTo>
                  <a:lnTo>
                    <a:pt x="57911" y="73151"/>
                  </a:lnTo>
                  <a:lnTo>
                    <a:pt x="64007" y="70103"/>
                  </a:lnTo>
                  <a:lnTo>
                    <a:pt x="64007" y="51815"/>
                  </a:lnTo>
                  <a:lnTo>
                    <a:pt x="73151" y="54863"/>
                  </a:lnTo>
                  <a:lnTo>
                    <a:pt x="76199" y="51815"/>
                  </a:lnTo>
                  <a:lnTo>
                    <a:pt x="76199" y="55647"/>
                  </a:lnTo>
                  <a:lnTo>
                    <a:pt x="74675" y="59816"/>
                  </a:lnTo>
                  <a:lnTo>
                    <a:pt x="68960" y="67484"/>
                  </a:lnTo>
                  <a:lnTo>
                    <a:pt x="60959" y="73151"/>
                  </a:lnTo>
                  <a:lnTo>
                    <a:pt x="60959" y="143255"/>
                  </a:lnTo>
                  <a:lnTo>
                    <a:pt x="45719" y="112775"/>
                  </a:lnTo>
                  <a:close/>
                </a:path>
                <a:path w="91440" h="149859">
                  <a:moveTo>
                    <a:pt x="51815" y="18742"/>
                  </a:moveTo>
                  <a:lnTo>
                    <a:pt x="51815" y="15239"/>
                  </a:lnTo>
                  <a:lnTo>
                    <a:pt x="54863" y="18287"/>
                  </a:lnTo>
                  <a:lnTo>
                    <a:pt x="60959" y="21335"/>
                  </a:lnTo>
                  <a:lnTo>
                    <a:pt x="60959" y="24383"/>
                  </a:lnTo>
                  <a:lnTo>
                    <a:pt x="70103" y="18287"/>
                  </a:lnTo>
                  <a:lnTo>
                    <a:pt x="70103" y="35559"/>
                  </a:lnTo>
                  <a:lnTo>
                    <a:pt x="67055" y="36575"/>
                  </a:lnTo>
                  <a:lnTo>
                    <a:pt x="67055" y="48767"/>
                  </a:lnTo>
                  <a:lnTo>
                    <a:pt x="64007" y="51815"/>
                  </a:lnTo>
                  <a:lnTo>
                    <a:pt x="64007" y="39623"/>
                  </a:lnTo>
                  <a:lnTo>
                    <a:pt x="62341" y="30670"/>
                  </a:lnTo>
                  <a:lnTo>
                    <a:pt x="57530" y="22859"/>
                  </a:lnTo>
                  <a:lnTo>
                    <a:pt x="51815" y="18742"/>
                  </a:lnTo>
                  <a:close/>
                </a:path>
                <a:path w="91440" h="149859">
                  <a:moveTo>
                    <a:pt x="3047" y="55647"/>
                  </a:moveTo>
                  <a:lnTo>
                    <a:pt x="3047" y="48767"/>
                  </a:lnTo>
                  <a:lnTo>
                    <a:pt x="9143" y="60959"/>
                  </a:lnTo>
                  <a:lnTo>
                    <a:pt x="15239" y="54863"/>
                  </a:lnTo>
                  <a:lnTo>
                    <a:pt x="15239" y="39623"/>
                  </a:lnTo>
                  <a:lnTo>
                    <a:pt x="16906" y="50339"/>
                  </a:lnTo>
                  <a:lnTo>
                    <a:pt x="21716" y="59054"/>
                  </a:lnTo>
                  <a:lnTo>
                    <a:pt x="29384" y="64912"/>
                  </a:lnTo>
                  <a:lnTo>
                    <a:pt x="39623" y="67055"/>
                  </a:lnTo>
                  <a:lnTo>
                    <a:pt x="49863" y="64912"/>
                  </a:lnTo>
                  <a:lnTo>
                    <a:pt x="57530" y="59054"/>
                  </a:lnTo>
                  <a:lnTo>
                    <a:pt x="62341" y="50339"/>
                  </a:lnTo>
                  <a:lnTo>
                    <a:pt x="64007" y="39623"/>
                  </a:lnTo>
                  <a:lnTo>
                    <a:pt x="64007" y="70103"/>
                  </a:lnTo>
                  <a:lnTo>
                    <a:pt x="57911" y="60959"/>
                  </a:lnTo>
                  <a:lnTo>
                    <a:pt x="51815" y="67055"/>
                  </a:lnTo>
                  <a:lnTo>
                    <a:pt x="45719" y="67055"/>
                  </a:lnTo>
                  <a:lnTo>
                    <a:pt x="45719" y="112775"/>
                  </a:lnTo>
                  <a:lnTo>
                    <a:pt x="42671" y="106679"/>
                  </a:lnTo>
                  <a:lnTo>
                    <a:pt x="33527" y="136397"/>
                  </a:lnTo>
                  <a:lnTo>
                    <a:pt x="33527" y="67055"/>
                  </a:lnTo>
                  <a:lnTo>
                    <a:pt x="27431" y="67055"/>
                  </a:lnTo>
                  <a:lnTo>
                    <a:pt x="24383" y="64007"/>
                  </a:lnTo>
                  <a:lnTo>
                    <a:pt x="18287" y="70103"/>
                  </a:lnTo>
                  <a:lnTo>
                    <a:pt x="18287" y="73151"/>
                  </a:lnTo>
                  <a:lnTo>
                    <a:pt x="10286" y="67484"/>
                  </a:lnTo>
                  <a:lnTo>
                    <a:pt x="4571" y="59816"/>
                  </a:lnTo>
                  <a:lnTo>
                    <a:pt x="3047" y="55647"/>
                  </a:lnTo>
                  <a:close/>
                </a:path>
                <a:path w="91440" h="149859">
                  <a:moveTo>
                    <a:pt x="27431" y="18742"/>
                  </a:moveTo>
                  <a:lnTo>
                    <a:pt x="27431" y="6095"/>
                  </a:lnTo>
                  <a:lnTo>
                    <a:pt x="30479" y="15239"/>
                  </a:lnTo>
                  <a:lnTo>
                    <a:pt x="33527" y="12191"/>
                  </a:lnTo>
                  <a:lnTo>
                    <a:pt x="39623" y="12191"/>
                  </a:lnTo>
                  <a:lnTo>
                    <a:pt x="42671" y="3047"/>
                  </a:lnTo>
                  <a:lnTo>
                    <a:pt x="42671" y="15863"/>
                  </a:lnTo>
                  <a:lnTo>
                    <a:pt x="39623" y="15239"/>
                  </a:lnTo>
                  <a:lnTo>
                    <a:pt x="29384" y="17335"/>
                  </a:lnTo>
                  <a:lnTo>
                    <a:pt x="27431" y="18742"/>
                  </a:lnTo>
                  <a:close/>
                </a:path>
                <a:path w="91440" h="149859">
                  <a:moveTo>
                    <a:pt x="0" y="137159"/>
                  </a:moveTo>
                  <a:lnTo>
                    <a:pt x="18287" y="73151"/>
                  </a:lnTo>
                  <a:lnTo>
                    <a:pt x="18287" y="70103"/>
                  </a:lnTo>
                  <a:lnTo>
                    <a:pt x="24383" y="73151"/>
                  </a:lnTo>
                  <a:lnTo>
                    <a:pt x="27431" y="76199"/>
                  </a:lnTo>
                  <a:lnTo>
                    <a:pt x="33527" y="76199"/>
                  </a:lnTo>
                  <a:lnTo>
                    <a:pt x="33527" y="136397"/>
                  </a:lnTo>
                  <a:lnTo>
                    <a:pt x="30479" y="146303"/>
                  </a:lnTo>
                  <a:lnTo>
                    <a:pt x="18287" y="134111"/>
                  </a:lnTo>
                  <a:lnTo>
                    <a:pt x="0" y="137159"/>
                  </a:lnTo>
                  <a:close/>
                </a:path>
                <a:path w="91440" h="149859">
                  <a:moveTo>
                    <a:pt x="15239" y="39623"/>
                  </a:moveTo>
                  <a:lnTo>
                    <a:pt x="15239" y="24383"/>
                  </a:lnTo>
                  <a:lnTo>
                    <a:pt x="18287" y="21335"/>
                  </a:lnTo>
                  <a:lnTo>
                    <a:pt x="18287" y="28427"/>
                  </a:lnTo>
                  <a:lnTo>
                    <a:pt x="16906" y="30670"/>
                  </a:lnTo>
                  <a:lnTo>
                    <a:pt x="15239" y="39623"/>
                  </a:lnTo>
                  <a:close/>
                </a:path>
                <a:path w="91440" h="149859">
                  <a:moveTo>
                    <a:pt x="6095" y="44703"/>
                  </a:moveTo>
                  <a:lnTo>
                    <a:pt x="6095" y="30479"/>
                  </a:lnTo>
                  <a:lnTo>
                    <a:pt x="12191" y="30479"/>
                  </a:lnTo>
                  <a:lnTo>
                    <a:pt x="15239" y="27431"/>
                  </a:lnTo>
                  <a:lnTo>
                    <a:pt x="15239" y="54863"/>
                  </a:lnTo>
                  <a:lnTo>
                    <a:pt x="12191" y="51815"/>
                  </a:lnTo>
                  <a:lnTo>
                    <a:pt x="12191" y="42671"/>
                  </a:lnTo>
                  <a:lnTo>
                    <a:pt x="6095" y="44703"/>
                  </a:lnTo>
                  <a:close/>
                </a:path>
              </a:pathLst>
            </a:custGeom>
            <a:solidFill>
              <a:srgbClr val="460A67"/>
            </a:solidFill>
          </p:spPr>
          <p:txBody>
            <a:bodyPr wrap="square" lIns="0" tIns="0" rIns="0" bIns="0" rtlCol="0"/>
            <a:lstStyle/>
            <a:p>
              <a:endParaRPr/>
            </a:p>
          </p:txBody>
        </p:sp>
        <p:sp>
          <p:nvSpPr>
            <p:cNvPr id="25" name="object 18"/>
            <p:cNvSpPr/>
            <p:nvPr/>
          </p:nvSpPr>
          <p:spPr>
            <a:xfrm>
              <a:off x="2229994" y="5344185"/>
              <a:ext cx="268605" cy="173990"/>
            </a:xfrm>
            <a:custGeom>
              <a:avLst/>
              <a:gdLst/>
              <a:ahLst/>
              <a:cxnLst/>
              <a:rect l="l" t="t" r="r" b="b"/>
              <a:pathLst>
                <a:path w="268605" h="173989">
                  <a:moveTo>
                    <a:pt x="0" y="173735"/>
                  </a:moveTo>
                  <a:lnTo>
                    <a:pt x="0" y="0"/>
                  </a:lnTo>
                  <a:lnTo>
                    <a:pt x="268224" y="0"/>
                  </a:lnTo>
                  <a:lnTo>
                    <a:pt x="268224" y="85343"/>
                  </a:lnTo>
                  <a:lnTo>
                    <a:pt x="262128" y="85343"/>
                  </a:lnTo>
                  <a:lnTo>
                    <a:pt x="256032" y="82295"/>
                  </a:lnTo>
                  <a:lnTo>
                    <a:pt x="249936" y="82295"/>
                  </a:lnTo>
                  <a:lnTo>
                    <a:pt x="231386" y="86058"/>
                  </a:lnTo>
                  <a:lnTo>
                    <a:pt x="224028" y="90948"/>
                  </a:lnTo>
                  <a:lnTo>
                    <a:pt x="224028" y="15239"/>
                  </a:lnTo>
                  <a:lnTo>
                    <a:pt x="45720" y="15239"/>
                  </a:lnTo>
                  <a:lnTo>
                    <a:pt x="45720" y="173735"/>
                  </a:lnTo>
                  <a:lnTo>
                    <a:pt x="0" y="173735"/>
                  </a:lnTo>
                  <a:close/>
                </a:path>
                <a:path w="268605" h="173989">
                  <a:moveTo>
                    <a:pt x="45720" y="51815"/>
                  </a:moveTo>
                  <a:lnTo>
                    <a:pt x="45720" y="21335"/>
                  </a:lnTo>
                  <a:lnTo>
                    <a:pt x="224028" y="21335"/>
                  </a:lnTo>
                  <a:lnTo>
                    <a:pt x="224028" y="51815"/>
                  </a:lnTo>
                  <a:lnTo>
                    <a:pt x="175260" y="51815"/>
                  </a:lnTo>
                  <a:lnTo>
                    <a:pt x="175260" y="27431"/>
                  </a:lnTo>
                  <a:lnTo>
                    <a:pt x="164592" y="27431"/>
                  </a:lnTo>
                  <a:lnTo>
                    <a:pt x="164592" y="51815"/>
                  </a:lnTo>
                  <a:lnTo>
                    <a:pt x="158496" y="51815"/>
                  </a:lnTo>
                  <a:lnTo>
                    <a:pt x="158496" y="27431"/>
                  </a:lnTo>
                  <a:lnTo>
                    <a:pt x="144780" y="27431"/>
                  </a:lnTo>
                  <a:lnTo>
                    <a:pt x="144780" y="51815"/>
                  </a:lnTo>
                  <a:lnTo>
                    <a:pt x="138684" y="51815"/>
                  </a:lnTo>
                  <a:lnTo>
                    <a:pt x="138684" y="27431"/>
                  </a:lnTo>
                  <a:lnTo>
                    <a:pt x="126492" y="27431"/>
                  </a:lnTo>
                  <a:lnTo>
                    <a:pt x="126492" y="51815"/>
                  </a:lnTo>
                  <a:lnTo>
                    <a:pt x="118872" y="51815"/>
                  </a:lnTo>
                  <a:lnTo>
                    <a:pt x="118872" y="27431"/>
                  </a:lnTo>
                  <a:lnTo>
                    <a:pt x="106680" y="27431"/>
                  </a:lnTo>
                  <a:lnTo>
                    <a:pt x="106680" y="51815"/>
                  </a:lnTo>
                  <a:lnTo>
                    <a:pt x="97536" y="51815"/>
                  </a:lnTo>
                  <a:lnTo>
                    <a:pt x="97536" y="27431"/>
                  </a:lnTo>
                  <a:lnTo>
                    <a:pt x="86868" y="27431"/>
                  </a:lnTo>
                  <a:lnTo>
                    <a:pt x="86868" y="51815"/>
                  </a:lnTo>
                  <a:lnTo>
                    <a:pt x="45720" y="51815"/>
                  </a:lnTo>
                  <a:close/>
                </a:path>
                <a:path w="268605" h="173989">
                  <a:moveTo>
                    <a:pt x="45720" y="173735"/>
                  </a:moveTo>
                  <a:lnTo>
                    <a:pt x="45720" y="57911"/>
                  </a:lnTo>
                  <a:lnTo>
                    <a:pt x="224028" y="57911"/>
                  </a:lnTo>
                  <a:lnTo>
                    <a:pt x="224028" y="90948"/>
                  </a:lnTo>
                  <a:lnTo>
                    <a:pt x="215836" y="96392"/>
                  </a:lnTo>
                  <a:lnTo>
                    <a:pt x="205144" y="111871"/>
                  </a:lnTo>
                  <a:lnTo>
                    <a:pt x="201168" y="131063"/>
                  </a:lnTo>
                  <a:lnTo>
                    <a:pt x="201168" y="173735"/>
                  </a:lnTo>
                  <a:lnTo>
                    <a:pt x="184404" y="173735"/>
                  </a:lnTo>
                  <a:lnTo>
                    <a:pt x="184404" y="73151"/>
                  </a:lnTo>
                  <a:lnTo>
                    <a:pt x="83820" y="73151"/>
                  </a:lnTo>
                  <a:lnTo>
                    <a:pt x="83820" y="173735"/>
                  </a:lnTo>
                  <a:lnTo>
                    <a:pt x="45720" y="173735"/>
                  </a:lnTo>
                  <a:close/>
                </a:path>
                <a:path w="268605" h="173989">
                  <a:moveTo>
                    <a:pt x="201168" y="173735"/>
                  </a:moveTo>
                  <a:lnTo>
                    <a:pt x="201168" y="131063"/>
                  </a:lnTo>
                  <a:lnTo>
                    <a:pt x="202787" y="144160"/>
                  </a:lnTo>
                  <a:lnTo>
                    <a:pt x="207264" y="155828"/>
                  </a:lnTo>
                  <a:lnTo>
                    <a:pt x="214026" y="165782"/>
                  </a:lnTo>
                  <a:lnTo>
                    <a:pt x="222504" y="173735"/>
                  </a:lnTo>
                  <a:lnTo>
                    <a:pt x="201168" y="173735"/>
                  </a:lnTo>
                  <a:close/>
                </a:path>
                <a:path w="268605" h="173989">
                  <a:moveTo>
                    <a:pt x="83820" y="173735"/>
                  </a:moveTo>
                  <a:lnTo>
                    <a:pt x="83820" y="76199"/>
                  </a:lnTo>
                  <a:lnTo>
                    <a:pt x="184404" y="76199"/>
                  </a:lnTo>
                  <a:lnTo>
                    <a:pt x="184404" y="173735"/>
                  </a:lnTo>
                  <a:lnTo>
                    <a:pt x="83820" y="173735"/>
                  </a:lnTo>
                  <a:close/>
                </a:path>
                <a:path w="268605" h="173989">
                  <a:moveTo>
                    <a:pt x="164592" y="51815"/>
                  </a:moveTo>
                  <a:lnTo>
                    <a:pt x="164592" y="45719"/>
                  </a:lnTo>
                  <a:lnTo>
                    <a:pt x="175260" y="45719"/>
                  </a:lnTo>
                  <a:lnTo>
                    <a:pt x="175260" y="51815"/>
                  </a:lnTo>
                  <a:lnTo>
                    <a:pt x="164592" y="51815"/>
                  </a:lnTo>
                  <a:close/>
                </a:path>
                <a:path w="268605" h="173989">
                  <a:moveTo>
                    <a:pt x="144780" y="51815"/>
                  </a:moveTo>
                  <a:lnTo>
                    <a:pt x="144780" y="45719"/>
                  </a:lnTo>
                  <a:lnTo>
                    <a:pt x="158496" y="45719"/>
                  </a:lnTo>
                  <a:lnTo>
                    <a:pt x="158496" y="51815"/>
                  </a:lnTo>
                  <a:lnTo>
                    <a:pt x="144780" y="51815"/>
                  </a:lnTo>
                  <a:close/>
                </a:path>
                <a:path w="268605" h="173989">
                  <a:moveTo>
                    <a:pt x="126492" y="51815"/>
                  </a:moveTo>
                  <a:lnTo>
                    <a:pt x="126492" y="45719"/>
                  </a:lnTo>
                  <a:lnTo>
                    <a:pt x="138684" y="45719"/>
                  </a:lnTo>
                  <a:lnTo>
                    <a:pt x="138684" y="51815"/>
                  </a:lnTo>
                  <a:lnTo>
                    <a:pt x="126492" y="51815"/>
                  </a:lnTo>
                  <a:close/>
                </a:path>
                <a:path w="268605" h="173989">
                  <a:moveTo>
                    <a:pt x="106680" y="51815"/>
                  </a:moveTo>
                  <a:lnTo>
                    <a:pt x="106680" y="45719"/>
                  </a:lnTo>
                  <a:lnTo>
                    <a:pt x="118872" y="45719"/>
                  </a:lnTo>
                  <a:lnTo>
                    <a:pt x="118872" y="51815"/>
                  </a:lnTo>
                  <a:lnTo>
                    <a:pt x="106680" y="51815"/>
                  </a:lnTo>
                  <a:close/>
                </a:path>
                <a:path w="268605" h="173989">
                  <a:moveTo>
                    <a:pt x="86868" y="51815"/>
                  </a:moveTo>
                  <a:lnTo>
                    <a:pt x="86868" y="45719"/>
                  </a:lnTo>
                  <a:lnTo>
                    <a:pt x="97536" y="45719"/>
                  </a:lnTo>
                  <a:lnTo>
                    <a:pt x="97536" y="51815"/>
                  </a:lnTo>
                  <a:lnTo>
                    <a:pt x="86868" y="51815"/>
                  </a:lnTo>
                  <a:close/>
                </a:path>
              </a:pathLst>
            </a:custGeom>
            <a:solidFill>
              <a:srgbClr val="460A67"/>
            </a:solidFill>
          </p:spPr>
          <p:txBody>
            <a:bodyPr wrap="square" lIns="0" tIns="0" rIns="0" bIns="0" rtlCol="0"/>
            <a:lstStyle/>
            <a:p>
              <a:endParaRPr/>
            </a:p>
          </p:txBody>
        </p:sp>
        <p:sp>
          <p:nvSpPr>
            <p:cNvPr id="26" name="object 19"/>
            <p:cNvSpPr/>
            <p:nvPr/>
          </p:nvSpPr>
          <p:spPr>
            <a:xfrm>
              <a:off x="3098674" y="5042432"/>
              <a:ext cx="822960" cy="605155"/>
            </a:xfrm>
            <a:custGeom>
              <a:avLst/>
              <a:gdLst/>
              <a:ahLst/>
              <a:cxnLst/>
              <a:rect l="l" t="t" r="r" b="b"/>
              <a:pathLst>
                <a:path w="822960" h="605154">
                  <a:moveTo>
                    <a:pt x="0" y="504444"/>
                  </a:moveTo>
                  <a:lnTo>
                    <a:pt x="0" y="100584"/>
                  </a:lnTo>
                  <a:lnTo>
                    <a:pt x="7786" y="61079"/>
                  </a:lnTo>
                  <a:lnTo>
                    <a:pt x="29146" y="29146"/>
                  </a:lnTo>
                  <a:lnTo>
                    <a:pt x="61079" y="7786"/>
                  </a:lnTo>
                  <a:lnTo>
                    <a:pt x="100583" y="0"/>
                  </a:lnTo>
                  <a:lnTo>
                    <a:pt x="722375" y="0"/>
                  </a:lnTo>
                  <a:lnTo>
                    <a:pt x="761880" y="7786"/>
                  </a:lnTo>
                  <a:lnTo>
                    <a:pt x="793813" y="29146"/>
                  </a:lnTo>
                  <a:lnTo>
                    <a:pt x="815173" y="61079"/>
                  </a:lnTo>
                  <a:lnTo>
                    <a:pt x="822960" y="100584"/>
                  </a:lnTo>
                  <a:lnTo>
                    <a:pt x="822960" y="504444"/>
                  </a:lnTo>
                  <a:lnTo>
                    <a:pt x="815173" y="543306"/>
                  </a:lnTo>
                  <a:lnTo>
                    <a:pt x="793813" y="575309"/>
                  </a:lnTo>
                  <a:lnTo>
                    <a:pt x="761880" y="597026"/>
                  </a:lnTo>
                  <a:lnTo>
                    <a:pt x="722375"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27" name="object 20"/>
            <p:cNvSpPr txBox="1"/>
            <p:nvPr/>
          </p:nvSpPr>
          <p:spPr>
            <a:xfrm>
              <a:off x="3245923" y="5074896"/>
              <a:ext cx="528955" cy="123111"/>
            </a:xfrm>
            <a:prstGeom prst="rect">
              <a:avLst/>
            </a:prstGeom>
          </p:spPr>
          <p:txBody>
            <a:bodyPr vert="horz" wrap="square" lIns="0" tIns="0" rIns="0" bIns="0" rtlCol="0">
              <a:spAutoFit/>
            </a:bodyPr>
            <a:lstStyle/>
            <a:p>
              <a:pPr marL="12700">
                <a:lnSpc>
                  <a:spcPct val="100000"/>
                </a:lnSpc>
              </a:pPr>
              <a:r>
                <a:rPr sz="800" spc="75" dirty="0">
                  <a:solidFill>
                    <a:srgbClr val="460A67"/>
                  </a:solidFill>
                  <a:cs typeface="Times New Roman"/>
                </a:rPr>
                <a:t>Open</a:t>
              </a:r>
              <a:r>
                <a:rPr sz="800" spc="-45" dirty="0">
                  <a:solidFill>
                    <a:srgbClr val="460A67"/>
                  </a:solidFill>
                  <a:cs typeface="Times New Roman"/>
                </a:rPr>
                <a:t> </a:t>
              </a:r>
              <a:r>
                <a:rPr sz="800" spc="80" dirty="0">
                  <a:solidFill>
                    <a:srgbClr val="460A67"/>
                  </a:solidFill>
                  <a:cs typeface="Times New Roman"/>
                </a:rPr>
                <a:t>data</a:t>
              </a:r>
              <a:endParaRPr sz="800">
                <a:cs typeface="Times New Roman"/>
              </a:endParaRPr>
            </a:p>
          </p:txBody>
        </p:sp>
        <p:sp>
          <p:nvSpPr>
            <p:cNvPr id="28" name="object 21"/>
            <p:cNvSpPr/>
            <p:nvPr/>
          </p:nvSpPr>
          <p:spPr>
            <a:xfrm>
              <a:off x="3456814" y="5378475"/>
              <a:ext cx="106680" cy="0"/>
            </a:xfrm>
            <a:custGeom>
              <a:avLst/>
              <a:gdLst/>
              <a:ahLst/>
              <a:cxnLst/>
              <a:rect l="l" t="t" r="r" b="b"/>
              <a:pathLst>
                <a:path w="106680">
                  <a:moveTo>
                    <a:pt x="0" y="0"/>
                  </a:moveTo>
                  <a:lnTo>
                    <a:pt x="106680" y="0"/>
                  </a:lnTo>
                </a:path>
              </a:pathLst>
            </a:custGeom>
            <a:ln w="10667">
              <a:solidFill>
                <a:srgbClr val="460A67"/>
              </a:solidFill>
            </a:ln>
          </p:spPr>
          <p:txBody>
            <a:bodyPr wrap="square" lIns="0" tIns="0" rIns="0" bIns="0" rtlCol="0"/>
            <a:lstStyle/>
            <a:p>
              <a:endParaRPr/>
            </a:p>
          </p:txBody>
        </p:sp>
        <p:sp>
          <p:nvSpPr>
            <p:cNvPr id="29" name="object 22"/>
            <p:cNvSpPr/>
            <p:nvPr/>
          </p:nvSpPr>
          <p:spPr>
            <a:xfrm>
              <a:off x="3456814" y="5434863"/>
              <a:ext cx="106680" cy="0"/>
            </a:xfrm>
            <a:custGeom>
              <a:avLst/>
              <a:gdLst/>
              <a:ahLst/>
              <a:cxnLst/>
              <a:rect l="l" t="t" r="r" b="b"/>
              <a:pathLst>
                <a:path w="106680">
                  <a:moveTo>
                    <a:pt x="0" y="0"/>
                  </a:moveTo>
                  <a:lnTo>
                    <a:pt x="106680" y="0"/>
                  </a:lnTo>
                </a:path>
              </a:pathLst>
            </a:custGeom>
            <a:ln w="10667">
              <a:solidFill>
                <a:srgbClr val="460A67"/>
              </a:solidFill>
            </a:ln>
          </p:spPr>
          <p:txBody>
            <a:bodyPr wrap="square" lIns="0" tIns="0" rIns="0" bIns="0" rtlCol="0"/>
            <a:lstStyle/>
            <a:p>
              <a:endParaRPr/>
            </a:p>
          </p:txBody>
        </p:sp>
        <p:sp>
          <p:nvSpPr>
            <p:cNvPr id="30" name="object 23"/>
            <p:cNvSpPr/>
            <p:nvPr/>
          </p:nvSpPr>
          <p:spPr>
            <a:xfrm>
              <a:off x="3543301" y="5374664"/>
              <a:ext cx="0" cy="201295"/>
            </a:xfrm>
            <a:custGeom>
              <a:avLst/>
              <a:gdLst/>
              <a:ahLst/>
              <a:cxnLst/>
              <a:rect l="l" t="t" r="r" b="b"/>
              <a:pathLst>
                <a:path h="201295">
                  <a:moveTo>
                    <a:pt x="0" y="0"/>
                  </a:moveTo>
                  <a:lnTo>
                    <a:pt x="0" y="201168"/>
                  </a:lnTo>
                </a:path>
              </a:pathLst>
            </a:custGeom>
            <a:ln w="8889">
              <a:solidFill>
                <a:srgbClr val="460A67"/>
              </a:solidFill>
            </a:ln>
          </p:spPr>
          <p:txBody>
            <a:bodyPr wrap="square" lIns="0" tIns="0" rIns="0" bIns="0" rtlCol="0"/>
            <a:lstStyle/>
            <a:p>
              <a:endParaRPr/>
            </a:p>
          </p:txBody>
        </p:sp>
        <p:sp>
          <p:nvSpPr>
            <p:cNvPr id="31" name="object 24"/>
            <p:cNvSpPr/>
            <p:nvPr/>
          </p:nvSpPr>
          <p:spPr>
            <a:xfrm>
              <a:off x="3535046" y="5381523"/>
              <a:ext cx="3810" cy="0"/>
            </a:xfrm>
            <a:custGeom>
              <a:avLst/>
              <a:gdLst/>
              <a:ahLst/>
              <a:cxnLst/>
              <a:rect l="l" t="t" r="r" b="b"/>
              <a:pathLst>
                <a:path w="3810">
                  <a:moveTo>
                    <a:pt x="0" y="0"/>
                  </a:moveTo>
                  <a:lnTo>
                    <a:pt x="3810" y="0"/>
                  </a:lnTo>
                </a:path>
              </a:pathLst>
            </a:custGeom>
            <a:ln w="13715">
              <a:solidFill>
                <a:srgbClr val="460A67"/>
              </a:solidFill>
            </a:ln>
          </p:spPr>
          <p:txBody>
            <a:bodyPr wrap="square" lIns="0" tIns="0" rIns="0" bIns="0" rtlCol="0"/>
            <a:lstStyle/>
            <a:p>
              <a:endParaRPr/>
            </a:p>
          </p:txBody>
        </p:sp>
        <p:sp>
          <p:nvSpPr>
            <p:cNvPr id="32" name="object 25"/>
            <p:cNvSpPr/>
            <p:nvPr/>
          </p:nvSpPr>
          <p:spPr>
            <a:xfrm>
              <a:off x="3528696" y="5374664"/>
              <a:ext cx="0" cy="147955"/>
            </a:xfrm>
            <a:custGeom>
              <a:avLst/>
              <a:gdLst/>
              <a:ahLst/>
              <a:cxnLst/>
              <a:rect l="l" t="t" r="r" b="b"/>
              <a:pathLst>
                <a:path h="147954">
                  <a:moveTo>
                    <a:pt x="0" y="0"/>
                  </a:moveTo>
                  <a:lnTo>
                    <a:pt x="0" y="147828"/>
                  </a:lnTo>
                </a:path>
              </a:pathLst>
            </a:custGeom>
            <a:ln w="12700">
              <a:solidFill>
                <a:srgbClr val="460A67"/>
              </a:solidFill>
            </a:ln>
          </p:spPr>
          <p:txBody>
            <a:bodyPr wrap="square" lIns="0" tIns="0" rIns="0" bIns="0" rtlCol="0"/>
            <a:lstStyle/>
            <a:p>
              <a:endParaRPr/>
            </a:p>
          </p:txBody>
        </p:sp>
        <p:sp>
          <p:nvSpPr>
            <p:cNvPr id="33" name="object 26"/>
            <p:cNvSpPr/>
            <p:nvPr/>
          </p:nvSpPr>
          <p:spPr>
            <a:xfrm>
              <a:off x="3513456" y="5381523"/>
              <a:ext cx="8890" cy="0"/>
            </a:xfrm>
            <a:custGeom>
              <a:avLst/>
              <a:gdLst/>
              <a:ahLst/>
              <a:cxnLst/>
              <a:rect l="l" t="t" r="r" b="b"/>
              <a:pathLst>
                <a:path w="8889">
                  <a:moveTo>
                    <a:pt x="0" y="0"/>
                  </a:moveTo>
                  <a:lnTo>
                    <a:pt x="8889" y="0"/>
                  </a:lnTo>
                </a:path>
              </a:pathLst>
            </a:custGeom>
            <a:ln w="13715">
              <a:solidFill>
                <a:srgbClr val="460A67"/>
              </a:solidFill>
            </a:ln>
          </p:spPr>
          <p:txBody>
            <a:bodyPr wrap="square" lIns="0" tIns="0" rIns="0" bIns="0" rtlCol="0"/>
            <a:lstStyle/>
            <a:p>
              <a:endParaRPr/>
            </a:p>
          </p:txBody>
        </p:sp>
        <p:sp>
          <p:nvSpPr>
            <p:cNvPr id="34" name="object 27"/>
            <p:cNvSpPr/>
            <p:nvPr/>
          </p:nvSpPr>
          <p:spPr>
            <a:xfrm>
              <a:off x="3511551" y="5374664"/>
              <a:ext cx="0" cy="147955"/>
            </a:xfrm>
            <a:custGeom>
              <a:avLst/>
              <a:gdLst/>
              <a:ahLst/>
              <a:cxnLst/>
              <a:rect l="l" t="t" r="r" b="b"/>
              <a:pathLst>
                <a:path h="147954">
                  <a:moveTo>
                    <a:pt x="0" y="0"/>
                  </a:moveTo>
                  <a:lnTo>
                    <a:pt x="0" y="147828"/>
                  </a:lnTo>
                </a:path>
              </a:pathLst>
            </a:custGeom>
            <a:ln w="3810">
              <a:solidFill>
                <a:srgbClr val="460A67"/>
              </a:solidFill>
            </a:ln>
          </p:spPr>
          <p:txBody>
            <a:bodyPr wrap="square" lIns="0" tIns="0" rIns="0" bIns="0" rtlCol="0"/>
            <a:lstStyle/>
            <a:p>
              <a:endParaRPr/>
            </a:p>
          </p:txBody>
        </p:sp>
        <p:sp>
          <p:nvSpPr>
            <p:cNvPr id="35" name="object 28"/>
            <p:cNvSpPr/>
            <p:nvPr/>
          </p:nvSpPr>
          <p:spPr>
            <a:xfrm>
              <a:off x="3507106" y="5374664"/>
              <a:ext cx="0" cy="201295"/>
            </a:xfrm>
            <a:custGeom>
              <a:avLst/>
              <a:gdLst/>
              <a:ahLst/>
              <a:cxnLst/>
              <a:rect l="l" t="t" r="r" b="b"/>
              <a:pathLst>
                <a:path h="201295">
                  <a:moveTo>
                    <a:pt x="0" y="0"/>
                  </a:moveTo>
                  <a:lnTo>
                    <a:pt x="0" y="201168"/>
                  </a:lnTo>
                </a:path>
              </a:pathLst>
            </a:custGeom>
            <a:ln w="5079">
              <a:solidFill>
                <a:srgbClr val="460A67"/>
              </a:solidFill>
            </a:ln>
          </p:spPr>
          <p:txBody>
            <a:bodyPr wrap="square" lIns="0" tIns="0" rIns="0" bIns="0" rtlCol="0"/>
            <a:lstStyle/>
            <a:p>
              <a:endParaRPr/>
            </a:p>
          </p:txBody>
        </p:sp>
        <p:sp>
          <p:nvSpPr>
            <p:cNvPr id="36" name="object 29"/>
            <p:cNvSpPr/>
            <p:nvPr/>
          </p:nvSpPr>
          <p:spPr>
            <a:xfrm>
              <a:off x="3498216" y="5381523"/>
              <a:ext cx="6350" cy="0"/>
            </a:xfrm>
            <a:custGeom>
              <a:avLst/>
              <a:gdLst/>
              <a:ahLst/>
              <a:cxnLst/>
              <a:rect l="l" t="t" r="r" b="b"/>
              <a:pathLst>
                <a:path w="6350">
                  <a:moveTo>
                    <a:pt x="0" y="0"/>
                  </a:moveTo>
                  <a:lnTo>
                    <a:pt x="6350" y="0"/>
                  </a:lnTo>
                </a:path>
              </a:pathLst>
            </a:custGeom>
            <a:ln w="13715">
              <a:solidFill>
                <a:srgbClr val="460A67"/>
              </a:solidFill>
            </a:ln>
          </p:spPr>
          <p:txBody>
            <a:bodyPr wrap="square" lIns="0" tIns="0" rIns="0" bIns="0" rtlCol="0"/>
            <a:lstStyle/>
            <a:p>
              <a:endParaRPr/>
            </a:p>
          </p:txBody>
        </p:sp>
        <p:sp>
          <p:nvSpPr>
            <p:cNvPr id="37" name="object 30"/>
            <p:cNvSpPr/>
            <p:nvPr/>
          </p:nvSpPr>
          <p:spPr>
            <a:xfrm>
              <a:off x="3492501" y="5374664"/>
              <a:ext cx="0" cy="201295"/>
            </a:xfrm>
            <a:custGeom>
              <a:avLst/>
              <a:gdLst/>
              <a:ahLst/>
              <a:cxnLst/>
              <a:rect l="l" t="t" r="r" b="b"/>
              <a:pathLst>
                <a:path h="201295">
                  <a:moveTo>
                    <a:pt x="0" y="0"/>
                  </a:moveTo>
                  <a:lnTo>
                    <a:pt x="0" y="201168"/>
                  </a:lnTo>
                </a:path>
              </a:pathLst>
            </a:custGeom>
            <a:ln w="11430">
              <a:solidFill>
                <a:srgbClr val="460A67"/>
              </a:solidFill>
            </a:ln>
          </p:spPr>
          <p:txBody>
            <a:bodyPr wrap="square" lIns="0" tIns="0" rIns="0" bIns="0" rtlCol="0"/>
            <a:lstStyle/>
            <a:p>
              <a:endParaRPr/>
            </a:p>
          </p:txBody>
        </p:sp>
        <p:sp>
          <p:nvSpPr>
            <p:cNvPr id="38" name="object 31"/>
            <p:cNvSpPr/>
            <p:nvPr/>
          </p:nvSpPr>
          <p:spPr>
            <a:xfrm>
              <a:off x="3477896" y="5381523"/>
              <a:ext cx="8890" cy="0"/>
            </a:xfrm>
            <a:custGeom>
              <a:avLst/>
              <a:gdLst/>
              <a:ahLst/>
              <a:cxnLst/>
              <a:rect l="l" t="t" r="r" b="b"/>
              <a:pathLst>
                <a:path w="8889">
                  <a:moveTo>
                    <a:pt x="0" y="0"/>
                  </a:moveTo>
                  <a:lnTo>
                    <a:pt x="8890" y="0"/>
                  </a:lnTo>
                </a:path>
              </a:pathLst>
            </a:custGeom>
            <a:ln w="13715">
              <a:solidFill>
                <a:srgbClr val="460A67"/>
              </a:solidFill>
            </a:ln>
          </p:spPr>
          <p:txBody>
            <a:bodyPr wrap="square" lIns="0" tIns="0" rIns="0" bIns="0" rtlCol="0"/>
            <a:lstStyle/>
            <a:p>
              <a:endParaRPr/>
            </a:p>
          </p:txBody>
        </p:sp>
        <p:sp>
          <p:nvSpPr>
            <p:cNvPr id="39" name="object 32"/>
            <p:cNvSpPr/>
            <p:nvPr/>
          </p:nvSpPr>
          <p:spPr>
            <a:xfrm>
              <a:off x="3473451" y="5374664"/>
              <a:ext cx="0" cy="201295"/>
            </a:xfrm>
            <a:custGeom>
              <a:avLst/>
              <a:gdLst/>
              <a:ahLst/>
              <a:cxnLst/>
              <a:rect l="l" t="t" r="r" b="b"/>
              <a:pathLst>
                <a:path h="201295">
                  <a:moveTo>
                    <a:pt x="0" y="0"/>
                  </a:moveTo>
                  <a:lnTo>
                    <a:pt x="0" y="201168"/>
                  </a:lnTo>
                </a:path>
              </a:pathLst>
            </a:custGeom>
            <a:ln w="8889">
              <a:solidFill>
                <a:srgbClr val="460A67"/>
              </a:solidFill>
            </a:ln>
          </p:spPr>
          <p:txBody>
            <a:bodyPr wrap="square" lIns="0" tIns="0" rIns="0" bIns="0" rtlCol="0"/>
            <a:lstStyle/>
            <a:p>
              <a:endParaRPr/>
            </a:p>
          </p:txBody>
        </p:sp>
        <p:sp>
          <p:nvSpPr>
            <p:cNvPr id="40" name="object 33"/>
            <p:cNvSpPr/>
            <p:nvPr/>
          </p:nvSpPr>
          <p:spPr>
            <a:xfrm>
              <a:off x="3536824" y="5417336"/>
              <a:ext cx="0" cy="158750"/>
            </a:xfrm>
            <a:custGeom>
              <a:avLst/>
              <a:gdLst/>
              <a:ahLst/>
              <a:cxnLst/>
              <a:rect l="l" t="t" r="r" b="b"/>
              <a:pathLst>
                <a:path h="158750">
                  <a:moveTo>
                    <a:pt x="0" y="0"/>
                  </a:moveTo>
                  <a:lnTo>
                    <a:pt x="0" y="158496"/>
                  </a:lnTo>
                </a:path>
              </a:pathLst>
            </a:custGeom>
            <a:ln w="4572">
              <a:solidFill>
                <a:srgbClr val="460A67"/>
              </a:solidFill>
            </a:ln>
          </p:spPr>
          <p:txBody>
            <a:bodyPr wrap="square" lIns="0" tIns="0" rIns="0" bIns="0" rtlCol="0"/>
            <a:lstStyle/>
            <a:p>
              <a:endParaRPr/>
            </a:p>
          </p:txBody>
        </p:sp>
        <p:sp>
          <p:nvSpPr>
            <p:cNvPr id="41" name="object 34"/>
            <p:cNvSpPr/>
            <p:nvPr/>
          </p:nvSpPr>
          <p:spPr>
            <a:xfrm>
              <a:off x="3517774" y="5417336"/>
              <a:ext cx="0" cy="105410"/>
            </a:xfrm>
            <a:custGeom>
              <a:avLst/>
              <a:gdLst/>
              <a:ahLst/>
              <a:cxnLst/>
              <a:rect l="l" t="t" r="r" b="b"/>
              <a:pathLst>
                <a:path h="105410">
                  <a:moveTo>
                    <a:pt x="0" y="0"/>
                  </a:moveTo>
                  <a:lnTo>
                    <a:pt x="0" y="105155"/>
                  </a:lnTo>
                </a:path>
              </a:pathLst>
            </a:custGeom>
            <a:ln w="9143">
              <a:solidFill>
                <a:srgbClr val="460A67"/>
              </a:solidFill>
            </a:ln>
          </p:spPr>
          <p:txBody>
            <a:bodyPr wrap="square" lIns="0" tIns="0" rIns="0" bIns="0" rtlCol="0"/>
            <a:lstStyle/>
            <a:p>
              <a:endParaRPr/>
            </a:p>
          </p:txBody>
        </p:sp>
        <p:sp>
          <p:nvSpPr>
            <p:cNvPr id="42" name="object 35"/>
            <p:cNvSpPr/>
            <p:nvPr/>
          </p:nvSpPr>
          <p:spPr>
            <a:xfrm>
              <a:off x="3501010" y="5417336"/>
              <a:ext cx="0" cy="158750"/>
            </a:xfrm>
            <a:custGeom>
              <a:avLst/>
              <a:gdLst/>
              <a:ahLst/>
              <a:cxnLst/>
              <a:rect l="l" t="t" r="r" b="b"/>
              <a:pathLst>
                <a:path h="158750">
                  <a:moveTo>
                    <a:pt x="0" y="0"/>
                  </a:moveTo>
                  <a:lnTo>
                    <a:pt x="0" y="158496"/>
                  </a:lnTo>
                </a:path>
              </a:pathLst>
            </a:custGeom>
            <a:ln w="6095">
              <a:solidFill>
                <a:srgbClr val="460A67"/>
              </a:solidFill>
            </a:ln>
          </p:spPr>
          <p:txBody>
            <a:bodyPr wrap="square" lIns="0" tIns="0" rIns="0" bIns="0" rtlCol="0"/>
            <a:lstStyle/>
            <a:p>
              <a:endParaRPr/>
            </a:p>
          </p:txBody>
        </p:sp>
        <p:sp>
          <p:nvSpPr>
            <p:cNvPr id="43" name="object 36"/>
            <p:cNvSpPr/>
            <p:nvPr/>
          </p:nvSpPr>
          <p:spPr>
            <a:xfrm>
              <a:off x="3482722" y="5417336"/>
              <a:ext cx="0" cy="158750"/>
            </a:xfrm>
            <a:custGeom>
              <a:avLst/>
              <a:gdLst/>
              <a:ahLst/>
              <a:cxnLst/>
              <a:rect l="l" t="t" r="r" b="b"/>
              <a:pathLst>
                <a:path h="158750">
                  <a:moveTo>
                    <a:pt x="0" y="0"/>
                  </a:moveTo>
                  <a:lnTo>
                    <a:pt x="0" y="158496"/>
                  </a:lnTo>
                </a:path>
              </a:pathLst>
            </a:custGeom>
            <a:ln w="9143">
              <a:solidFill>
                <a:srgbClr val="460A67"/>
              </a:solidFill>
            </a:ln>
          </p:spPr>
          <p:txBody>
            <a:bodyPr wrap="square" lIns="0" tIns="0" rIns="0" bIns="0" rtlCol="0"/>
            <a:lstStyle/>
            <a:p>
              <a:endParaRPr/>
            </a:p>
          </p:txBody>
        </p:sp>
        <p:sp>
          <p:nvSpPr>
            <p:cNvPr id="44" name="object 37"/>
            <p:cNvSpPr/>
            <p:nvPr/>
          </p:nvSpPr>
          <p:spPr>
            <a:xfrm>
              <a:off x="3456814" y="5594120"/>
              <a:ext cx="106680" cy="0"/>
            </a:xfrm>
            <a:custGeom>
              <a:avLst/>
              <a:gdLst/>
              <a:ahLst/>
              <a:cxnLst/>
              <a:rect l="l" t="t" r="r" b="b"/>
              <a:pathLst>
                <a:path w="106680">
                  <a:moveTo>
                    <a:pt x="0" y="0"/>
                  </a:moveTo>
                  <a:lnTo>
                    <a:pt x="106680" y="0"/>
                  </a:lnTo>
                </a:path>
              </a:pathLst>
            </a:custGeom>
            <a:ln w="18287">
              <a:solidFill>
                <a:srgbClr val="460A67"/>
              </a:solidFill>
            </a:ln>
          </p:spPr>
          <p:txBody>
            <a:bodyPr wrap="square" lIns="0" tIns="0" rIns="0" bIns="0" rtlCol="0"/>
            <a:lstStyle/>
            <a:p>
              <a:endParaRPr/>
            </a:p>
          </p:txBody>
        </p:sp>
        <p:sp>
          <p:nvSpPr>
            <p:cNvPr id="45" name="object 38"/>
            <p:cNvSpPr/>
            <p:nvPr/>
          </p:nvSpPr>
          <p:spPr>
            <a:xfrm>
              <a:off x="3360802" y="5370093"/>
              <a:ext cx="96520" cy="68580"/>
            </a:xfrm>
            <a:custGeom>
              <a:avLst/>
              <a:gdLst/>
              <a:ahLst/>
              <a:cxnLst/>
              <a:rect l="l" t="t" r="r" b="b"/>
              <a:pathLst>
                <a:path w="96519" h="68579">
                  <a:moveTo>
                    <a:pt x="0" y="68580"/>
                  </a:moveTo>
                  <a:lnTo>
                    <a:pt x="0" y="0"/>
                  </a:lnTo>
                  <a:lnTo>
                    <a:pt x="96012" y="18287"/>
                  </a:lnTo>
                  <a:lnTo>
                    <a:pt x="96012" y="50291"/>
                  </a:lnTo>
                  <a:lnTo>
                    <a:pt x="0" y="68580"/>
                  </a:lnTo>
                  <a:close/>
                </a:path>
              </a:pathLst>
            </a:custGeom>
            <a:solidFill>
              <a:srgbClr val="460A67"/>
            </a:solidFill>
          </p:spPr>
          <p:txBody>
            <a:bodyPr wrap="square" lIns="0" tIns="0" rIns="0" bIns="0" rtlCol="0"/>
            <a:lstStyle/>
            <a:p>
              <a:endParaRPr/>
            </a:p>
          </p:txBody>
        </p:sp>
        <p:sp>
          <p:nvSpPr>
            <p:cNvPr id="46" name="object 39"/>
            <p:cNvSpPr/>
            <p:nvPr/>
          </p:nvSpPr>
          <p:spPr>
            <a:xfrm>
              <a:off x="3563494" y="5374664"/>
              <a:ext cx="96520" cy="64135"/>
            </a:xfrm>
            <a:custGeom>
              <a:avLst/>
              <a:gdLst/>
              <a:ahLst/>
              <a:cxnLst/>
              <a:rect l="l" t="t" r="r" b="b"/>
              <a:pathLst>
                <a:path w="96519" h="64135">
                  <a:moveTo>
                    <a:pt x="0" y="45719"/>
                  </a:moveTo>
                  <a:lnTo>
                    <a:pt x="0" y="13716"/>
                  </a:lnTo>
                  <a:lnTo>
                    <a:pt x="96011" y="0"/>
                  </a:lnTo>
                  <a:lnTo>
                    <a:pt x="96011" y="64008"/>
                  </a:lnTo>
                  <a:lnTo>
                    <a:pt x="0" y="45719"/>
                  </a:lnTo>
                  <a:close/>
                </a:path>
              </a:pathLst>
            </a:custGeom>
            <a:solidFill>
              <a:srgbClr val="460A67"/>
            </a:solidFill>
          </p:spPr>
          <p:txBody>
            <a:bodyPr wrap="square" lIns="0" tIns="0" rIns="0" bIns="0" rtlCol="0"/>
            <a:lstStyle/>
            <a:p>
              <a:endParaRPr/>
            </a:p>
          </p:txBody>
        </p:sp>
        <p:sp>
          <p:nvSpPr>
            <p:cNvPr id="47" name="object 40"/>
            <p:cNvSpPr/>
            <p:nvPr/>
          </p:nvSpPr>
          <p:spPr>
            <a:xfrm>
              <a:off x="3469006" y="5336564"/>
              <a:ext cx="79375" cy="41275"/>
            </a:xfrm>
            <a:custGeom>
              <a:avLst/>
              <a:gdLst/>
              <a:ahLst/>
              <a:cxnLst/>
              <a:rect l="l" t="t" r="r" b="b"/>
              <a:pathLst>
                <a:path w="79375" h="41275">
                  <a:moveTo>
                    <a:pt x="0" y="41148"/>
                  </a:moveTo>
                  <a:lnTo>
                    <a:pt x="3000" y="24431"/>
                  </a:lnTo>
                  <a:lnTo>
                    <a:pt x="11430" y="11430"/>
                  </a:lnTo>
                  <a:lnTo>
                    <a:pt x="24431" y="3000"/>
                  </a:lnTo>
                  <a:lnTo>
                    <a:pt x="41148" y="0"/>
                  </a:lnTo>
                  <a:lnTo>
                    <a:pt x="55459" y="3000"/>
                  </a:lnTo>
                  <a:lnTo>
                    <a:pt x="67627" y="11429"/>
                  </a:lnTo>
                  <a:lnTo>
                    <a:pt x="76080" y="24431"/>
                  </a:lnTo>
                  <a:lnTo>
                    <a:pt x="79248" y="41148"/>
                  </a:lnTo>
                  <a:lnTo>
                    <a:pt x="0" y="41148"/>
                  </a:lnTo>
                  <a:close/>
                </a:path>
              </a:pathLst>
            </a:custGeom>
            <a:solidFill>
              <a:srgbClr val="460A67"/>
            </a:solidFill>
          </p:spPr>
          <p:txBody>
            <a:bodyPr wrap="square" lIns="0" tIns="0" rIns="0" bIns="0" rtlCol="0"/>
            <a:lstStyle/>
            <a:p>
              <a:endParaRPr/>
            </a:p>
          </p:txBody>
        </p:sp>
        <p:sp>
          <p:nvSpPr>
            <p:cNvPr id="48" name="object 41"/>
            <p:cNvSpPr/>
            <p:nvPr/>
          </p:nvSpPr>
          <p:spPr>
            <a:xfrm>
              <a:off x="3505582" y="5334279"/>
              <a:ext cx="6350" cy="0"/>
            </a:xfrm>
            <a:custGeom>
              <a:avLst/>
              <a:gdLst/>
              <a:ahLst/>
              <a:cxnLst/>
              <a:rect l="l" t="t" r="r" b="b"/>
              <a:pathLst>
                <a:path w="6350">
                  <a:moveTo>
                    <a:pt x="0" y="0"/>
                  </a:moveTo>
                  <a:lnTo>
                    <a:pt x="6096" y="0"/>
                  </a:lnTo>
                </a:path>
              </a:pathLst>
            </a:custGeom>
            <a:ln w="22860">
              <a:solidFill>
                <a:srgbClr val="460A67"/>
              </a:solidFill>
            </a:ln>
          </p:spPr>
          <p:txBody>
            <a:bodyPr wrap="square" lIns="0" tIns="0" rIns="0" bIns="0" rtlCol="0"/>
            <a:lstStyle/>
            <a:p>
              <a:endParaRPr/>
            </a:p>
          </p:txBody>
        </p:sp>
        <p:sp>
          <p:nvSpPr>
            <p:cNvPr id="49" name="object 42"/>
            <p:cNvSpPr/>
            <p:nvPr/>
          </p:nvSpPr>
          <p:spPr>
            <a:xfrm>
              <a:off x="4209670" y="5042432"/>
              <a:ext cx="824865" cy="605155"/>
            </a:xfrm>
            <a:custGeom>
              <a:avLst/>
              <a:gdLst/>
              <a:ahLst/>
              <a:cxnLst/>
              <a:rect l="l" t="t" r="r" b="b"/>
              <a:pathLst>
                <a:path w="824864" h="605154">
                  <a:moveTo>
                    <a:pt x="0" y="504444"/>
                  </a:moveTo>
                  <a:lnTo>
                    <a:pt x="0" y="100584"/>
                  </a:lnTo>
                  <a:lnTo>
                    <a:pt x="8000" y="61079"/>
                  </a:lnTo>
                  <a:lnTo>
                    <a:pt x="29717" y="29146"/>
                  </a:lnTo>
                  <a:lnTo>
                    <a:pt x="61721" y="7786"/>
                  </a:lnTo>
                  <a:lnTo>
                    <a:pt x="100583" y="0"/>
                  </a:lnTo>
                  <a:lnTo>
                    <a:pt x="723900" y="0"/>
                  </a:lnTo>
                  <a:lnTo>
                    <a:pt x="762762" y="7786"/>
                  </a:lnTo>
                  <a:lnTo>
                    <a:pt x="794765" y="29146"/>
                  </a:lnTo>
                  <a:lnTo>
                    <a:pt x="816482" y="61079"/>
                  </a:lnTo>
                  <a:lnTo>
                    <a:pt x="824483" y="100584"/>
                  </a:lnTo>
                  <a:lnTo>
                    <a:pt x="824483" y="504444"/>
                  </a:lnTo>
                  <a:lnTo>
                    <a:pt x="816482" y="543306"/>
                  </a:lnTo>
                  <a:lnTo>
                    <a:pt x="794765" y="575309"/>
                  </a:lnTo>
                  <a:lnTo>
                    <a:pt x="762762" y="597026"/>
                  </a:lnTo>
                  <a:lnTo>
                    <a:pt x="72390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50" name="object 43"/>
            <p:cNvSpPr txBox="1"/>
            <p:nvPr/>
          </p:nvSpPr>
          <p:spPr>
            <a:xfrm>
              <a:off x="4349313" y="5074896"/>
              <a:ext cx="543560" cy="123111"/>
            </a:xfrm>
            <a:prstGeom prst="rect">
              <a:avLst/>
            </a:prstGeom>
          </p:spPr>
          <p:txBody>
            <a:bodyPr vert="horz" wrap="square" lIns="0" tIns="0" rIns="0" bIns="0" rtlCol="0">
              <a:spAutoFit/>
            </a:bodyPr>
            <a:lstStyle/>
            <a:p>
              <a:pPr marL="12700">
                <a:lnSpc>
                  <a:spcPct val="100000"/>
                </a:lnSpc>
              </a:pPr>
              <a:r>
                <a:rPr sz="800" spc="55" dirty="0">
                  <a:solidFill>
                    <a:srgbClr val="460A67"/>
                  </a:solidFill>
                  <a:cs typeface="Times New Roman"/>
                </a:rPr>
                <a:t>Innovation</a:t>
              </a:r>
              <a:endParaRPr sz="800">
                <a:cs typeface="Times New Roman"/>
              </a:endParaRPr>
            </a:p>
          </p:txBody>
        </p:sp>
        <p:sp>
          <p:nvSpPr>
            <p:cNvPr id="51" name="object 44"/>
            <p:cNvSpPr/>
            <p:nvPr/>
          </p:nvSpPr>
          <p:spPr>
            <a:xfrm>
              <a:off x="4555618" y="5321325"/>
              <a:ext cx="131445" cy="283845"/>
            </a:xfrm>
            <a:custGeom>
              <a:avLst/>
              <a:gdLst/>
              <a:ahLst/>
              <a:cxnLst/>
              <a:rect l="l" t="t" r="r" b="b"/>
              <a:pathLst>
                <a:path w="131445" h="283845">
                  <a:moveTo>
                    <a:pt x="0" y="126491"/>
                  </a:moveTo>
                  <a:lnTo>
                    <a:pt x="3047" y="123443"/>
                  </a:lnTo>
                  <a:lnTo>
                    <a:pt x="41147" y="3047"/>
                  </a:lnTo>
                  <a:lnTo>
                    <a:pt x="44195" y="0"/>
                  </a:lnTo>
                  <a:lnTo>
                    <a:pt x="131063" y="0"/>
                  </a:lnTo>
                  <a:lnTo>
                    <a:pt x="128015" y="3047"/>
                  </a:lnTo>
                  <a:lnTo>
                    <a:pt x="82295" y="88391"/>
                  </a:lnTo>
                  <a:lnTo>
                    <a:pt x="82295" y="222077"/>
                  </a:lnTo>
                  <a:lnTo>
                    <a:pt x="51815" y="262310"/>
                  </a:lnTo>
                  <a:lnTo>
                    <a:pt x="51815" y="201167"/>
                  </a:lnTo>
                  <a:lnTo>
                    <a:pt x="41147" y="201167"/>
                  </a:lnTo>
                  <a:lnTo>
                    <a:pt x="41147" y="129539"/>
                  </a:lnTo>
                  <a:lnTo>
                    <a:pt x="3047" y="129539"/>
                  </a:lnTo>
                  <a:lnTo>
                    <a:pt x="0" y="126491"/>
                  </a:lnTo>
                  <a:close/>
                </a:path>
                <a:path w="131445" h="283845">
                  <a:moveTo>
                    <a:pt x="82295" y="222077"/>
                  </a:moveTo>
                  <a:lnTo>
                    <a:pt x="82295" y="94487"/>
                  </a:lnTo>
                  <a:lnTo>
                    <a:pt x="120395" y="94487"/>
                  </a:lnTo>
                  <a:lnTo>
                    <a:pt x="117347" y="97535"/>
                  </a:lnTo>
                  <a:lnTo>
                    <a:pt x="89915" y="170687"/>
                  </a:lnTo>
                  <a:lnTo>
                    <a:pt x="86867" y="173735"/>
                  </a:lnTo>
                  <a:lnTo>
                    <a:pt x="86867" y="216042"/>
                  </a:lnTo>
                  <a:lnTo>
                    <a:pt x="82295" y="222077"/>
                  </a:lnTo>
                  <a:close/>
                </a:path>
                <a:path w="131445" h="283845">
                  <a:moveTo>
                    <a:pt x="86867" y="216042"/>
                  </a:moveTo>
                  <a:lnTo>
                    <a:pt x="86867" y="173735"/>
                  </a:lnTo>
                  <a:lnTo>
                    <a:pt x="89915" y="176783"/>
                  </a:lnTo>
                  <a:lnTo>
                    <a:pt x="114299" y="176783"/>
                  </a:lnTo>
                  <a:lnTo>
                    <a:pt x="114299" y="179831"/>
                  </a:lnTo>
                  <a:lnTo>
                    <a:pt x="86867" y="216042"/>
                  </a:lnTo>
                  <a:close/>
                </a:path>
                <a:path w="131445" h="283845">
                  <a:moveTo>
                    <a:pt x="35051" y="283463"/>
                  </a:moveTo>
                  <a:lnTo>
                    <a:pt x="35051" y="280415"/>
                  </a:lnTo>
                  <a:lnTo>
                    <a:pt x="51815" y="207263"/>
                  </a:lnTo>
                  <a:lnTo>
                    <a:pt x="51815" y="262310"/>
                  </a:lnTo>
                  <a:lnTo>
                    <a:pt x="38099" y="280415"/>
                  </a:lnTo>
                  <a:lnTo>
                    <a:pt x="35051" y="283463"/>
                  </a:lnTo>
                  <a:close/>
                </a:path>
                <a:path w="131445" h="283845">
                  <a:moveTo>
                    <a:pt x="22859" y="198119"/>
                  </a:moveTo>
                  <a:lnTo>
                    <a:pt x="25907" y="195071"/>
                  </a:lnTo>
                  <a:lnTo>
                    <a:pt x="41147" y="132587"/>
                  </a:lnTo>
                  <a:lnTo>
                    <a:pt x="41147" y="201167"/>
                  </a:lnTo>
                  <a:lnTo>
                    <a:pt x="25907" y="201167"/>
                  </a:lnTo>
                  <a:lnTo>
                    <a:pt x="22859" y="198119"/>
                  </a:lnTo>
                  <a:close/>
                </a:path>
              </a:pathLst>
            </a:custGeom>
            <a:solidFill>
              <a:srgbClr val="460A67"/>
            </a:solidFill>
          </p:spPr>
          <p:txBody>
            <a:bodyPr wrap="square" lIns="0" tIns="0" rIns="0" bIns="0" rtlCol="0"/>
            <a:lstStyle/>
            <a:p>
              <a:endParaRPr/>
            </a:p>
          </p:txBody>
        </p:sp>
        <p:sp>
          <p:nvSpPr>
            <p:cNvPr id="52" name="object 45"/>
            <p:cNvSpPr/>
            <p:nvPr/>
          </p:nvSpPr>
          <p:spPr>
            <a:xfrm>
              <a:off x="5320666" y="5042432"/>
              <a:ext cx="824865" cy="605155"/>
            </a:xfrm>
            <a:custGeom>
              <a:avLst/>
              <a:gdLst/>
              <a:ahLst/>
              <a:cxnLst/>
              <a:rect l="l" t="t" r="r" b="b"/>
              <a:pathLst>
                <a:path w="824864" h="605154">
                  <a:moveTo>
                    <a:pt x="0" y="504444"/>
                  </a:moveTo>
                  <a:lnTo>
                    <a:pt x="0" y="100584"/>
                  </a:lnTo>
                  <a:lnTo>
                    <a:pt x="8000" y="61079"/>
                  </a:lnTo>
                  <a:lnTo>
                    <a:pt x="29717" y="29146"/>
                  </a:lnTo>
                  <a:lnTo>
                    <a:pt x="61721" y="7786"/>
                  </a:lnTo>
                  <a:lnTo>
                    <a:pt x="100583" y="0"/>
                  </a:lnTo>
                  <a:lnTo>
                    <a:pt x="723900" y="0"/>
                  </a:lnTo>
                  <a:lnTo>
                    <a:pt x="762762" y="7786"/>
                  </a:lnTo>
                  <a:lnTo>
                    <a:pt x="794765" y="29146"/>
                  </a:lnTo>
                  <a:lnTo>
                    <a:pt x="816482" y="61079"/>
                  </a:lnTo>
                  <a:lnTo>
                    <a:pt x="824483" y="100584"/>
                  </a:lnTo>
                  <a:lnTo>
                    <a:pt x="824483" y="504444"/>
                  </a:lnTo>
                  <a:lnTo>
                    <a:pt x="816482" y="543306"/>
                  </a:lnTo>
                  <a:lnTo>
                    <a:pt x="794765" y="575309"/>
                  </a:lnTo>
                  <a:lnTo>
                    <a:pt x="762762" y="597026"/>
                  </a:lnTo>
                  <a:lnTo>
                    <a:pt x="72390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53" name="object 46"/>
            <p:cNvSpPr txBox="1"/>
            <p:nvPr/>
          </p:nvSpPr>
          <p:spPr>
            <a:xfrm>
              <a:off x="5361274" y="5074896"/>
              <a:ext cx="741045" cy="123111"/>
            </a:xfrm>
            <a:prstGeom prst="rect">
              <a:avLst/>
            </a:prstGeom>
          </p:spPr>
          <p:txBody>
            <a:bodyPr vert="horz" wrap="square" lIns="0" tIns="0" rIns="0" bIns="0" rtlCol="0">
              <a:spAutoFit/>
            </a:bodyPr>
            <a:lstStyle/>
            <a:p>
              <a:pPr marL="12700">
                <a:lnSpc>
                  <a:spcPct val="100000"/>
                </a:lnSpc>
              </a:pPr>
              <a:r>
                <a:rPr sz="800" spc="75" dirty="0">
                  <a:solidFill>
                    <a:srgbClr val="460A67"/>
                  </a:solidFill>
                  <a:cs typeface="Times New Roman"/>
                </a:rPr>
                <a:t>Human</a:t>
              </a:r>
              <a:r>
                <a:rPr sz="800" spc="-50" dirty="0">
                  <a:solidFill>
                    <a:srgbClr val="460A67"/>
                  </a:solidFill>
                  <a:cs typeface="Times New Roman"/>
                </a:rPr>
                <a:t> </a:t>
              </a:r>
              <a:r>
                <a:rPr sz="800" spc="45" dirty="0">
                  <a:solidFill>
                    <a:srgbClr val="460A67"/>
                  </a:solidFill>
                  <a:cs typeface="Times New Roman"/>
                </a:rPr>
                <a:t>Capital</a:t>
              </a:r>
              <a:endParaRPr sz="800">
                <a:cs typeface="Times New Roman"/>
              </a:endParaRPr>
            </a:p>
          </p:txBody>
        </p:sp>
        <p:sp>
          <p:nvSpPr>
            <p:cNvPr id="54" name="object 47"/>
            <p:cNvSpPr/>
            <p:nvPr/>
          </p:nvSpPr>
          <p:spPr>
            <a:xfrm>
              <a:off x="5642230" y="5345708"/>
              <a:ext cx="41275" cy="41275"/>
            </a:xfrm>
            <a:custGeom>
              <a:avLst/>
              <a:gdLst/>
              <a:ahLst/>
              <a:cxnLst/>
              <a:rect l="l" t="t" r="r" b="b"/>
              <a:pathLst>
                <a:path w="41275" h="41275">
                  <a:moveTo>
                    <a:pt x="0" y="19812"/>
                  </a:moveTo>
                  <a:lnTo>
                    <a:pt x="1619" y="12215"/>
                  </a:lnTo>
                  <a:lnTo>
                    <a:pt x="6095" y="5905"/>
                  </a:lnTo>
                  <a:lnTo>
                    <a:pt x="12858" y="1595"/>
                  </a:lnTo>
                  <a:lnTo>
                    <a:pt x="21336" y="0"/>
                  </a:lnTo>
                  <a:lnTo>
                    <a:pt x="28932" y="1595"/>
                  </a:lnTo>
                  <a:lnTo>
                    <a:pt x="35242" y="5905"/>
                  </a:lnTo>
                  <a:lnTo>
                    <a:pt x="39552" y="12215"/>
                  </a:lnTo>
                  <a:lnTo>
                    <a:pt x="41148" y="19812"/>
                  </a:lnTo>
                  <a:lnTo>
                    <a:pt x="39552" y="28289"/>
                  </a:lnTo>
                  <a:lnTo>
                    <a:pt x="35242" y="35052"/>
                  </a:lnTo>
                  <a:lnTo>
                    <a:pt x="28932" y="39528"/>
                  </a:lnTo>
                  <a:lnTo>
                    <a:pt x="21336" y="41148"/>
                  </a:lnTo>
                  <a:lnTo>
                    <a:pt x="12858" y="39528"/>
                  </a:lnTo>
                  <a:lnTo>
                    <a:pt x="6095" y="35052"/>
                  </a:lnTo>
                  <a:lnTo>
                    <a:pt x="1619" y="28289"/>
                  </a:lnTo>
                  <a:lnTo>
                    <a:pt x="0" y="19812"/>
                  </a:lnTo>
                  <a:close/>
                </a:path>
              </a:pathLst>
            </a:custGeom>
            <a:solidFill>
              <a:srgbClr val="460A67"/>
            </a:solidFill>
          </p:spPr>
          <p:txBody>
            <a:bodyPr wrap="square" lIns="0" tIns="0" rIns="0" bIns="0" rtlCol="0"/>
            <a:lstStyle/>
            <a:p>
              <a:endParaRPr/>
            </a:p>
          </p:txBody>
        </p:sp>
        <p:sp>
          <p:nvSpPr>
            <p:cNvPr id="55" name="object 48"/>
            <p:cNvSpPr/>
            <p:nvPr/>
          </p:nvSpPr>
          <p:spPr>
            <a:xfrm>
              <a:off x="5610226" y="5392952"/>
              <a:ext cx="135890" cy="187960"/>
            </a:xfrm>
            <a:custGeom>
              <a:avLst/>
              <a:gdLst/>
              <a:ahLst/>
              <a:cxnLst/>
              <a:rect l="l" t="t" r="r" b="b"/>
              <a:pathLst>
                <a:path w="135889" h="187959">
                  <a:moveTo>
                    <a:pt x="0" y="79248"/>
                  </a:moveTo>
                  <a:lnTo>
                    <a:pt x="0" y="22860"/>
                  </a:lnTo>
                  <a:lnTo>
                    <a:pt x="452" y="19288"/>
                  </a:lnTo>
                  <a:lnTo>
                    <a:pt x="3619" y="11430"/>
                  </a:lnTo>
                  <a:lnTo>
                    <a:pt x="12215" y="3571"/>
                  </a:lnTo>
                  <a:lnTo>
                    <a:pt x="28956" y="0"/>
                  </a:lnTo>
                  <a:lnTo>
                    <a:pt x="70104" y="0"/>
                  </a:lnTo>
                  <a:lnTo>
                    <a:pt x="132588" y="47244"/>
                  </a:lnTo>
                  <a:lnTo>
                    <a:pt x="135636" y="50292"/>
                  </a:lnTo>
                  <a:lnTo>
                    <a:pt x="135636" y="54864"/>
                  </a:lnTo>
                  <a:lnTo>
                    <a:pt x="132588" y="57912"/>
                  </a:lnTo>
                  <a:lnTo>
                    <a:pt x="126492" y="60960"/>
                  </a:lnTo>
                  <a:lnTo>
                    <a:pt x="123444" y="60960"/>
                  </a:lnTo>
                  <a:lnTo>
                    <a:pt x="118872" y="57912"/>
                  </a:lnTo>
                  <a:lnTo>
                    <a:pt x="82296" y="25908"/>
                  </a:lnTo>
                  <a:lnTo>
                    <a:pt x="76200" y="25908"/>
                  </a:lnTo>
                  <a:lnTo>
                    <a:pt x="76200" y="181356"/>
                  </a:lnTo>
                  <a:lnTo>
                    <a:pt x="70104" y="187452"/>
                  </a:lnTo>
                  <a:lnTo>
                    <a:pt x="59436" y="187452"/>
                  </a:lnTo>
                  <a:lnTo>
                    <a:pt x="53340" y="181356"/>
                  </a:lnTo>
                  <a:lnTo>
                    <a:pt x="53340" y="79248"/>
                  </a:lnTo>
                  <a:lnTo>
                    <a:pt x="47244" y="79248"/>
                  </a:lnTo>
                  <a:lnTo>
                    <a:pt x="47244" y="181356"/>
                  </a:lnTo>
                  <a:lnTo>
                    <a:pt x="41148" y="187452"/>
                  </a:lnTo>
                  <a:lnTo>
                    <a:pt x="28956" y="187452"/>
                  </a:lnTo>
                  <a:lnTo>
                    <a:pt x="22860" y="181356"/>
                  </a:lnTo>
                  <a:lnTo>
                    <a:pt x="22860" y="25908"/>
                  </a:lnTo>
                  <a:lnTo>
                    <a:pt x="16764" y="25908"/>
                  </a:lnTo>
                  <a:lnTo>
                    <a:pt x="16764" y="79248"/>
                  </a:lnTo>
                  <a:lnTo>
                    <a:pt x="13716" y="82296"/>
                  </a:lnTo>
                  <a:lnTo>
                    <a:pt x="6096" y="82296"/>
                  </a:lnTo>
                  <a:lnTo>
                    <a:pt x="0" y="79248"/>
                  </a:lnTo>
                  <a:close/>
                </a:path>
              </a:pathLst>
            </a:custGeom>
            <a:solidFill>
              <a:srgbClr val="460A67"/>
            </a:solidFill>
          </p:spPr>
          <p:txBody>
            <a:bodyPr wrap="square" lIns="0" tIns="0" rIns="0" bIns="0" rtlCol="0"/>
            <a:lstStyle/>
            <a:p>
              <a:endParaRPr/>
            </a:p>
          </p:txBody>
        </p:sp>
        <p:sp>
          <p:nvSpPr>
            <p:cNvPr id="56" name="object 49"/>
            <p:cNvSpPr/>
            <p:nvPr/>
          </p:nvSpPr>
          <p:spPr>
            <a:xfrm>
              <a:off x="5726050" y="5348756"/>
              <a:ext cx="60960" cy="97790"/>
            </a:xfrm>
            <a:custGeom>
              <a:avLst/>
              <a:gdLst/>
              <a:ahLst/>
              <a:cxnLst/>
              <a:rect l="l" t="t" r="r" b="b"/>
              <a:pathLst>
                <a:path w="60960" h="97789">
                  <a:moveTo>
                    <a:pt x="0" y="94488"/>
                  </a:moveTo>
                  <a:lnTo>
                    <a:pt x="0" y="88392"/>
                  </a:lnTo>
                  <a:lnTo>
                    <a:pt x="50291" y="3048"/>
                  </a:lnTo>
                  <a:lnTo>
                    <a:pt x="51815" y="0"/>
                  </a:lnTo>
                  <a:lnTo>
                    <a:pt x="54863" y="0"/>
                  </a:lnTo>
                  <a:lnTo>
                    <a:pt x="54863" y="3048"/>
                  </a:lnTo>
                  <a:lnTo>
                    <a:pt x="57911" y="3048"/>
                  </a:lnTo>
                  <a:lnTo>
                    <a:pt x="60959" y="6096"/>
                  </a:lnTo>
                  <a:lnTo>
                    <a:pt x="57911" y="9144"/>
                  </a:lnTo>
                  <a:lnTo>
                    <a:pt x="9143" y="94488"/>
                  </a:lnTo>
                  <a:lnTo>
                    <a:pt x="9143" y="97536"/>
                  </a:lnTo>
                  <a:lnTo>
                    <a:pt x="3047" y="97536"/>
                  </a:lnTo>
                  <a:lnTo>
                    <a:pt x="0" y="94488"/>
                  </a:lnTo>
                  <a:close/>
                </a:path>
              </a:pathLst>
            </a:custGeom>
            <a:solidFill>
              <a:srgbClr val="460A67"/>
            </a:solidFill>
          </p:spPr>
          <p:txBody>
            <a:bodyPr wrap="square" lIns="0" tIns="0" rIns="0" bIns="0" rtlCol="0"/>
            <a:lstStyle/>
            <a:p>
              <a:endParaRPr/>
            </a:p>
          </p:txBody>
        </p:sp>
        <p:sp>
          <p:nvSpPr>
            <p:cNvPr id="57" name="object 50"/>
            <p:cNvSpPr/>
            <p:nvPr/>
          </p:nvSpPr>
          <p:spPr>
            <a:xfrm>
              <a:off x="5764150" y="5362473"/>
              <a:ext cx="91440" cy="83820"/>
            </a:xfrm>
            <a:custGeom>
              <a:avLst/>
              <a:gdLst/>
              <a:ahLst/>
              <a:cxnLst/>
              <a:rect l="l" t="t" r="r" b="b"/>
              <a:pathLst>
                <a:path w="91439" h="83820">
                  <a:moveTo>
                    <a:pt x="0" y="44195"/>
                  </a:moveTo>
                  <a:lnTo>
                    <a:pt x="3048" y="39623"/>
                  </a:lnTo>
                  <a:lnTo>
                    <a:pt x="6096" y="36575"/>
                  </a:lnTo>
                  <a:lnTo>
                    <a:pt x="12192" y="24383"/>
                  </a:lnTo>
                  <a:lnTo>
                    <a:pt x="15240" y="21335"/>
                  </a:lnTo>
                  <a:lnTo>
                    <a:pt x="15240" y="15239"/>
                  </a:lnTo>
                  <a:lnTo>
                    <a:pt x="19812" y="6095"/>
                  </a:lnTo>
                  <a:lnTo>
                    <a:pt x="25908" y="0"/>
                  </a:lnTo>
                  <a:lnTo>
                    <a:pt x="38100" y="0"/>
                  </a:lnTo>
                  <a:lnTo>
                    <a:pt x="41148" y="3047"/>
                  </a:lnTo>
                  <a:lnTo>
                    <a:pt x="47244" y="6095"/>
                  </a:lnTo>
                  <a:lnTo>
                    <a:pt x="50292" y="9143"/>
                  </a:lnTo>
                  <a:lnTo>
                    <a:pt x="53340" y="15239"/>
                  </a:lnTo>
                  <a:lnTo>
                    <a:pt x="62484" y="24383"/>
                  </a:lnTo>
                  <a:lnTo>
                    <a:pt x="68580" y="27431"/>
                  </a:lnTo>
                  <a:lnTo>
                    <a:pt x="74676" y="33527"/>
                  </a:lnTo>
                  <a:lnTo>
                    <a:pt x="79248" y="36575"/>
                  </a:lnTo>
                  <a:lnTo>
                    <a:pt x="85344" y="39623"/>
                  </a:lnTo>
                  <a:lnTo>
                    <a:pt x="91440" y="39623"/>
                  </a:lnTo>
                  <a:lnTo>
                    <a:pt x="88392" y="44195"/>
                  </a:lnTo>
                  <a:lnTo>
                    <a:pt x="85344" y="50291"/>
                  </a:lnTo>
                  <a:lnTo>
                    <a:pt x="82296" y="53339"/>
                  </a:lnTo>
                  <a:lnTo>
                    <a:pt x="79248" y="59435"/>
                  </a:lnTo>
                  <a:lnTo>
                    <a:pt x="76200" y="62483"/>
                  </a:lnTo>
                  <a:lnTo>
                    <a:pt x="74676" y="68579"/>
                  </a:lnTo>
                  <a:lnTo>
                    <a:pt x="71628" y="71627"/>
                  </a:lnTo>
                  <a:lnTo>
                    <a:pt x="65532" y="83819"/>
                  </a:lnTo>
                  <a:lnTo>
                    <a:pt x="53340" y="83819"/>
                  </a:lnTo>
                  <a:lnTo>
                    <a:pt x="47244" y="80771"/>
                  </a:lnTo>
                  <a:lnTo>
                    <a:pt x="19812" y="53339"/>
                  </a:lnTo>
                  <a:lnTo>
                    <a:pt x="15240" y="50291"/>
                  </a:lnTo>
                  <a:lnTo>
                    <a:pt x="12192" y="47243"/>
                  </a:lnTo>
                  <a:lnTo>
                    <a:pt x="6096" y="44195"/>
                  </a:lnTo>
                  <a:lnTo>
                    <a:pt x="0" y="44195"/>
                  </a:lnTo>
                  <a:close/>
                </a:path>
              </a:pathLst>
            </a:custGeom>
            <a:solidFill>
              <a:srgbClr val="460A67"/>
            </a:solidFill>
          </p:spPr>
          <p:txBody>
            <a:bodyPr wrap="square" lIns="0" tIns="0" rIns="0" bIns="0" rtlCol="0"/>
            <a:lstStyle/>
            <a:p>
              <a:endParaRPr/>
            </a:p>
          </p:txBody>
        </p:sp>
        <p:sp>
          <p:nvSpPr>
            <p:cNvPr id="58" name="object 51"/>
            <p:cNvSpPr/>
            <p:nvPr/>
          </p:nvSpPr>
          <p:spPr>
            <a:xfrm>
              <a:off x="6431662" y="5042432"/>
              <a:ext cx="824865" cy="605155"/>
            </a:xfrm>
            <a:custGeom>
              <a:avLst/>
              <a:gdLst/>
              <a:ahLst/>
              <a:cxnLst/>
              <a:rect l="l" t="t" r="r" b="b"/>
              <a:pathLst>
                <a:path w="824864" h="605154">
                  <a:moveTo>
                    <a:pt x="0" y="504444"/>
                  </a:moveTo>
                  <a:lnTo>
                    <a:pt x="0" y="100584"/>
                  </a:lnTo>
                  <a:lnTo>
                    <a:pt x="8000" y="61079"/>
                  </a:lnTo>
                  <a:lnTo>
                    <a:pt x="29717" y="29146"/>
                  </a:lnTo>
                  <a:lnTo>
                    <a:pt x="61721" y="7786"/>
                  </a:lnTo>
                  <a:lnTo>
                    <a:pt x="100583" y="0"/>
                  </a:lnTo>
                  <a:lnTo>
                    <a:pt x="723900" y="0"/>
                  </a:lnTo>
                  <a:lnTo>
                    <a:pt x="762762" y="7786"/>
                  </a:lnTo>
                  <a:lnTo>
                    <a:pt x="794765" y="29146"/>
                  </a:lnTo>
                  <a:lnTo>
                    <a:pt x="816482" y="61079"/>
                  </a:lnTo>
                  <a:lnTo>
                    <a:pt x="824483" y="100584"/>
                  </a:lnTo>
                  <a:lnTo>
                    <a:pt x="824483" y="504444"/>
                  </a:lnTo>
                  <a:lnTo>
                    <a:pt x="816482" y="543306"/>
                  </a:lnTo>
                  <a:lnTo>
                    <a:pt x="794765" y="575309"/>
                  </a:lnTo>
                  <a:lnTo>
                    <a:pt x="762762" y="597026"/>
                  </a:lnTo>
                  <a:lnTo>
                    <a:pt x="72390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59" name="object 52"/>
            <p:cNvSpPr txBox="1"/>
            <p:nvPr/>
          </p:nvSpPr>
          <p:spPr>
            <a:xfrm>
              <a:off x="6481449" y="5074896"/>
              <a:ext cx="725805" cy="123111"/>
            </a:xfrm>
            <a:prstGeom prst="rect">
              <a:avLst/>
            </a:prstGeom>
          </p:spPr>
          <p:txBody>
            <a:bodyPr vert="horz" wrap="square" lIns="0" tIns="0" rIns="0" bIns="0" rtlCol="0">
              <a:spAutoFit/>
            </a:bodyPr>
            <a:lstStyle/>
            <a:p>
              <a:pPr marL="12700">
                <a:lnSpc>
                  <a:spcPct val="100000"/>
                </a:lnSpc>
              </a:pPr>
              <a:r>
                <a:rPr sz="800" spc="50" dirty="0">
                  <a:solidFill>
                    <a:srgbClr val="460A67"/>
                  </a:solidFill>
                  <a:cs typeface="Times New Roman"/>
                </a:rPr>
                <a:t>Cyber-security</a:t>
              </a:r>
              <a:endParaRPr sz="800">
                <a:cs typeface="Times New Roman"/>
              </a:endParaRPr>
            </a:p>
          </p:txBody>
        </p:sp>
        <p:sp>
          <p:nvSpPr>
            <p:cNvPr id="60" name="object 53"/>
            <p:cNvSpPr/>
            <p:nvPr/>
          </p:nvSpPr>
          <p:spPr>
            <a:xfrm>
              <a:off x="6725794" y="5330469"/>
              <a:ext cx="236220" cy="265430"/>
            </a:xfrm>
            <a:custGeom>
              <a:avLst/>
              <a:gdLst/>
              <a:ahLst/>
              <a:cxnLst/>
              <a:rect l="l" t="t" r="r" b="b"/>
              <a:pathLst>
                <a:path w="236220" h="265429">
                  <a:moveTo>
                    <a:pt x="0" y="36575"/>
                  </a:moveTo>
                  <a:lnTo>
                    <a:pt x="0" y="33527"/>
                  </a:lnTo>
                  <a:lnTo>
                    <a:pt x="3048" y="32003"/>
                  </a:lnTo>
                  <a:lnTo>
                    <a:pt x="6096" y="32003"/>
                  </a:lnTo>
                  <a:lnTo>
                    <a:pt x="55387" y="27479"/>
                  </a:lnTo>
                  <a:lnTo>
                    <a:pt x="89535" y="17525"/>
                  </a:lnTo>
                  <a:lnTo>
                    <a:pt x="109394" y="7572"/>
                  </a:lnTo>
                  <a:lnTo>
                    <a:pt x="115824" y="3047"/>
                  </a:lnTo>
                  <a:lnTo>
                    <a:pt x="115824" y="0"/>
                  </a:lnTo>
                  <a:lnTo>
                    <a:pt x="121920" y="0"/>
                  </a:lnTo>
                  <a:lnTo>
                    <a:pt x="183237" y="27479"/>
                  </a:lnTo>
                  <a:lnTo>
                    <a:pt x="233172" y="32003"/>
                  </a:lnTo>
                  <a:lnTo>
                    <a:pt x="236220" y="32003"/>
                  </a:lnTo>
                  <a:lnTo>
                    <a:pt x="236220" y="36575"/>
                  </a:lnTo>
                  <a:lnTo>
                    <a:pt x="216408" y="169163"/>
                  </a:lnTo>
                  <a:lnTo>
                    <a:pt x="216408" y="56387"/>
                  </a:lnTo>
                  <a:lnTo>
                    <a:pt x="213360" y="53339"/>
                  </a:lnTo>
                  <a:lnTo>
                    <a:pt x="211836" y="53339"/>
                  </a:lnTo>
                  <a:lnTo>
                    <a:pt x="172712" y="50006"/>
                  </a:lnTo>
                  <a:lnTo>
                    <a:pt x="144589" y="42671"/>
                  </a:lnTo>
                  <a:lnTo>
                    <a:pt x="127611" y="35337"/>
                  </a:lnTo>
                  <a:lnTo>
                    <a:pt x="121920" y="32003"/>
                  </a:lnTo>
                  <a:lnTo>
                    <a:pt x="121920" y="28955"/>
                  </a:lnTo>
                  <a:lnTo>
                    <a:pt x="118872" y="28955"/>
                  </a:lnTo>
                  <a:lnTo>
                    <a:pt x="65674" y="50006"/>
                  </a:lnTo>
                  <a:lnTo>
                    <a:pt x="25908" y="53339"/>
                  </a:lnTo>
                  <a:lnTo>
                    <a:pt x="22860" y="53339"/>
                  </a:lnTo>
                  <a:lnTo>
                    <a:pt x="22860" y="175350"/>
                  </a:lnTo>
                  <a:lnTo>
                    <a:pt x="19812" y="169163"/>
                  </a:lnTo>
                  <a:lnTo>
                    <a:pt x="0" y="36575"/>
                  </a:lnTo>
                  <a:close/>
                </a:path>
                <a:path w="236220" h="265429">
                  <a:moveTo>
                    <a:pt x="22860" y="175350"/>
                  </a:moveTo>
                  <a:lnTo>
                    <a:pt x="22860" y="56387"/>
                  </a:lnTo>
                  <a:lnTo>
                    <a:pt x="42672" y="160019"/>
                  </a:lnTo>
                  <a:lnTo>
                    <a:pt x="56721" y="189499"/>
                  </a:lnTo>
                  <a:lnTo>
                    <a:pt x="81914" y="212979"/>
                  </a:lnTo>
                  <a:lnTo>
                    <a:pt x="106537" y="229028"/>
                  </a:lnTo>
                  <a:lnTo>
                    <a:pt x="118872" y="236220"/>
                  </a:lnTo>
                  <a:lnTo>
                    <a:pt x="121920" y="236220"/>
                  </a:lnTo>
                  <a:lnTo>
                    <a:pt x="156972" y="212979"/>
                  </a:lnTo>
                  <a:lnTo>
                    <a:pt x="196596" y="160019"/>
                  </a:lnTo>
                  <a:lnTo>
                    <a:pt x="216408" y="56387"/>
                  </a:lnTo>
                  <a:lnTo>
                    <a:pt x="216408" y="169163"/>
                  </a:lnTo>
                  <a:lnTo>
                    <a:pt x="199929" y="206668"/>
                  </a:lnTo>
                  <a:lnTo>
                    <a:pt x="168021" y="237172"/>
                  </a:lnTo>
                  <a:lnTo>
                    <a:pt x="136683" y="257675"/>
                  </a:lnTo>
                  <a:lnTo>
                    <a:pt x="121920" y="265175"/>
                  </a:lnTo>
                  <a:lnTo>
                    <a:pt x="118872" y="265175"/>
                  </a:lnTo>
                  <a:lnTo>
                    <a:pt x="102107" y="257675"/>
                  </a:lnTo>
                  <a:lnTo>
                    <a:pt x="70484" y="237172"/>
                  </a:lnTo>
                  <a:lnTo>
                    <a:pt x="38290" y="206668"/>
                  </a:lnTo>
                  <a:lnTo>
                    <a:pt x="22860" y="175350"/>
                  </a:lnTo>
                  <a:close/>
                </a:path>
              </a:pathLst>
            </a:custGeom>
            <a:solidFill>
              <a:srgbClr val="460A67"/>
            </a:solidFill>
          </p:spPr>
          <p:txBody>
            <a:bodyPr wrap="square" lIns="0" tIns="0" rIns="0" bIns="0" rtlCol="0"/>
            <a:lstStyle/>
            <a:p>
              <a:endParaRPr/>
            </a:p>
          </p:txBody>
        </p:sp>
        <p:sp>
          <p:nvSpPr>
            <p:cNvPr id="61" name="object 54"/>
            <p:cNvSpPr/>
            <p:nvPr/>
          </p:nvSpPr>
          <p:spPr>
            <a:xfrm>
              <a:off x="6844666" y="5359425"/>
              <a:ext cx="99060" cy="106680"/>
            </a:xfrm>
            <a:custGeom>
              <a:avLst/>
              <a:gdLst/>
              <a:ahLst/>
              <a:cxnLst/>
              <a:rect l="l" t="t" r="r" b="b"/>
              <a:pathLst>
                <a:path w="99060" h="106679">
                  <a:moveTo>
                    <a:pt x="0" y="103632"/>
                  </a:moveTo>
                  <a:lnTo>
                    <a:pt x="0" y="0"/>
                  </a:lnTo>
                  <a:lnTo>
                    <a:pt x="3048" y="0"/>
                  </a:lnTo>
                  <a:lnTo>
                    <a:pt x="3048" y="3047"/>
                  </a:lnTo>
                  <a:lnTo>
                    <a:pt x="8739" y="6381"/>
                  </a:lnTo>
                  <a:lnTo>
                    <a:pt x="25717" y="13715"/>
                  </a:lnTo>
                  <a:lnTo>
                    <a:pt x="53840" y="21050"/>
                  </a:lnTo>
                  <a:lnTo>
                    <a:pt x="92964" y="24383"/>
                  </a:lnTo>
                  <a:lnTo>
                    <a:pt x="96012" y="24383"/>
                  </a:lnTo>
                  <a:lnTo>
                    <a:pt x="99060" y="27431"/>
                  </a:lnTo>
                  <a:lnTo>
                    <a:pt x="82296" y="106679"/>
                  </a:lnTo>
                  <a:lnTo>
                    <a:pt x="0" y="103632"/>
                  </a:lnTo>
                  <a:close/>
                </a:path>
              </a:pathLst>
            </a:custGeom>
            <a:solidFill>
              <a:srgbClr val="460A67"/>
            </a:solidFill>
          </p:spPr>
          <p:txBody>
            <a:bodyPr wrap="square" lIns="0" tIns="0" rIns="0" bIns="0" rtlCol="0"/>
            <a:lstStyle/>
            <a:p>
              <a:endParaRPr/>
            </a:p>
          </p:txBody>
        </p:sp>
        <p:sp>
          <p:nvSpPr>
            <p:cNvPr id="62" name="object 55"/>
            <p:cNvSpPr/>
            <p:nvPr/>
          </p:nvSpPr>
          <p:spPr>
            <a:xfrm>
              <a:off x="6762370" y="5463057"/>
              <a:ext cx="82550" cy="104139"/>
            </a:xfrm>
            <a:custGeom>
              <a:avLst/>
              <a:gdLst/>
              <a:ahLst/>
              <a:cxnLst/>
              <a:rect l="l" t="t" r="r" b="b"/>
              <a:pathLst>
                <a:path w="82550" h="104140">
                  <a:moveTo>
                    <a:pt x="0" y="3047"/>
                  </a:moveTo>
                  <a:lnTo>
                    <a:pt x="82295" y="0"/>
                  </a:lnTo>
                  <a:lnTo>
                    <a:pt x="82295" y="103632"/>
                  </a:lnTo>
                  <a:lnTo>
                    <a:pt x="43624" y="79247"/>
                  </a:lnTo>
                  <a:lnTo>
                    <a:pt x="6095" y="27432"/>
                  </a:lnTo>
                  <a:lnTo>
                    <a:pt x="0" y="3047"/>
                  </a:lnTo>
                  <a:close/>
                </a:path>
              </a:pathLst>
            </a:custGeom>
            <a:solidFill>
              <a:srgbClr val="460A67"/>
            </a:solidFill>
          </p:spPr>
          <p:txBody>
            <a:bodyPr wrap="square" lIns="0" tIns="0" rIns="0" bIns="0" rtlCol="0"/>
            <a:lstStyle/>
            <a:p>
              <a:endParaRPr/>
            </a:p>
          </p:txBody>
        </p:sp>
        <p:sp>
          <p:nvSpPr>
            <p:cNvPr id="63" name="object 56"/>
            <p:cNvSpPr/>
            <p:nvPr/>
          </p:nvSpPr>
          <p:spPr>
            <a:xfrm>
              <a:off x="6768466" y="5490489"/>
              <a:ext cx="76200" cy="76200"/>
            </a:xfrm>
            <a:custGeom>
              <a:avLst/>
              <a:gdLst/>
              <a:ahLst/>
              <a:cxnLst/>
              <a:rect l="l" t="t" r="r" b="b"/>
              <a:pathLst>
                <a:path w="76200" h="76200">
                  <a:moveTo>
                    <a:pt x="0" y="0"/>
                  </a:moveTo>
                  <a:lnTo>
                    <a:pt x="13406" y="28193"/>
                  </a:lnTo>
                  <a:lnTo>
                    <a:pt x="37528" y="51815"/>
                  </a:lnTo>
                  <a:lnTo>
                    <a:pt x="61936" y="68579"/>
                  </a:lnTo>
                  <a:lnTo>
                    <a:pt x="76200" y="76200"/>
                  </a:lnTo>
                  <a:lnTo>
                    <a:pt x="61079" y="68579"/>
                  </a:lnTo>
                  <a:lnTo>
                    <a:pt x="35242" y="51815"/>
                  </a:lnTo>
                  <a:lnTo>
                    <a:pt x="10834" y="28193"/>
                  </a:lnTo>
                  <a:lnTo>
                    <a:pt x="0" y="0"/>
                  </a:lnTo>
                  <a:close/>
                </a:path>
              </a:pathLst>
            </a:custGeom>
            <a:solidFill>
              <a:srgbClr val="460A67"/>
            </a:solidFill>
          </p:spPr>
          <p:txBody>
            <a:bodyPr wrap="square" lIns="0" tIns="0" rIns="0" bIns="0" rtlCol="0"/>
            <a:lstStyle/>
            <a:p>
              <a:endParaRPr/>
            </a:p>
          </p:txBody>
        </p:sp>
        <p:sp>
          <p:nvSpPr>
            <p:cNvPr id="64" name="object 57"/>
            <p:cNvSpPr/>
            <p:nvPr/>
          </p:nvSpPr>
          <p:spPr>
            <a:xfrm>
              <a:off x="7544182" y="5042432"/>
              <a:ext cx="822960" cy="605155"/>
            </a:xfrm>
            <a:custGeom>
              <a:avLst/>
              <a:gdLst/>
              <a:ahLst/>
              <a:cxnLst/>
              <a:rect l="l" t="t" r="r" b="b"/>
              <a:pathLst>
                <a:path w="822959" h="605154">
                  <a:moveTo>
                    <a:pt x="0" y="504444"/>
                  </a:moveTo>
                  <a:lnTo>
                    <a:pt x="0" y="100584"/>
                  </a:lnTo>
                  <a:lnTo>
                    <a:pt x="7786" y="61079"/>
                  </a:lnTo>
                  <a:lnTo>
                    <a:pt x="29146" y="29146"/>
                  </a:lnTo>
                  <a:lnTo>
                    <a:pt x="61079" y="7786"/>
                  </a:lnTo>
                  <a:lnTo>
                    <a:pt x="100583" y="0"/>
                  </a:lnTo>
                  <a:lnTo>
                    <a:pt x="722375" y="0"/>
                  </a:lnTo>
                  <a:lnTo>
                    <a:pt x="761880" y="7786"/>
                  </a:lnTo>
                  <a:lnTo>
                    <a:pt x="793813" y="29146"/>
                  </a:lnTo>
                  <a:lnTo>
                    <a:pt x="815173" y="61079"/>
                  </a:lnTo>
                  <a:lnTo>
                    <a:pt x="822960" y="100584"/>
                  </a:lnTo>
                  <a:lnTo>
                    <a:pt x="822960" y="504444"/>
                  </a:lnTo>
                  <a:lnTo>
                    <a:pt x="815173" y="543306"/>
                  </a:lnTo>
                  <a:lnTo>
                    <a:pt x="793813" y="575309"/>
                  </a:lnTo>
                  <a:lnTo>
                    <a:pt x="761880" y="597026"/>
                  </a:lnTo>
                  <a:lnTo>
                    <a:pt x="722375"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65" name="object 58"/>
            <p:cNvSpPr txBox="1"/>
            <p:nvPr/>
          </p:nvSpPr>
          <p:spPr>
            <a:xfrm>
              <a:off x="7667078" y="5074896"/>
              <a:ext cx="577215" cy="246221"/>
            </a:xfrm>
            <a:prstGeom prst="rect">
              <a:avLst/>
            </a:prstGeom>
          </p:spPr>
          <p:txBody>
            <a:bodyPr vert="horz" wrap="square" lIns="0" tIns="0" rIns="0" bIns="0" rtlCol="0">
              <a:spAutoFit/>
            </a:bodyPr>
            <a:lstStyle/>
            <a:p>
              <a:pPr algn="ctr">
                <a:lnSpc>
                  <a:spcPct val="100000"/>
                </a:lnSpc>
              </a:pPr>
              <a:r>
                <a:rPr sz="800" spc="40" dirty="0">
                  <a:solidFill>
                    <a:srgbClr val="460A67"/>
                  </a:solidFill>
                  <a:cs typeface="Times New Roman"/>
                </a:rPr>
                <a:t>Policies</a:t>
              </a:r>
              <a:endParaRPr sz="800">
                <a:cs typeface="Times New Roman"/>
              </a:endParaRPr>
            </a:p>
            <a:p>
              <a:pPr algn="ctr">
                <a:lnSpc>
                  <a:spcPct val="100000"/>
                </a:lnSpc>
              </a:pPr>
              <a:r>
                <a:rPr sz="800" spc="130" dirty="0">
                  <a:solidFill>
                    <a:srgbClr val="460A67"/>
                  </a:solidFill>
                  <a:cs typeface="Times New Roman"/>
                </a:rPr>
                <a:t>/</a:t>
              </a:r>
              <a:r>
                <a:rPr sz="800" spc="-65" dirty="0">
                  <a:solidFill>
                    <a:srgbClr val="460A67"/>
                  </a:solidFill>
                  <a:cs typeface="Times New Roman"/>
                </a:rPr>
                <a:t> </a:t>
              </a:r>
              <a:r>
                <a:rPr sz="800" spc="80" dirty="0">
                  <a:solidFill>
                    <a:srgbClr val="460A67"/>
                  </a:solidFill>
                  <a:cs typeface="Times New Roman"/>
                </a:rPr>
                <a:t>standards</a:t>
              </a:r>
              <a:endParaRPr sz="800">
                <a:cs typeface="Times New Roman"/>
              </a:endParaRPr>
            </a:p>
          </p:txBody>
        </p:sp>
        <p:sp>
          <p:nvSpPr>
            <p:cNvPr id="66" name="object 59"/>
            <p:cNvSpPr/>
            <p:nvPr/>
          </p:nvSpPr>
          <p:spPr>
            <a:xfrm>
              <a:off x="7803262" y="5351804"/>
              <a:ext cx="303530" cy="222885"/>
            </a:xfrm>
            <a:custGeom>
              <a:avLst/>
              <a:gdLst/>
              <a:ahLst/>
              <a:cxnLst/>
              <a:rect l="l" t="t" r="r" b="b"/>
              <a:pathLst>
                <a:path w="303529" h="222884">
                  <a:moveTo>
                    <a:pt x="0" y="217931"/>
                  </a:moveTo>
                  <a:lnTo>
                    <a:pt x="3048" y="213359"/>
                  </a:lnTo>
                  <a:lnTo>
                    <a:pt x="56388" y="77723"/>
                  </a:lnTo>
                  <a:lnTo>
                    <a:pt x="59436" y="73151"/>
                  </a:lnTo>
                  <a:lnTo>
                    <a:pt x="67056" y="70103"/>
                  </a:lnTo>
                  <a:lnTo>
                    <a:pt x="301751" y="70103"/>
                  </a:lnTo>
                  <a:lnTo>
                    <a:pt x="303276" y="73151"/>
                  </a:lnTo>
                  <a:lnTo>
                    <a:pt x="301751" y="77723"/>
                  </a:lnTo>
                  <a:lnTo>
                    <a:pt x="246888" y="213359"/>
                  </a:lnTo>
                  <a:lnTo>
                    <a:pt x="245363" y="217931"/>
                  </a:lnTo>
                  <a:lnTo>
                    <a:pt x="239268" y="222503"/>
                  </a:lnTo>
                  <a:lnTo>
                    <a:pt x="6096" y="222503"/>
                  </a:lnTo>
                  <a:lnTo>
                    <a:pt x="0" y="217931"/>
                  </a:lnTo>
                  <a:close/>
                </a:path>
                <a:path w="303529" h="222884">
                  <a:moveTo>
                    <a:pt x="0" y="179831"/>
                  </a:moveTo>
                  <a:lnTo>
                    <a:pt x="0" y="22859"/>
                  </a:lnTo>
                  <a:lnTo>
                    <a:pt x="6096" y="19811"/>
                  </a:lnTo>
                  <a:lnTo>
                    <a:pt x="22860" y="19811"/>
                  </a:lnTo>
                  <a:lnTo>
                    <a:pt x="25908" y="7619"/>
                  </a:lnTo>
                  <a:lnTo>
                    <a:pt x="28956" y="1523"/>
                  </a:lnTo>
                  <a:lnTo>
                    <a:pt x="36576" y="0"/>
                  </a:lnTo>
                  <a:lnTo>
                    <a:pt x="97536" y="0"/>
                  </a:lnTo>
                  <a:lnTo>
                    <a:pt x="102108" y="1523"/>
                  </a:lnTo>
                  <a:lnTo>
                    <a:pt x="105156" y="7619"/>
                  </a:lnTo>
                  <a:lnTo>
                    <a:pt x="106680" y="19811"/>
                  </a:lnTo>
                  <a:lnTo>
                    <a:pt x="208788" y="19811"/>
                  </a:lnTo>
                  <a:lnTo>
                    <a:pt x="214884" y="22859"/>
                  </a:lnTo>
                  <a:lnTo>
                    <a:pt x="214884" y="60959"/>
                  </a:lnTo>
                  <a:lnTo>
                    <a:pt x="48768" y="60959"/>
                  </a:lnTo>
                  <a:lnTo>
                    <a:pt x="45720" y="65531"/>
                  </a:lnTo>
                  <a:lnTo>
                    <a:pt x="37933" y="86606"/>
                  </a:lnTo>
                  <a:lnTo>
                    <a:pt x="0" y="179831"/>
                  </a:lnTo>
                  <a:close/>
                </a:path>
              </a:pathLst>
            </a:custGeom>
            <a:solidFill>
              <a:srgbClr val="460A67"/>
            </a:solidFill>
          </p:spPr>
          <p:txBody>
            <a:bodyPr wrap="square" lIns="0" tIns="0" rIns="0" bIns="0" rtlCol="0"/>
            <a:lstStyle/>
            <a:p>
              <a:endParaRPr/>
            </a:p>
          </p:txBody>
        </p:sp>
        <p:sp>
          <p:nvSpPr>
            <p:cNvPr id="67" name="object 60"/>
            <p:cNvSpPr/>
            <p:nvPr/>
          </p:nvSpPr>
          <p:spPr>
            <a:xfrm>
              <a:off x="8655178" y="5042432"/>
              <a:ext cx="822960" cy="605155"/>
            </a:xfrm>
            <a:custGeom>
              <a:avLst/>
              <a:gdLst/>
              <a:ahLst/>
              <a:cxnLst/>
              <a:rect l="l" t="t" r="r" b="b"/>
              <a:pathLst>
                <a:path w="822959" h="605154">
                  <a:moveTo>
                    <a:pt x="0" y="504444"/>
                  </a:moveTo>
                  <a:lnTo>
                    <a:pt x="0" y="100584"/>
                  </a:lnTo>
                  <a:lnTo>
                    <a:pt x="7786" y="61079"/>
                  </a:lnTo>
                  <a:lnTo>
                    <a:pt x="29146" y="29146"/>
                  </a:lnTo>
                  <a:lnTo>
                    <a:pt x="61079" y="7786"/>
                  </a:lnTo>
                  <a:lnTo>
                    <a:pt x="100583" y="0"/>
                  </a:lnTo>
                  <a:lnTo>
                    <a:pt x="722375" y="0"/>
                  </a:lnTo>
                  <a:lnTo>
                    <a:pt x="761880" y="7786"/>
                  </a:lnTo>
                  <a:lnTo>
                    <a:pt x="793813" y="29146"/>
                  </a:lnTo>
                  <a:lnTo>
                    <a:pt x="815173" y="61079"/>
                  </a:lnTo>
                  <a:lnTo>
                    <a:pt x="822960" y="100584"/>
                  </a:lnTo>
                  <a:lnTo>
                    <a:pt x="822960" y="504444"/>
                  </a:lnTo>
                  <a:lnTo>
                    <a:pt x="815173" y="543306"/>
                  </a:lnTo>
                  <a:lnTo>
                    <a:pt x="793813" y="575309"/>
                  </a:lnTo>
                  <a:lnTo>
                    <a:pt x="761880" y="597026"/>
                  </a:lnTo>
                  <a:lnTo>
                    <a:pt x="722375"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68" name="object 61"/>
            <p:cNvSpPr txBox="1"/>
            <p:nvPr/>
          </p:nvSpPr>
          <p:spPr>
            <a:xfrm>
              <a:off x="8868024" y="5074896"/>
              <a:ext cx="398145" cy="123111"/>
            </a:xfrm>
            <a:prstGeom prst="rect">
              <a:avLst/>
            </a:prstGeom>
          </p:spPr>
          <p:txBody>
            <a:bodyPr vert="horz" wrap="square" lIns="0" tIns="0" rIns="0" bIns="0" rtlCol="0">
              <a:spAutoFit/>
            </a:bodyPr>
            <a:lstStyle/>
            <a:p>
              <a:pPr marL="12700">
                <a:lnSpc>
                  <a:spcPct val="100000"/>
                </a:lnSpc>
              </a:pPr>
              <a:r>
                <a:rPr sz="800" dirty="0">
                  <a:solidFill>
                    <a:srgbClr val="460A67"/>
                  </a:solidFill>
                  <a:cs typeface="Times New Roman"/>
                </a:rPr>
                <a:t>C</a:t>
              </a:r>
              <a:r>
                <a:rPr sz="800" spc="80" dirty="0">
                  <a:solidFill>
                    <a:srgbClr val="460A67"/>
                  </a:solidFill>
                  <a:cs typeface="Times New Roman"/>
                </a:rPr>
                <a:t>o</a:t>
              </a:r>
              <a:r>
                <a:rPr sz="800" spc="130" dirty="0">
                  <a:solidFill>
                    <a:srgbClr val="460A67"/>
                  </a:solidFill>
                  <a:cs typeface="Times New Roman"/>
                </a:rPr>
                <a:t>mm</a:t>
              </a:r>
              <a:r>
                <a:rPr sz="800" spc="90" dirty="0">
                  <a:solidFill>
                    <a:srgbClr val="460A67"/>
                  </a:solidFill>
                  <a:cs typeface="Times New Roman"/>
                </a:rPr>
                <a:t>s</a:t>
              </a:r>
              <a:endParaRPr sz="800">
                <a:cs typeface="Times New Roman"/>
              </a:endParaRPr>
            </a:p>
          </p:txBody>
        </p:sp>
        <p:sp>
          <p:nvSpPr>
            <p:cNvPr id="69" name="object 62"/>
            <p:cNvSpPr/>
            <p:nvPr/>
          </p:nvSpPr>
          <p:spPr>
            <a:xfrm>
              <a:off x="8950834" y="5347232"/>
              <a:ext cx="231775" cy="231775"/>
            </a:xfrm>
            <a:custGeom>
              <a:avLst/>
              <a:gdLst/>
              <a:ahLst/>
              <a:cxnLst/>
              <a:rect l="l" t="t" r="r" b="b"/>
              <a:pathLst>
                <a:path w="231775" h="231775">
                  <a:moveTo>
                    <a:pt x="0" y="207264"/>
                  </a:moveTo>
                  <a:lnTo>
                    <a:pt x="0" y="24384"/>
                  </a:lnTo>
                  <a:lnTo>
                    <a:pt x="1881" y="14787"/>
                  </a:lnTo>
                  <a:lnTo>
                    <a:pt x="7048" y="7048"/>
                  </a:lnTo>
                  <a:lnTo>
                    <a:pt x="14787" y="1881"/>
                  </a:lnTo>
                  <a:lnTo>
                    <a:pt x="24383" y="0"/>
                  </a:lnTo>
                  <a:lnTo>
                    <a:pt x="207264" y="0"/>
                  </a:lnTo>
                  <a:lnTo>
                    <a:pt x="216217" y="1881"/>
                  </a:lnTo>
                  <a:lnTo>
                    <a:pt x="224028" y="7048"/>
                  </a:lnTo>
                  <a:lnTo>
                    <a:pt x="229552" y="14787"/>
                  </a:lnTo>
                  <a:lnTo>
                    <a:pt x="231648" y="24383"/>
                  </a:lnTo>
                  <a:lnTo>
                    <a:pt x="231648" y="207264"/>
                  </a:lnTo>
                  <a:lnTo>
                    <a:pt x="229552" y="216217"/>
                  </a:lnTo>
                  <a:lnTo>
                    <a:pt x="224028" y="224028"/>
                  </a:lnTo>
                  <a:lnTo>
                    <a:pt x="216217" y="229552"/>
                  </a:lnTo>
                  <a:lnTo>
                    <a:pt x="207264" y="231648"/>
                  </a:lnTo>
                  <a:lnTo>
                    <a:pt x="201168" y="231648"/>
                  </a:lnTo>
                  <a:lnTo>
                    <a:pt x="201168" y="67056"/>
                  </a:lnTo>
                  <a:lnTo>
                    <a:pt x="198120" y="68580"/>
                  </a:lnTo>
                  <a:lnTo>
                    <a:pt x="198120" y="53339"/>
                  </a:lnTo>
                  <a:lnTo>
                    <a:pt x="192595" y="56483"/>
                  </a:lnTo>
                  <a:lnTo>
                    <a:pt x="187071" y="59055"/>
                  </a:lnTo>
                  <a:lnTo>
                    <a:pt x="180975" y="61055"/>
                  </a:lnTo>
                  <a:lnTo>
                    <a:pt x="173736" y="62484"/>
                  </a:lnTo>
                  <a:lnTo>
                    <a:pt x="169497" y="58007"/>
                  </a:lnTo>
                  <a:lnTo>
                    <a:pt x="163830" y="54102"/>
                  </a:lnTo>
                  <a:lnTo>
                    <a:pt x="157019" y="51339"/>
                  </a:lnTo>
                  <a:lnTo>
                    <a:pt x="149352" y="50292"/>
                  </a:lnTo>
                  <a:lnTo>
                    <a:pt x="136398" y="52959"/>
                  </a:lnTo>
                  <a:lnTo>
                    <a:pt x="125730" y="60198"/>
                  </a:lnTo>
                  <a:lnTo>
                    <a:pt x="118491" y="70866"/>
                  </a:lnTo>
                  <a:lnTo>
                    <a:pt x="115824" y="83820"/>
                  </a:lnTo>
                  <a:lnTo>
                    <a:pt x="115824" y="94488"/>
                  </a:lnTo>
                  <a:lnTo>
                    <a:pt x="94773" y="90273"/>
                  </a:lnTo>
                  <a:lnTo>
                    <a:pt x="75437" y="82486"/>
                  </a:lnTo>
                  <a:lnTo>
                    <a:pt x="58388" y="71556"/>
                  </a:lnTo>
                  <a:lnTo>
                    <a:pt x="44195" y="57912"/>
                  </a:lnTo>
                  <a:lnTo>
                    <a:pt x="41147" y="62484"/>
                  </a:lnTo>
                  <a:lnTo>
                    <a:pt x="39624" y="67056"/>
                  </a:lnTo>
                  <a:lnTo>
                    <a:pt x="39624" y="173736"/>
                  </a:lnTo>
                  <a:lnTo>
                    <a:pt x="38563" y="173736"/>
                  </a:lnTo>
                  <a:lnTo>
                    <a:pt x="33528" y="170688"/>
                  </a:lnTo>
                  <a:lnTo>
                    <a:pt x="33528" y="231648"/>
                  </a:lnTo>
                  <a:lnTo>
                    <a:pt x="24383" y="231648"/>
                  </a:lnTo>
                  <a:lnTo>
                    <a:pt x="14787" y="229552"/>
                  </a:lnTo>
                  <a:lnTo>
                    <a:pt x="7048" y="224028"/>
                  </a:lnTo>
                  <a:lnTo>
                    <a:pt x="1881" y="216217"/>
                  </a:lnTo>
                  <a:lnTo>
                    <a:pt x="0" y="207264"/>
                  </a:lnTo>
                  <a:close/>
                </a:path>
                <a:path w="231775" h="231775">
                  <a:moveTo>
                    <a:pt x="33528" y="231648"/>
                  </a:moveTo>
                  <a:lnTo>
                    <a:pt x="33528" y="170688"/>
                  </a:lnTo>
                  <a:lnTo>
                    <a:pt x="36576" y="173736"/>
                  </a:lnTo>
                  <a:lnTo>
                    <a:pt x="38563" y="173736"/>
                  </a:lnTo>
                  <a:lnTo>
                    <a:pt x="45291" y="177807"/>
                  </a:lnTo>
                  <a:lnTo>
                    <a:pt x="57912" y="183070"/>
                  </a:lnTo>
                  <a:lnTo>
                    <a:pt x="71675" y="186332"/>
                  </a:lnTo>
                  <a:lnTo>
                    <a:pt x="86868" y="187452"/>
                  </a:lnTo>
                  <a:lnTo>
                    <a:pt x="128468" y="178641"/>
                  </a:lnTo>
                  <a:lnTo>
                    <a:pt x="159067" y="155829"/>
                  </a:lnTo>
                  <a:lnTo>
                    <a:pt x="177950" y="124444"/>
                  </a:lnTo>
                  <a:lnTo>
                    <a:pt x="184404" y="89916"/>
                  </a:lnTo>
                  <a:lnTo>
                    <a:pt x="184404" y="83820"/>
                  </a:lnTo>
                  <a:lnTo>
                    <a:pt x="190500" y="79248"/>
                  </a:lnTo>
                  <a:lnTo>
                    <a:pt x="198120" y="74676"/>
                  </a:lnTo>
                  <a:lnTo>
                    <a:pt x="201168" y="67056"/>
                  </a:lnTo>
                  <a:lnTo>
                    <a:pt x="201168" y="231648"/>
                  </a:lnTo>
                  <a:lnTo>
                    <a:pt x="33528" y="231648"/>
                  </a:lnTo>
                  <a:close/>
                </a:path>
                <a:path w="231775" h="231775">
                  <a:moveTo>
                    <a:pt x="181356" y="73152"/>
                  </a:moveTo>
                  <a:lnTo>
                    <a:pt x="186547" y="68556"/>
                  </a:lnTo>
                  <a:lnTo>
                    <a:pt x="190881" y="63817"/>
                  </a:lnTo>
                  <a:lnTo>
                    <a:pt x="194643" y="58793"/>
                  </a:lnTo>
                  <a:lnTo>
                    <a:pt x="198120" y="53339"/>
                  </a:lnTo>
                  <a:lnTo>
                    <a:pt x="198120" y="68580"/>
                  </a:lnTo>
                  <a:lnTo>
                    <a:pt x="188976" y="73152"/>
                  </a:lnTo>
                  <a:lnTo>
                    <a:pt x="181356" y="73152"/>
                  </a:lnTo>
                  <a:close/>
                </a:path>
                <a:path w="231775" h="231775">
                  <a:moveTo>
                    <a:pt x="51816" y="172575"/>
                  </a:moveTo>
                  <a:lnTo>
                    <a:pt x="51816" y="135636"/>
                  </a:lnTo>
                  <a:lnTo>
                    <a:pt x="56840" y="144113"/>
                  </a:lnTo>
                  <a:lnTo>
                    <a:pt x="64579" y="150876"/>
                  </a:lnTo>
                  <a:lnTo>
                    <a:pt x="74318" y="155352"/>
                  </a:lnTo>
                  <a:lnTo>
                    <a:pt x="85344" y="156972"/>
                  </a:lnTo>
                  <a:lnTo>
                    <a:pt x="75652" y="163449"/>
                  </a:lnTo>
                  <a:lnTo>
                    <a:pt x="64960" y="168783"/>
                  </a:lnTo>
                  <a:lnTo>
                    <a:pt x="53411" y="172402"/>
                  </a:lnTo>
                  <a:lnTo>
                    <a:pt x="51816" y="172575"/>
                  </a:lnTo>
                  <a:close/>
                </a:path>
                <a:path w="231775" h="231775">
                  <a:moveTo>
                    <a:pt x="39624" y="173736"/>
                  </a:moveTo>
                  <a:lnTo>
                    <a:pt x="39624" y="99060"/>
                  </a:lnTo>
                  <a:lnTo>
                    <a:pt x="41790" y="110942"/>
                  </a:lnTo>
                  <a:lnTo>
                    <a:pt x="47815" y="120967"/>
                  </a:lnTo>
                  <a:lnTo>
                    <a:pt x="56983" y="128420"/>
                  </a:lnTo>
                  <a:lnTo>
                    <a:pt x="68580" y="132588"/>
                  </a:lnTo>
                  <a:lnTo>
                    <a:pt x="65532" y="135636"/>
                  </a:lnTo>
                  <a:lnTo>
                    <a:pt x="51816" y="135636"/>
                  </a:lnTo>
                  <a:lnTo>
                    <a:pt x="51816" y="172575"/>
                  </a:lnTo>
                  <a:lnTo>
                    <a:pt x="41790" y="173666"/>
                  </a:lnTo>
                  <a:lnTo>
                    <a:pt x="39624" y="173736"/>
                  </a:lnTo>
                  <a:close/>
                </a:path>
                <a:path w="231775" h="231775">
                  <a:moveTo>
                    <a:pt x="39624" y="99060"/>
                  </a:moveTo>
                  <a:lnTo>
                    <a:pt x="39624" y="74676"/>
                  </a:lnTo>
                  <a:lnTo>
                    <a:pt x="40743" y="83272"/>
                  </a:lnTo>
                  <a:lnTo>
                    <a:pt x="44005" y="90868"/>
                  </a:lnTo>
                  <a:lnTo>
                    <a:pt x="49268" y="97607"/>
                  </a:lnTo>
                  <a:lnTo>
                    <a:pt x="56388" y="103632"/>
                  </a:lnTo>
                  <a:lnTo>
                    <a:pt x="51816" y="103632"/>
                  </a:lnTo>
                  <a:lnTo>
                    <a:pt x="44195" y="102108"/>
                  </a:lnTo>
                  <a:lnTo>
                    <a:pt x="39624" y="99060"/>
                  </a:lnTo>
                  <a:close/>
                </a:path>
              </a:pathLst>
            </a:custGeom>
            <a:solidFill>
              <a:srgbClr val="460A67"/>
            </a:solidFill>
          </p:spPr>
          <p:txBody>
            <a:bodyPr wrap="square" lIns="0" tIns="0" rIns="0" bIns="0" rtlCol="0"/>
            <a:lstStyle/>
            <a:p>
              <a:endParaRPr/>
            </a:p>
          </p:txBody>
        </p:sp>
        <p:sp>
          <p:nvSpPr>
            <p:cNvPr id="70" name="object 63"/>
            <p:cNvSpPr/>
            <p:nvPr/>
          </p:nvSpPr>
          <p:spPr>
            <a:xfrm>
              <a:off x="9767698" y="5042432"/>
              <a:ext cx="821690" cy="605155"/>
            </a:xfrm>
            <a:custGeom>
              <a:avLst/>
              <a:gdLst/>
              <a:ahLst/>
              <a:cxnLst/>
              <a:rect l="l" t="t" r="r" b="b"/>
              <a:pathLst>
                <a:path w="821690" h="605154">
                  <a:moveTo>
                    <a:pt x="0" y="504444"/>
                  </a:moveTo>
                  <a:lnTo>
                    <a:pt x="0" y="100584"/>
                  </a:lnTo>
                  <a:lnTo>
                    <a:pt x="7786" y="61079"/>
                  </a:lnTo>
                  <a:lnTo>
                    <a:pt x="29146" y="29146"/>
                  </a:lnTo>
                  <a:lnTo>
                    <a:pt x="61079" y="7786"/>
                  </a:lnTo>
                  <a:lnTo>
                    <a:pt x="100583" y="0"/>
                  </a:lnTo>
                  <a:lnTo>
                    <a:pt x="720852" y="0"/>
                  </a:lnTo>
                  <a:lnTo>
                    <a:pt x="760356" y="7786"/>
                  </a:lnTo>
                  <a:lnTo>
                    <a:pt x="792289" y="29146"/>
                  </a:lnTo>
                  <a:lnTo>
                    <a:pt x="813649" y="61079"/>
                  </a:lnTo>
                  <a:lnTo>
                    <a:pt x="821435" y="100584"/>
                  </a:lnTo>
                  <a:lnTo>
                    <a:pt x="821435" y="504444"/>
                  </a:lnTo>
                  <a:lnTo>
                    <a:pt x="813649" y="543306"/>
                  </a:lnTo>
                  <a:lnTo>
                    <a:pt x="792289" y="575309"/>
                  </a:lnTo>
                  <a:lnTo>
                    <a:pt x="760356" y="597026"/>
                  </a:lnTo>
                  <a:lnTo>
                    <a:pt x="720852"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71" name="object 64"/>
            <p:cNvSpPr txBox="1"/>
            <p:nvPr/>
          </p:nvSpPr>
          <p:spPr>
            <a:xfrm>
              <a:off x="9788467" y="5074896"/>
              <a:ext cx="781050" cy="246221"/>
            </a:xfrm>
            <a:prstGeom prst="rect">
              <a:avLst/>
            </a:prstGeom>
          </p:spPr>
          <p:txBody>
            <a:bodyPr vert="horz" wrap="square" lIns="0" tIns="0" rIns="0" bIns="0" rtlCol="0">
              <a:spAutoFit/>
            </a:bodyPr>
            <a:lstStyle/>
            <a:p>
              <a:pPr algn="ctr">
                <a:lnSpc>
                  <a:spcPct val="100000"/>
                </a:lnSpc>
              </a:pPr>
              <a:r>
                <a:rPr sz="800" spc="40" dirty="0">
                  <a:solidFill>
                    <a:srgbClr val="460A67"/>
                  </a:solidFill>
                  <a:cs typeface="Times New Roman"/>
                </a:rPr>
                <a:t>PPP</a:t>
              </a:r>
              <a:r>
                <a:rPr sz="800" spc="-65" dirty="0">
                  <a:solidFill>
                    <a:srgbClr val="460A67"/>
                  </a:solidFill>
                  <a:cs typeface="Times New Roman"/>
                </a:rPr>
                <a:t> </a:t>
              </a:r>
              <a:r>
                <a:rPr sz="800" spc="130" dirty="0">
                  <a:solidFill>
                    <a:srgbClr val="460A67"/>
                  </a:solidFill>
                  <a:cs typeface="Times New Roman"/>
                </a:rPr>
                <a:t>/</a:t>
              </a:r>
              <a:endParaRPr sz="800">
                <a:cs typeface="Times New Roman"/>
              </a:endParaRPr>
            </a:p>
            <a:p>
              <a:pPr algn="ctr">
                <a:lnSpc>
                  <a:spcPct val="100000"/>
                </a:lnSpc>
              </a:pPr>
              <a:r>
                <a:rPr sz="800" spc="55" dirty="0">
                  <a:solidFill>
                    <a:srgbClr val="460A67"/>
                  </a:solidFill>
                  <a:cs typeface="Times New Roman"/>
                </a:rPr>
                <a:t>funding</a:t>
              </a:r>
              <a:r>
                <a:rPr sz="800" spc="-50" dirty="0">
                  <a:solidFill>
                    <a:srgbClr val="460A67"/>
                  </a:solidFill>
                  <a:cs typeface="Times New Roman"/>
                </a:rPr>
                <a:t> </a:t>
              </a:r>
              <a:r>
                <a:rPr sz="800" spc="80" dirty="0">
                  <a:solidFill>
                    <a:srgbClr val="460A67"/>
                  </a:solidFill>
                  <a:cs typeface="Times New Roman"/>
                </a:rPr>
                <a:t>models</a:t>
              </a:r>
              <a:endParaRPr sz="800">
                <a:cs typeface="Times New Roman"/>
              </a:endParaRPr>
            </a:p>
          </p:txBody>
        </p:sp>
        <p:sp>
          <p:nvSpPr>
            <p:cNvPr id="72" name="object 65"/>
            <p:cNvSpPr/>
            <p:nvPr/>
          </p:nvSpPr>
          <p:spPr>
            <a:xfrm>
              <a:off x="10188322" y="5339612"/>
              <a:ext cx="45720" cy="44450"/>
            </a:xfrm>
            <a:custGeom>
              <a:avLst/>
              <a:gdLst/>
              <a:ahLst/>
              <a:cxnLst/>
              <a:rect l="l" t="t" r="r" b="b"/>
              <a:pathLst>
                <a:path w="45720" h="44450">
                  <a:moveTo>
                    <a:pt x="0" y="21336"/>
                  </a:moveTo>
                  <a:lnTo>
                    <a:pt x="1857" y="12858"/>
                  </a:lnTo>
                  <a:lnTo>
                    <a:pt x="6857" y="6096"/>
                  </a:lnTo>
                  <a:lnTo>
                    <a:pt x="14144" y="1619"/>
                  </a:lnTo>
                  <a:lnTo>
                    <a:pt x="22859" y="0"/>
                  </a:lnTo>
                  <a:lnTo>
                    <a:pt x="32218" y="1619"/>
                  </a:lnTo>
                  <a:lnTo>
                    <a:pt x="39433" y="6096"/>
                  </a:lnTo>
                  <a:lnTo>
                    <a:pt x="44076" y="12858"/>
                  </a:lnTo>
                  <a:lnTo>
                    <a:pt x="45719" y="21336"/>
                  </a:lnTo>
                  <a:lnTo>
                    <a:pt x="44076" y="30051"/>
                  </a:lnTo>
                  <a:lnTo>
                    <a:pt x="39433" y="37338"/>
                  </a:lnTo>
                  <a:lnTo>
                    <a:pt x="32218" y="42338"/>
                  </a:lnTo>
                  <a:lnTo>
                    <a:pt x="22859" y="44196"/>
                  </a:lnTo>
                  <a:lnTo>
                    <a:pt x="14144" y="42338"/>
                  </a:lnTo>
                  <a:lnTo>
                    <a:pt x="6858" y="37338"/>
                  </a:lnTo>
                  <a:lnTo>
                    <a:pt x="1857" y="30051"/>
                  </a:lnTo>
                  <a:lnTo>
                    <a:pt x="0" y="21336"/>
                  </a:lnTo>
                  <a:close/>
                </a:path>
              </a:pathLst>
            </a:custGeom>
            <a:solidFill>
              <a:srgbClr val="460A67"/>
            </a:solidFill>
          </p:spPr>
          <p:txBody>
            <a:bodyPr wrap="square" lIns="0" tIns="0" rIns="0" bIns="0" rtlCol="0"/>
            <a:lstStyle/>
            <a:p>
              <a:endParaRPr/>
            </a:p>
          </p:txBody>
        </p:sp>
        <p:sp>
          <p:nvSpPr>
            <p:cNvPr id="73" name="object 66"/>
            <p:cNvSpPr/>
            <p:nvPr/>
          </p:nvSpPr>
          <p:spPr>
            <a:xfrm>
              <a:off x="10055734" y="5389905"/>
              <a:ext cx="243840" cy="196850"/>
            </a:xfrm>
            <a:custGeom>
              <a:avLst/>
              <a:gdLst/>
              <a:ahLst/>
              <a:cxnLst/>
              <a:rect l="l" t="t" r="r" b="b"/>
              <a:pathLst>
                <a:path w="243840" h="196850">
                  <a:moveTo>
                    <a:pt x="0" y="59435"/>
                  </a:moveTo>
                  <a:lnTo>
                    <a:pt x="0" y="53339"/>
                  </a:lnTo>
                  <a:lnTo>
                    <a:pt x="6096" y="50291"/>
                  </a:lnTo>
                  <a:lnTo>
                    <a:pt x="39624" y="13715"/>
                  </a:lnTo>
                  <a:lnTo>
                    <a:pt x="117348" y="0"/>
                  </a:lnTo>
                  <a:lnTo>
                    <a:pt x="118872" y="3047"/>
                  </a:lnTo>
                  <a:lnTo>
                    <a:pt x="124968" y="3047"/>
                  </a:lnTo>
                  <a:lnTo>
                    <a:pt x="128016" y="0"/>
                  </a:lnTo>
                  <a:lnTo>
                    <a:pt x="176784" y="0"/>
                  </a:lnTo>
                  <a:lnTo>
                    <a:pt x="239268" y="50291"/>
                  </a:lnTo>
                  <a:lnTo>
                    <a:pt x="243840" y="53339"/>
                  </a:lnTo>
                  <a:lnTo>
                    <a:pt x="243840" y="59435"/>
                  </a:lnTo>
                  <a:lnTo>
                    <a:pt x="239268" y="60959"/>
                  </a:lnTo>
                  <a:lnTo>
                    <a:pt x="236220" y="64007"/>
                  </a:lnTo>
                  <a:lnTo>
                    <a:pt x="230124" y="64007"/>
                  </a:lnTo>
                  <a:lnTo>
                    <a:pt x="227076" y="60959"/>
                  </a:lnTo>
                  <a:lnTo>
                    <a:pt x="187452" y="27431"/>
                  </a:lnTo>
                  <a:lnTo>
                    <a:pt x="181356" y="27431"/>
                  </a:lnTo>
                  <a:lnTo>
                    <a:pt x="181356" y="192023"/>
                  </a:lnTo>
                  <a:lnTo>
                    <a:pt x="176784" y="196595"/>
                  </a:lnTo>
                  <a:lnTo>
                    <a:pt x="164592" y="196595"/>
                  </a:lnTo>
                  <a:lnTo>
                    <a:pt x="158496" y="192023"/>
                  </a:lnTo>
                  <a:lnTo>
                    <a:pt x="158496" y="83819"/>
                  </a:lnTo>
                  <a:lnTo>
                    <a:pt x="153924" y="83819"/>
                  </a:lnTo>
                  <a:lnTo>
                    <a:pt x="153924" y="192023"/>
                  </a:lnTo>
                  <a:lnTo>
                    <a:pt x="147828" y="196595"/>
                  </a:lnTo>
                  <a:lnTo>
                    <a:pt x="134112" y="196595"/>
                  </a:lnTo>
                  <a:lnTo>
                    <a:pt x="128016" y="192023"/>
                  </a:lnTo>
                  <a:lnTo>
                    <a:pt x="128016" y="27431"/>
                  </a:lnTo>
                  <a:lnTo>
                    <a:pt x="117348" y="27431"/>
                  </a:lnTo>
                  <a:lnTo>
                    <a:pt x="117348" y="192023"/>
                  </a:lnTo>
                  <a:lnTo>
                    <a:pt x="111252" y="196595"/>
                  </a:lnTo>
                  <a:lnTo>
                    <a:pt x="99060" y="196595"/>
                  </a:lnTo>
                  <a:lnTo>
                    <a:pt x="94488" y="192023"/>
                  </a:lnTo>
                  <a:lnTo>
                    <a:pt x="94488" y="83819"/>
                  </a:lnTo>
                  <a:lnTo>
                    <a:pt x="88392" y="83819"/>
                  </a:lnTo>
                  <a:lnTo>
                    <a:pt x="88392" y="192023"/>
                  </a:lnTo>
                  <a:lnTo>
                    <a:pt x="82296" y="196595"/>
                  </a:lnTo>
                  <a:lnTo>
                    <a:pt x="68580" y="196595"/>
                  </a:lnTo>
                  <a:lnTo>
                    <a:pt x="62484" y="192023"/>
                  </a:lnTo>
                  <a:lnTo>
                    <a:pt x="62484" y="27431"/>
                  </a:lnTo>
                  <a:lnTo>
                    <a:pt x="56387" y="27431"/>
                  </a:lnTo>
                  <a:lnTo>
                    <a:pt x="16763" y="60959"/>
                  </a:lnTo>
                  <a:lnTo>
                    <a:pt x="15240" y="64007"/>
                  </a:lnTo>
                  <a:lnTo>
                    <a:pt x="9144" y="64007"/>
                  </a:lnTo>
                  <a:lnTo>
                    <a:pt x="6096" y="60959"/>
                  </a:lnTo>
                  <a:lnTo>
                    <a:pt x="0" y="59435"/>
                  </a:lnTo>
                  <a:close/>
                </a:path>
              </a:pathLst>
            </a:custGeom>
            <a:solidFill>
              <a:srgbClr val="460A67"/>
            </a:solidFill>
          </p:spPr>
          <p:txBody>
            <a:bodyPr wrap="square" lIns="0" tIns="0" rIns="0" bIns="0" rtlCol="0"/>
            <a:lstStyle/>
            <a:p>
              <a:endParaRPr/>
            </a:p>
          </p:txBody>
        </p:sp>
        <p:sp>
          <p:nvSpPr>
            <p:cNvPr id="74" name="object 67"/>
            <p:cNvSpPr/>
            <p:nvPr/>
          </p:nvSpPr>
          <p:spPr>
            <a:xfrm>
              <a:off x="10122790" y="5339612"/>
              <a:ext cx="44450" cy="44450"/>
            </a:xfrm>
            <a:custGeom>
              <a:avLst/>
              <a:gdLst/>
              <a:ahLst/>
              <a:cxnLst/>
              <a:rect l="l" t="t" r="r" b="b"/>
              <a:pathLst>
                <a:path w="44450" h="44450">
                  <a:moveTo>
                    <a:pt x="0" y="21336"/>
                  </a:moveTo>
                  <a:lnTo>
                    <a:pt x="1619" y="12858"/>
                  </a:lnTo>
                  <a:lnTo>
                    <a:pt x="6095" y="6096"/>
                  </a:lnTo>
                  <a:lnTo>
                    <a:pt x="12858" y="1619"/>
                  </a:lnTo>
                  <a:lnTo>
                    <a:pt x="21336" y="0"/>
                  </a:lnTo>
                  <a:lnTo>
                    <a:pt x="30051" y="1619"/>
                  </a:lnTo>
                  <a:lnTo>
                    <a:pt x="37337" y="6096"/>
                  </a:lnTo>
                  <a:lnTo>
                    <a:pt x="42338" y="12858"/>
                  </a:lnTo>
                  <a:lnTo>
                    <a:pt x="44195" y="21336"/>
                  </a:lnTo>
                  <a:lnTo>
                    <a:pt x="42338" y="30051"/>
                  </a:lnTo>
                  <a:lnTo>
                    <a:pt x="37338" y="37338"/>
                  </a:lnTo>
                  <a:lnTo>
                    <a:pt x="30051" y="42338"/>
                  </a:lnTo>
                  <a:lnTo>
                    <a:pt x="21336" y="44196"/>
                  </a:lnTo>
                  <a:lnTo>
                    <a:pt x="12858" y="42338"/>
                  </a:lnTo>
                  <a:lnTo>
                    <a:pt x="6095" y="37338"/>
                  </a:lnTo>
                  <a:lnTo>
                    <a:pt x="1619" y="30051"/>
                  </a:lnTo>
                  <a:lnTo>
                    <a:pt x="0" y="21336"/>
                  </a:lnTo>
                  <a:close/>
                </a:path>
              </a:pathLst>
            </a:custGeom>
            <a:solidFill>
              <a:srgbClr val="460A67"/>
            </a:solidFill>
          </p:spPr>
          <p:txBody>
            <a:bodyPr wrap="square" lIns="0" tIns="0" rIns="0" bIns="0" rtlCol="0"/>
            <a:lstStyle/>
            <a:p>
              <a:endParaRPr/>
            </a:p>
          </p:txBody>
        </p:sp>
        <p:sp>
          <p:nvSpPr>
            <p:cNvPr id="75" name="object 68"/>
            <p:cNvSpPr/>
            <p:nvPr/>
          </p:nvSpPr>
          <p:spPr>
            <a:xfrm>
              <a:off x="1833754" y="3890288"/>
              <a:ext cx="8910955" cy="822960"/>
            </a:xfrm>
            <a:custGeom>
              <a:avLst/>
              <a:gdLst/>
              <a:ahLst/>
              <a:cxnLst/>
              <a:rect l="l" t="t" r="r" b="b"/>
              <a:pathLst>
                <a:path w="8910955" h="822960">
                  <a:moveTo>
                    <a:pt x="8910827" y="0"/>
                  </a:moveTo>
                  <a:lnTo>
                    <a:pt x="8910827" y="822959"/>
                  </a:lnTo>
                  <a:lnTo>
                    <a:pt x="0" y="822959"/>
                  </a:lnTo>
                  <a:lnTo>
                    <a:pt x="0" y="0"/>
                  </a:lnTo>
                  <a:lnTo>
                    <a:pt x="8910827" y="0"/>
                  </a:lnTo>
                  <a:close/>
                </a:path>
              </a:pathLst>
            </a:custGeom>
            <a:solidFill>
              <a:srgbClr val="483697"/>
            </a:solidFill>
          </p:spPr>
          <p:txBody>
            <a:bodyPr wrap="square" lIns="0" tIns="0" rIns="0" bIns="0" rtlCol="0"/>
            <a:lstStyle/>
            <a:p>
              <a:endParaRPr/>
            </a:p>
          </p:txBody>
        </p:sp>
        <p:sp>
          <p:nvSpPr>
            <p:cNvPr id="76" name="object 69"/>
            <p:cNvSpPr/>
            <p:nvPr/>
          </p:nvSpPr>
          <p:spPr>
            <a:xfrm>
              <a:off x="10744710" y="3884193"/>
              <a:ext cx="0" cy="835660"/>
            </a:xfrm>
            <a:custGeom>
              <a:avLst/>
              <a:gdLst/>
              <a:ahLst/>
              <a:cxnLst/>
              <a:rect l="l" t="t" r="r" b="b"/>
              <a:pathLst>
                <a:path h="835660">
                  <a:moveTo>
                    <a:pt x="0" y="0"/>
                  </a:moveTo>
                  <a:lnTo>
                    <a:pt x="0" y="835152"/>
                  </a:lnTo>
                </a:path>
              </a:pathLst>
            </a:custGeom>
            <a:ln w="11430">
              <a:solidFill>
                <a:srgbClr val="483697"/>
              </a:solidFill>
            </a:ln>
          </p:spPr>
          <p:txBody>
            <a:bodyPr wrap="square" lIns="0" tIns="0" rIns="0" bIns="0" rtlCol="0"/>
            <a:lstStyle/>
            <a:p>
              <a:endParaRPr/>
            </a:p>
          </p:txBody>
        </p:sp>
        <p:sp>
          <p:nvSpPr>
            <p:cNvPr id="77" name="object 70"/>
            <p:cNvSpPr/>
            <p:nvPr/>
          </p:nvSpPr>
          <p:spPr>
            <a:xfrm>
              <a:off x="1840104" y="3884193"/>
              <a:ext cx="8898890" cy="12700"/>
            </a:xfrm>
            <a:custGeom>
              <a:avLst/>
              <a:gdLst/>
              <a:ahLst/>
              <a:cxnLst/>
              <a:rect l="l" t="t" r="r" b="b"/>
              <a:pathLst>
                <a:path w="8898890" h="12700">
                  <a:moveTo>
                    <a:pt x="0" y="12192"/>
                  </a:moveTo>
                  <a:lnTo>
                    <a:pt x="8898890" y="12192"/>
                  </a:lnTo>
                  <a:lnTo>
                    <a:pt x="8898890" y="0"/>
                  </a:lnTo>
                  <a:lnTo>
                    <a:pt x="0" y="0"/>
                  </a:lnTo>
                  <a:lnTo>
                    <a:pt x="0" y="12192"/>
                  </a:lnTo>
                  <a:close/>
                </a:path>
              </a:pathLst>
            </a:custGeom>
            <a:solidFill>
              <a:srgbClr val="483697"/>
            </a:solidFill>
          </p:spPr>
          <p:txBody>
            <a:bodyPr wrap="square" lIns="0" tIns="0" rIns="0" bIns="0" rtlCol="0"/>
            <a:lstStyle/>
            <a:p>
              <a:endParaRPr/>
            </a:p>
          </p:txBody>
        </p:sp>
        <p:sp>
          <p:nvSpPr>
            <p:cNvPr id="78" name="object 71"/>
            <p:cNvSpPr/>
            <p:nvPr/>
          </p:nvSpPr>
          <p:spPr>
            <a:xfrm>
              <a:off x="1833754" y="3887241"/>
              <a:ext cx="6350" cy="0"/>
            </a:xfrm>
            <a:custGeom>
              <a:avLst/>
              <a:gdLst/>
              <a:ahLst/>
              <a:cxnLst/>
              <a:rect l="l" t="t" r="r" b="b"/>
              <a:pathLst>
                <a:path w="6350">
                  <a:moveTo>
                    <a:pt x="0" y="0"/>
                  </a:moveTo>
                  <a:lnTo>
                    <a:pt x="6350" y="0"/>
                  </a:lnTo>
                </a:path>
              </a:pathLst>
            </a:custGeom>
            <a:ln w="6095">
              <a:solidFill>
                <a:srgbClr val="483697"/>
              </a:solidFill>
            </a:ln>
          </p:spPr>
          <p:txBody>
            <a:bodyPr wrap="square" lIns="0" tIns="0" rIns="0" bIns="0" rtlCol="0"/>
            <a:lstStyle/>
            <a:p>
              <a:endParaRPr/>
            </a:p>
          </p:txBody>
        </p:sp>
        <p:sp>
          <p:nvSpPr>
            <p:cNvPr id="79" name="object 72"/>
            <p:cNvSpPr/>
            <p:nvPr/>
          </p:nvSpPr>
          <p:spPr>
            <a:xfrm>
              <a:off x="1830579" y="3884193"/>
              <a:ext cx="0" cy="835660"/>
            </a:xfrm>
            <a:custGeom>
              <a:avLst/>
              <a:gdLst/>
              <a:ahLst/>
              <a:cxnLst/>
              <a:rect l="l" t="t" r="r" b="b"/>
              <a:pathLst>
                <a:path h="835660">
                  <a:moveTo>
                    <a:pt x="0" y="0"/>
                  </a:moveTo>
                  <a:lnTo>
                    <a:pt x="0" y="835152"/>
                  </a:lnTo>
                </a:path>
              </a:pathLst>
            </a:custGeom>
            <a:ln w="6350">
              <a:solidFill>
                <a:srgbClr val="483697"/>
              </a:solidFill>
            </a:ln>
          </p:spPr>
          <p:txBody>
            <a:bodyPr wrap="square" lIns="0" tIns="0" rIns="0" bIns="0" rtlCol="0"/>
            <a:lstStyle/>
            <a:p>
              <a:endParaRPr/>
            </a:p>
          </p:txBody>
        </p:sp>
        <p:sp>
          <p:nvSpPr>
            <p:cNvPr id="80" name="object 73"/>
            <p:cNvSpPr/>
            <p:nvPr/>
          </p:nvSpPr>
          <p:spPr>
            <a:xfrm>
              <a:off x="1840104" y="4705629"/>
              <a:ext cx="8898890" cy="13970"/>
            </a:xfrm>
            <a:custGeom>
              <a:avLst/>
              <a:gdLst/>
              <a:ahLst/>
              <a:cxnLst/>
              <a:rect l="l" t="t" r="r" b="b"/>
              <a:pathLst>
                <a:path w="8898890" h="13970">
                  <a:moveTo>
                    <a:pt x="0" y="13716"/>
                  </a:moveTo>
                  <a:lnTo>
                    <a:pt x="8898890" y="13716"/>
                  </a:lnTo>
                  <a:lnTo>
                    <a:pt x="8898890" y="0"/>
                  </a:lnTo>
                  <a:lnTo>
                    <a:pt x="0" y="0"/>
                  </a:lnTo>
                  <a:lnTo>
                    <a:pt x="0" y="13716"/>
                  </a:lnTo>
                  <a:close/>
                </a:path>
              </a:pathLst>
            </a:custGeom>
            <a:solidFill>
              <a:srgbClr val="483697"/>
            </a:solidFill>
          </p:spPr>
          <p:txBody>
            <a:bodyPr wrap="square" lIns="0" tIns="0" rIns="0" bIns="0" rtlCol="0"/>
            <a:lstStyle/>
            <a:p>
              <a:endParaRPr/>
            </a:p>
          </p:txBody>
        </p:sp>
        <p:sp>
          <p:nvSpPr>
            <p:cNvPr id="81" name="object 74"/>
            <p:cNvSpPr/>
            <p:nvPr/>
          </p:nvSpPr>
          <p:spPr>
            <a:xfrm>
              <a:off x="1836929" y="3890288"/>
              <a:ext cx="0" cy="829310"/>
            </a:xfrm>
            <a:custGeom>
              <a:avLst/>
              <a:gdLst/>
              <a:ahLst/>
              <a:cxnLst/>
              <a:rect l="l" t="t" r="r" b="b"/>
              <a:pathLst>
                <a:path h="829310">
                  <a:moveTo>
                    <a:pt x="0" y="0"/>
                  </a:moveTo>
                  <a:lnTo>
                    <a:pt x="0" y="829056"/>
                  </a:lnTo>
                </a:path>
              </a:pathLst>
            </a:custGeom>
            <a:ln w="6350">
              <a:solidFill>
                <a:srgbClr val="483697"/>
              </a:solidFill>
            </a:ln>
          </p:spPr>
          <p:txBody>
            <a:bodyPr wrap="square" lIns="0" tIns="0" rIns="0" bIns="0" rtlCol="0"/>
            <a:lstStyle/>
            <a:p>
              <a:endParaRPr/>
            </a:p>
          </p:txBody>
        </p:sp>
        <p:sp>
          <p:nvSpPr>
            <p:cNvPr id="82" name="object 75"/>
            <p:cNvSpPr/>
            <p:nvPr/>
          </p:nvSpPr>
          <p:spPr>
            <a:xfrm>
              <a:off x="2393062" y="4188993"/>
              <a:ext cx="1757680" cy="457200"/>
            </a:xfrm>
            <a:custGeom>
              <a:avLst/>
              <a:gdLst/>
              <a:ahLst/>
              <a:cxnLst/>
              <a:rect l="l" t="t" r="r" b="b"/>
              <a:pathLst>
                <a:path w="1757680" h="457200">
                  <a:moveTo>
                    <a:pt x="0" y="397764"/>
                  </a:moveTo>
                  <a:lnTo>
                    <a:pt x="0" y="59436"/>
                  </a:lnTo>
                  <a:lnTo>
                    <a:pt x="17716" y="17716"/>
                  </a:lnTo>
                  <a:lnTo>
                    <a:pt x="59436" y="0"/>
                  </a:lnTo>
                  <a:lnTo>
                    <a:pt x="1697736" y="0"/>
                  </a:lnTo>
                  <a:lnTo>
                    <a:pt x="1721167" y="4786"/>
                  </a:lnTo>
                  <a:lnTo>
                    <a:pt x="1740026" y="17716"/>
                  </a:lnTo>
                  <a:lnTo>
                    <a:pt x="1752599" y="36647"/>
                  </a:lnTo>
                  <a:lnTo>
                    <a:pt x="1757171" y="59435"/>
                  </a:lnTo>
                  <a:lnTo>
                    <a:pt x="1757171" y="397764"/>
                  </a:lnTo>
                  <a:lnTo>
                    <a:pt x="1740026" y="440054"/>
                  </a:lnTo>
                  <a:lnTo>
                    <a:pt x="1697736" y="457199"/>
                  </a:lnTo>
                  <a:lnTo>
                    <a:pt x="59436" y="457199"/>
                  </a:lnTo>
                  <a:lnTo>
                    <a:pt x="36647" y="452627"/>
                  </a:lnTo>
                  <a:lnTo>
                    <a:pt x="17716" y="440054"/>
                  </a:lnTo>
                  <a:lnTo>
                    <a:pt x="4786" y="421195"/>
                  </a:lnTo>
                  <a:lnTo>
                    <a:pt x="0" y="397764"/>
                  </a:lnTo>
                  <a:close/>
                </a:path>
              </a:pathLst>
            </a:custGeom>
            <a:solidFill>
              <a:srgbClr val="FFFFFF"/>
            </a:solidFill>
          </p:spPr>
          <p:txBody>
            <a:bodyPr wrap="square" lIns="0" tIns="0" rIns="0" bIns="0" rtlCol="0"/>
            <a:lstStyle/>
            <a:p>
              <a:endParaRPr/>
            </a:p>
          </p:txBody>
        </p:sp>
        <p:sp>
          <p:nvSpPr>
            <p:cNvPr id="83" name="object 76"/>
            <p:cNvSpPr txBox="1"/>
            <p:nvPr/>
          </p:nvSpPr>
          <p:spPr>
            <a:xfrm>
              <a:off x="2977750" y="4290094"/>
              <a:ext cx="840105" cy="246221"/>
            </a:xfrm>
            <a:prstGeom prst="rect">
              <a:avLst/>
            </a:prstGeom>
          </p:spPr>
          <p:txBody>
            <a:bodyPr vert="horz" wrap="square" lIns="0" tIns="0" rIns="0" bIns="0" rtlCol="0">
              <a:spAutoFit/>
            </a:bodyPr>
            <a:lstStyle/>
            <a:p>
              <a:pPr marL="90170" marR="5080" indent="-78105">
                <a:lnSpc>
                  <a:spcPct val="100000"/>
                </a:lnSpc>
              </a:pPr>
              <a:r>
                <a:rPr sz="800" spc="30" dirty="0">
                  <a:solidFill>
                    <a:srgbClr val="483697"/>
                  </a:solidFill>
                  <a:cs typeface="Times New Roman"/>
                </a:rPr>
                <a:t>City</a:t>
              </a:r>
              <a:r>
                <a:rPr sz="800" spc="-20" dirty="0">
                  <a:solidFill>
                    <a:srgbClr val="483697"/>
                  </a:solidFill>
                  <a:cs typeface="Times New Roman"/>
                </a:rPr>
                <a:t> </a:t>
              </a:r>
              <a:r>
                <a:rPr sz="800" spc="55" dirty="0">
                  <a:solidFill>
                    <a:srgbClr val="483697"/>
                  </a:solidFill>
                  <a:cs typeface="Times New Roman"/>
                </a:rPr>
                <a:t>connectivity  </a:t>
              </a:r>
              <a:r>
                <a:rPr sz="800" spc="60" dirty="0">
                  <a:solidFill>
                    <a:srgbClr val="483697"/>
                  </a:solidFill>
                  <a:cs typeface="Times New Roman"/>
                </a:rPr>
                <a:t>infrastructure</a:t>
              </a:r>
              <a:endParaRPr sz="800">
                <a:cs typeface="Times New Roman"/>
              </a:endParaRPr>
            </a:p>
          </p:txBody>
        </p:sp>
        <p:sp>
          <p:nvSpPr>
            <p:cNvPr id="84" name="object 77"/>
            <p:cNvSpPr/>
            <p:nvPr/>
          </p:nvSpPr>
          <p:spPr>
            <a:xfrm>
              <a:off x="2735962" y="4358156"/>
              <a:ext cx="52069" cy="187960"/>
            </a:xfrm>
            <a:custGeom>
              <a:avLst/>
              <a:gdLst/>
              <a:ahLst/>
              <a:cxnLst/>
              <a:rect l="l" t="t" r="r" b="b"/>
              <a:pathLst>
                <a:path w="52069" h="187960">
                  <a:moveTo>
                    <a:pt x="0" y="25908"/>
                  </a:moveTo>
                  <a:lnTo>
                    <a:pt x="1905" y="15430"/>
                  </a:lnTo>
                  <a:lnTo>
                    <a:pt x="7239" y="7239"/>
                  </a:lnTo>
                  <a:lnTo>
                    <a:pt x="15430" y="1905"/>
                  </a:lnTo>
                  <a:lnTo>
                    <a:pt x="25908" y="0"/>
                  </a:lnTo>
                  <a:lnTo>
                    <a:pt x="35099" y="1905"/>
                  </a:lnTo>
                  <a:lnTo>
                    <a:pt x="43434" y="7239"/>
                  </a:lnTo>
                  <a:lnTo>
                    <a:pt x="49482" y="15430"/>
                  </a:lnTo>
                  <a:lnTo>
                    <a:pt x="51816" y="25908"/>
                  </a:lnTo>
                  <a:lnTo>
                    <a:pt x="50458" y="33551"/>
                  </a:lnTo>
                  <a:lnTo>
                    <a:pt x="46672" y="40195"/>
                  </a:lnTo>
                  <a:lnTo>
                    <a:pt x="40886" y="45410"/>
                  </a:lnTo>
                  <a:lnTo>
                    <a:pt x="33528" y="48768"/>
                  </a:lnTo>
                  <a:lnTo>
                    <a:pt x="33528" y="187451"/>
                  </a:lnTo>
                  <a:lnTo>
                    <a:pt x="18288" y="187451"/>
                  </a:lnTo>
                  <a:lnTo>
                    <a:pt x="18288" y="48768"/>
                  </a:lnTo>
                  <a:lnTo>
                    <a:pt x="10929" y="45410"/>
                  </a:lnTo>
                  <a:lnTo>
                    <a:pt x="5143" y="40195"/>
                  </a:lnTo>
                  <a:lnTo>
                    <a:pt x="1357" y="33551"/>
                  </a:lnTo>
                  <a:lnTo>
                    <a:pt x="0" y="25908"/>
                  </a:lnTo>
                  <a:close/>
                </a:path>
                <a:path w="52069" h="187960">
                  <a:moveTo>
                    <a:pt x="33528" y="187451"/>
                  </a:moveTo>
                  <a:lnTo>
                    <a:pt x="33528" y="48768"/>
                  </a:lnTo>
                  <a:lnTo>
                    <a:pt x="45720" y="187451"/>
                  </a:lnTo>
                  <a:lnTo>
                    <a:pt x="33528" y="187451"/>
                  </a:lnTo>
                  <a:close/>
                </a:path>
                <a:path w="52069" h="187960">
                  <a:moveTo>
                    <a:pt x="6096" y="187451"/>
                  </a:moveTo>
                  <a:lnTo>
                    <a:pt x="18288" y="48768"/>
                  </a:lnTo>
                  <a:lnTo>
                    <a:pt x="18288" y="187451"/>
                  </a:lnTo>
                  <a:lnTo>
                    <a:pt x="6096" y="187451"/>
                  </a:lnTo>
                  <a:close/>
                </a:path>
              </a:pathLst>
            </a:custGeom>
            <a:solidFill>
              <a:srgbClr val="483697"/>
            </a:solidFill>
          </p:spPr>
          <p:txBody>
            <a:bodyPr wrap="square" lIns="0" tIns="0" rIns="0" bIns="0" rtlCol="0"/>
            <a:lstStyle/>
            <a:p>
              <a:endParaRPr/>
            </a:p>
          </p:txBody>
        </p:sp>
        <p:sp>
          <p:nvSpPr>
            <p:cNvPr id="85" name="object 78"/>
            <p:cNvSpPr/>
            <p:nvPr/>
          </p:nvSpPr>
          <p:spPr>
            <a:xfrm>
              <a:off x="2629282" y="4289577"/>
              <a:ext cx="55244" cy="187960"/>
            </a:xfrm>
            <a:custGeom>
              <a:avLst/>
              <a:gdLst/>
              <a:ahLst/>
              <a:cxnLst/>
              <a:rect l="l" t="t" r="r" b="b"/>
              <a:pathLst>
                <a:path w="55244" h="187960">
                  <a:moveTo>
                    <a:pt x="0" y="94487"/>
                  </a:moveTo>
                  <a:lnTo>
                    <a:pt x="2762" y="66865"/>
                  </a:lnTo>
                  <a:lnTo>
                    <a:pt x="10667" y="41528"/>
                  </a:lnTo>
                  <a:lnTo>
                    <a:pt x="23145" y="19049"/>
                  </a:lnTo>
                  <a:lnTo>
                    <a:pt x="39623" y="0"/>
                  </a:lnTo>
                  <a:lnTo>
                    <a:pt x="54863" y="13715"/>
                  </a:lnTo>
                  <a:lnTo>
                    <a:pt x="40624" y="29979"/>
                  </a:lnTo>
                  <a:lnTo>
                    <a:pt x="30098" y="48958"/>
                  </a:lnTo>
                  <a:lnTo>
                    <a:pt x="23574" y="70508"/>
                  </a:lnTo>
                  <a:lnTo>
                    <a:pt x="21335" y="94487"/>
                  </a:lnTo>
                  <a:lnTo>
                    <a:pt x="21335" y="164290"/>
                  </a:lnTo>
                  <a:lnTo>
                    <a:pt x="10667" y="144970"/>
                  </a:lnTo>
                  <a:lnTo>
                    <a:pt x="2762" y="120372"/>
                  </a:lnTo>
                  <a:lnTo>
                    <a:pt x="0" y="94487"/>
                  </a:lnTo>
                  <a:close/>
                </a:path>
                <a:path w="55244" h="187960">
                  <a:moveTo>
                    <a:pt x="21335" y="164290"/>
                  </a:moveTo>
                  <a:lnTo>
                    <a:pt x="21335" y="94487"/>
                  </a:lnTo>
                  <a:lnTo>
                    <a:pt x="23574" y="116705"/>
                  </a:lnTo>
                  <a:lnTo>
                    <a:pt x="30098" y="137350"/>
                  </a:lnTo>
                  <a:lnTo>
                    <a:pt x="40624" y="155995"/>
                  </a:lnTo>
                  <a:lnTo>
                    <a:pt x="54863" y="172211"/>
                  </a:lnTo>
                  <a:lnTo>
                    <a:pt x="39623" y="187451"/>
                  </a:lnTo>
                  <a:lnTo>
                    <a:pt x="23145" y="167568"/>
                  </a:lnTo>
                  <a:lnTo>
                    <a:pt x="21335" y="164290"/>
                  </a:lnTo>
                  <a:close/>
                </a:path>
              </a:pathLst>
            </a:custGeom>
            <a:solidFill>
              <a:srgbClr val="483697"/>
            </a:solidFill>
          </p:spPr>
          <p:txBody>
            <a:bodyPr wrap="square" lIns="0" tIns="0" rIns="0" bIns="0" rtlCol="0"/>
            <a:lstStyle/>
            <a:p>
              <a:endParaRPr/>
            </a:p>
          </p:txBody>
        </p:sp>
        <p:sp>
          <p:nvSpPr>
            <p:cNvPr id="86" name="object 79"/>
            <p:cNvSpPr/>
            <p:nvPr/>
          </p:nvSpPr>
          <p:spPr>
            <a:xfrm>
              <a:off x="2681098" y="4326152"/>
              <a:ext cx="40005" cy="114300"/>
            </a:xfrm>
            <a:custGeom>
              <a:avLst/>
              <a:gdLst/>
              <a:ahLst/>
              <a:cxnLst/>
              <a:rect l="l" t="t" r="r" b="b"/>
              <a:pathLst>
                <a:path w="40005" h="114300">
                  <a:moveTo>
                    <a:pt x="0" y="57912"/>
                  </a:moveTo>
                  <a:lnTo>
                    <a:pt x="1666" y="41362"/>
                  </a:lnTo>
                  <a:lnTo>
                    <a:pt x="6476" y="26098"/>
                  </a:lnTo>
                  <a:lnTo>
                    <a:pt x="14144" y="12263"/>
                  </a:lnTo>
                  <a:lnTo>
                    <a:pt x="24383" y="0"/>
                  </a:lnTo>
                  <a:lnTo>
                    <a:pt x="39623" y="15240"/>
                  </a:lnTo>
                  <a:lnTo>
                    <a:pt x="31384" y="24050"/>
                  </a:lnTo>
                  <a:lnTo>
                    <a:pt x="25145" y="34290"/>
                  </a:lnTo>
                  <a:lnTo>
                    <a:pt x="21193" y="45672"/>
                  </a:lnTo>
                  <a:lnTo>
                    <a:pt x="19811" y="57912"/>
                  </a:lnTo>
                  <a:lnTo>
                    <a:pt x="19811" y="108930"/>
                  </a:lnTo>
                  <a:lnTo>
                    <a:pt x="14144" y="102274"/>
                  </a:lnTo>
                  <a:lnTo>
                    <a:pt x="6476" y="88963"/>
                  </a:lnTo>
                  <a:lnTo>
                    <a:pt x="1666" y="74223"/>
                  </a:lnTo>
                  <a:lnTo>
                    <a:pt x="0" y="57912"/>
                  </a:lnTo>
                  <a:close/>
                </a:path>
                <a:path w="40005" h="114300">
                  <a:moveTo>
                    <a:pt x="19811" y="108930"/>
                  </a:moveTo>
                  <a:lnTo>
                    <a:pt x="19811" y="57912"/>
                  </a:lnTo>
                  <a:lnTo>
                    <a:pt x="21193" y="69294"/>
                  </a:lnTo>
                  <a:lnTo>
                    <a:pt x="25145" y="80391"/>
                  </a:lnTo>
                  <a:lnTo>
                    <a:pt x="31384" y="90916"/>
                  </a:lnTo>
                  <a:lnTo>
                    <a:pt x="39623" y="100584"/>
                  </a:lnTo>
                  <a:lnTo>
                    <a:pt x="24383" y="114300"/>
                  </a:lnTo>
                  <a:lnTo>
                    <a:pt x="19811" y="108930"/>
                  </a:lnTo>
                  <a:close/>
                </a:path>
              </a:pathLst>
            </a:custGeom>
            <a:solidFill>
              <a:srgbClr val="483697"/>
            </a:solidFill>
          </p:spPr>
          <p:txBody>
            <a:bodyPr wrap="square" lIns="0" tIns="0" rIns="0" bIns="0" rtlCol="0"/>
            <a:lstStyle/>
            <a:p>
              <a:endParaRPr/>
            </a:p>
          </p:txBody>
        </p:sp>
        <p:sp>
          <p:nvSpPr>
            <p:cNvPr id="87" name="object 80"/>
            <p:cNvSpPr/>
            <p:nvPr/>
          </p:nvSpPr>
          <p:spPr>
            <a:xfrm>
              <a:off x="2838070" y="4289576"/>
              <a:ext cx="55244" cy="187960"/>
            </a:xfrm>
            <a:custGeom>
              <a:avLst/>
              <a:gdLst/>
              <a:ahLst/>
              <a:cxnLst/>
              <a:rect l="l" t="t" r="r" b="b"/>
              <a:pathLst>
                <a:path w="55244" h="187960">
                  <a:moveTo>
                    <a:pt x="0" y="13716"/>
                  </a:moveTo>
                  <a:lnTo>
                    <a:pt x="44195" y="41528"/>
                  </a:lnTo>
                  <a:lnTo>
                    <a:pt x="54863" y="94488"/>
                  </a:lnTo>
                  <a:lnTo>
                    <a:pt x="52101" y="120372"/>
                  </a:lnTo>
                  <a:lnTo>
                    <a:pt x="44195" y="144970"/>
                  </a:lnTo>
                  <a:lnTo>
                    <a:pt x="35051" y="161530"/>
                  </a:lnTo>
                  <a:lnTo>
                    <a:pt x="35051" y="94488"/>
                  </a:lnTo>
                  <a:lnTo>
                    <a:pt x="32789" y="70508"/>
                  </a:lnTo>
                  <a:lnTo>
                    <a:pt x="26098" y="48958"/>
                  </a:lnTo>
                  <a:lnTo>
                    <a:pt x="15120" y="29979"/>
                  </a:lnTo>
                  <a:lnTo>
                    <a:pt x="0" y="13716"/>
                  </a:lnTo>
                  <a:close/>
                </a:path>
                <a:path w="55244" h="187960">
                  <a:moveTo>
                    <a:pt x="0" y="172211"/>
                  </a:moveTo>
                  <a:lnTo>
                    <a:pt x="15120" y="155995"/>
                  </a:lnTo>
                  <a:lnTo>
                    <a:pt x="26098" y="137350"/>
                  </a:lnTo>
                  <a:lnTo>
                    <a:pt x="32789" y="116705"/>
                  </a:lnTo>
                  <a:lnTo>
                    <a:pt x="35051" y="94488"/>
                  </a:lnTo>
                  <a:lnTo>
                    <a:pt x="35051" y="161530"/>
                  </a:lnTo>
                  <a:lnTo>
                    <a:pt x="31718" y="167568"/>
                  </a:lnTo>
                  <a:lnTo>
                    <a:pt x="15239" y="187452"/>
                  </a:lnTo>
                  <a:lnTo>
                    <a:pt x="0" y="172211"/>
                  </a:lnTo>
                  <a:close/>
                </a:path>
              </a:pathLst>
            </a:custGeom>
            <a:solidFill>
              <a:srgbClr val="483697"/>
            </a:solidFill>
          </p:spPr>
          <p:txBody>
            <a:bodyPr wrap="square" lIns="0" tIns="0" rIns="0" bIns="0" rtlCol="0"/>
            <a:lstStyle/>
            <a:p>
              <a:endParaRPr/>
            </a:p>
          </p:txBody>
        </p:sp>
        <p:sp>
          <p:nvSpPr>
            <p:cNvPr id="88" name="object 81"/>
            <p:cNvSpPr/>
            <p:nvPr/>
          </p:nvSpPr>
          <p:spPr>
            <a:xfrm>
              <a:off x="2803018" y="4326152"/>
              <a:ext cx="36830" cy="114300"/>
            </a:xfrm>
            <a:custGeom>
              <a:avLst/>
              <a:gdLst/>
              <a:ahLst/>
              <a:cxnLst/>
              <a:rect l="l" t="t" r="r" b="b"/>
              <a:pathLst>
                <a:path w="36830" h="114300">
                  <a:moveTo>
                    <a:pt x="0" y="15240"/>
                  </a:moveTo>
                  <a:lnTo>
                    <a:pt x="12192" y="0"/>
                  </a:lnTo>
                  <a:lnTo>
                    <a:pt x="22431" y="12263"/>
                  </a:lnTo>
                  <a:lnTo>
                    <a:pt x="30099" y="26098"/>
                  </a:lnTo>
                  <a:lnTo>
                    <a:pt x="34909" y="41362"/>
                  </a:lnTo>
                  <a:lnTo>
                    <a:pt x="36576" y="57912"/>
                  </a:lnTo>
                  <a:lnTo>
                    <a:pt x="34909" y="74223"/>
                  </a:lnTo>
                  <a:lnTo>
                    <a:pt x="30099" y="88963"/>
                  </a:lnTo>
                  <a:lnTo>
                    <a:pt x="22431" y="102274"/>
                  </a:lnTo>
                  <a:lnTo>
                    <a:pt x="16764" y="108930"/>
                  </a:lnTo>
                  <a:lnTo>
                    <a:pt x="16764" y="57912"/>
                  </a:lnTo>
                  <a:lnTo>
                    <a:pt x="15430" y="45672"/>
                  </a:lnTo>
                  <a:lnTo>
                    <a:pt x="11811" y="34290"/>
                  </a:lnTo>
                  <a:lnTo>
                    <a:pt x="6477" y="24050"/>
                  </a:lnTo>
                  <a:lnTo>
                    <a:pt x="0" y="15240"/>
                  </a:lnTo>
                  <a:close/>
                </a:path>
                <a:path w="36830" h="114300">
                  <a:moveTo>
                    <a:pt x="0" y="100584"/>
                  </a:moveTo>
                  <a:lnTo>
                    <a:pt x="6477" y="90916"/>
                  </a:lnTo>
                  <a:lnTo>
                    <a:pt x="11811" y="80391"/>
                  </a:lnTo>
                  <a:lnTo>
                    <a:pt x="15430" y="69294"/>
                  </a:lnTo>
                  <a:lnTo>
                    <a:pt x="16764" y="57912"/>
                  </a:lnTo>
                  <a:lnTo>
                    <a:pt x="16764" y="108930"/>
                  </a:lnTo>
                  <a:lnTo>
                    <a:pt x="12192" y="114300"/>
                  </a:lnTo>
                  <a:lnTo>
                    <a:pt x="0" y="100584"/>
                  </a:lnTo>
                  <a:close/>
                </a:path>
              </a:pathLst>
            </a:custGeom>
            <a:solidFill>
              <a:srgbClr val="483697"/>
            </a:solidFill>
          </p:spPr>
          <p:txBody>
            <a:bodyPr wrap="square" lIns="0" tIns="0" rIns="0" bIns="0" rtlCol="0"/>
            <a:lstStyle/>
            <a:p>
              <a:endParaRPr/>
            </a:p>
          </p:txBody>
        </p:sp>
        <p:sp>
          <p:nvSpPr>
            <p:cNvPr id="89" name="object 82"/>
            <p:cNvSpPr/>
            <p:nvPr/>
          </p:nvSpPr>
          <p:spPr>
            <a:xfrm>
              <a:off x="8426578" y="4188993"/>
              <a:ext cx="1757680" cy="457200"/>
            </a:xfrm>
            <a:custGeom>
              <a:avLst/>
              <a:gdLst/>
              <a:ahLst/>
              <a:cxnLst/>
              <a:rect l="l" t="t" r="r" b="b"/>
              <a:pathLst>
                <a:path w="1757679" h="457200">
                  <a:moveTo>
                    <a:pt x="0" y="397764"/>
                  </a:moveTo>
                  <a:lnTo>
                    <a:pt x="0" y="59436"/>
                  </a:lnTo>
                  <a:lnTo>
                    <a:pt x="17145" y="17716"/>
                  </a:lnTo>
                  <a:lnTo>
                    <a:pt x="59436" y="0"/>
                  </a:lnTo>
                  <a:lnTo>
                    <a:pt x="1697736" y="0"/>
                  </a:lnTo>
                  <a:lnTo>
                    <a:pt x="1720524" y="4786"/>
                  </a:lnTo>
                  <a:lnTo>
                    <a:pt x="1739455" y="17716"/>
                  </a:lnTo>
                  <a:lnTo>
                    <a:pt x="1752385" y="36647"/>
                  </a:lnTo>
                  <a:lnTo>
                    <a:pt x="1757171" y="59435"/>
                  </a:lnTo>
                  <a:lnTo>
                    <a:pt x="1757171" y="397764"/>
                  </a:lnTo>
                  <a:lnTo>
                    <a:pt x="1739455" y="440054"/>
                  </a:lnTo>
                  <a:lnTo>
                    <a:pt x="1697736" y="457199"/>
                  </a:lnTo>
                  <a:lnTo>
                    <a:pt x="59436" y="457199"/>
                  </a:lnTo>
                  <a:lnTo>
                    <a:pt x="36004" y="452627"/>
                  </a:lnTo>
                  <a:lnTo>
                    <a:pt x="17145" y="440054"/>
                  </a:lnTo>
                  <a:lnTo>
                    <a:pt x="4572" y="421195"/>
                  </a:lnTo>
                  <a:lnTo>
                    <a:pt x="0" y="397764"/>
                  </a:lnTo>
                  <a:close/>
                </a:path>
              </a:pathLst>
            </a:custGeom>
            <a:solidFill>
              <a:srgbClr val="FFFFFF"/>
            </a:solidFill>
          </p:spPr>
          <p:txBody>
            <a:bodyPr wrap="square" lIns="0" tIns="0" rIns="0" bIns="0" rtlCol="0"/>
            <a:lstStyle/>
            <a:p>
              <a:endParaRPr/>
            </a:p>
          </p:txBody>
        </p:sp>
        <p:sp>
          <p:nvSpPr>
            <p:cNvPr id="90" name="object 83"/>
            <p:cNvSpPr txBox="1"/>
            <p:nvPr/>
          </p:nvSpPr>
          <p:spPr>
            <a:xfrm>
              <a:off x="9092059" y="4290094"/>
              <a:ext cx="547370" cy="246221"/>
            </a:xfrm>
            <a:prstGeom prst="rect">
              <a:avLst/>
            </a:prstGeom>
          </p:spPr>
          <p:txBody>
            <a:bodyPr vert="horz" wrap="square" lIns="0" tIns="0" rIns="0" bIns="0" rtlCol="0">
              <a:spAutoFit/>
            </a:bodyPr>
            <a:lstStyle/>
            <a:p>
              <a:pPr marL="102235" marR="5080" indent="-90170">
                <a:lnSpc>
                  <a:spcPct val="100000"/>
                </a:lnSpc>
              </a:pPr>
              <a:r>
                <a:rPr sz="800" spc="45" dirty="0">
                  <a:solidFill>
                    <a:srgbClr val="483697"/>
                  </a:solidFill>
                  <a:cs typeface="Times New Roman"/>
                </a:rPr>
                <a:t>Citizens</a:t>
              </a:r>
              <a:r>
                <a:rPr sz="800" spc="-25" dirty="0">
                  <a:solidFill>
                    <a:srgbClr val="483697"/>
                  </a:solidFill>
                  <a:cs typeface="Times New Roman"/>
                </a:rPr>
                <a:t> </a:t>
              </a:r>
              <a:r>
                <a:rPr sz="800" spc="85" dirty="0">
                  <a:solidFill>
                    <a:srgbClr val="483697"/>
                  </a:solidFill>
                  <a:cs typeface="Times New Roman"/>
                </a:rPr>
                <a:t>as  </a:t>
              </a:r>
              <a:r>
                <a:rPr sz="800" spc="75" dirty="0">
                  <a:solidFill>
                    <a:srgbClr val="483697"/>
                  </a:solidFill>
                  <a:cs typeface="Times New Roman"/>
                </a:rPr>
                <a:t>sensors</a:t>
              </a:r>
              <a:endParaRPr sz="800">
                <a:cs typeface="Times New Roman"/>
              </a:endParaRPr>
            </a:p>
          </p:txBody>
        </p:sp>
        <p:sp>
          <p:nvSpPr>
            <p:cNvPr id="91" name="object 84"/>
            <p:cNvSpPr/>
            <p:nvPr/>
          </p:nvSpPr>
          <p:spPr>
            <a:xfrm>
              <a:off x="8831962" y="4278908"/>
              <a:ext cx="50800" cy="48895"/>
            </a:xfrm>
            <a:custGeom>
              <a:avLst/>
              <a:gdLst/>
              <a:ahLst/>
              <a:cxnLst/>
              <a:rect l="l" t="t" r="r" b="b"/>
              <a:pathLst>
                <a:path w="50800" h="48895">
                  <a:moveTo>
                    <a:pt x="0" y="24383"/>
                  </a:moveTo>
                  <a:lnTo>
                    <a:pt x="1881" y="14787"/>
                  </a:lnTo>
                  <a:lnTo>
                    <a:pt x="7048" y="7048"/>
                  </a:lnTo>
                  <a:lnTo>
                    <a:pt x="14787" y="1881"/>
                  </a:lnTo>
                  <a:lnTo>
                    <a:pt x="24383" y="0"/>
                  </a:lnTo>
                  <a:lnTo>
                    <a:pt x="34218" y="1881"/>
                  </a:lnTo>
                  <a:lnTo>
                    <a:pt x="42481" y="7048"/>
                  </a:lnTo>
                  <a:lnTo>
                    <a:pt x="48172" y="14787"/>
                  </a:lnTo>
                  <a:lnTo>
                    <a:pt x="50292" y="24383"/>
                  </a:lnTo>
                  <a:lnTo>
                    <a:pt x="48172" y="33980"/>
                  </a:lnTo>
                  <a:lnTo>
                    <a:pt x="42481" y="41719"/>
                  </a:lnTo>
                  <a:lnTo>
                    <a:pt x="34218" y="46886"/>
                  </a:lnTo>
                  <a:lnTo>
                    <a:pt x="24384" y="48767"/>
                  </a:lnTo>
                  <a:lnTo>
                    <a:pt x="14787" y="46886"/>
                  </a:lnTo>
                  <a:lnTo>
                    <a:pt x="7048" y="41719"/>
                  </a:lnTo>
                  <a:lnTo>
                    <a:pt x="1881" y="33980"/>
                  </a:lnTo>
                  <a:lnTo>
                    <a:pt x="0" y="24383"/>
                  </a:lnTo>
                  <a:close/>
                </a:path>
              </a:pathLst>
            </a:custGeom>
            <a:solidFill>
              <a:srgbClr val="483697"/>
            </a:solidFill>
          </p:spPr>
          <p:txBody>
            <a:bodyPr wrap="square" lIns="0" tIns="0" rIns="0" bIns="0" rtlCol="0"/>
            <a:lstStyle/>
            <a:p>
              <a:endParaRPr/>
            </a:p>
          </p:txBody>
        </p:sp>
        <p:sp>
          <p:nvSpPr>
            <p:cNvPr id="92" name="object 85"/>
            <p:cNvSpPr/>
            <p:nvPr/>
          </p:nvSpPr>
          <p:spPr>
            <a:xfrm>
              <a:off x="8796910" y="4333773"/>
              <a:ext cx="117475" cy="224154"/>
            </a:xfrm>
            <a:custGeom>
              <a:avLst/>
              <a:gdLst/>
              <a:ahLst/>
              <a:cxnLst/>
              <a:rect l="l" t="t" r="r" b="b"/>
              <a:pathLst>
                <a:path w="117475" h="224154">
                  <a:moveTo>
                    <a:pt x="0" y="94488"/>
                  </a:moveTo>
                  <a:lnTo>
                    <a:pt x="0" y="28956"/>
                  </a:lnTo>
                  <a:lnTo>
                    <a:pt x="119" y="24431"/>
                  </a:lnTo>
                  <a:lnTo>
                    <a:pt x="3238" y="14478"/>
                  </a:lnTo>
                  <a:lnTo>
                    <a:pt x="13501" y="4524"/>
                  </a:lnTo>
                  <a:lnTo>
                    <a:pt x="35052" y="0"/>
                  </a:lnTo>
                  <a:lnTo>
                    <a:pt x="47244" y="0"/>
                  </a:lnTo>
                  <a:lnTo>
                    <a:pt x="56388" y="19812"/>
                  </a:lnTo>
                  <a:lnTo>
                    <a:pt x="70104" y="0"/>
                  </a:lnTo>
                  <a:lnTo>
                    <a:pt x="82296" y="0"/>
                  </a:lnTo>
                  <a:lnTo>
                    <a:pt x="87344" y="452"/>
                  </a:lnTo>
                  <a:lnTo>
                    <a:pt x="98679" y="3619"/>
                  </a:lnTo>
                  <a:lnTo>
                    <a:pt x="110585" y="12215"/>
                  </a:lnTo>
                  <a:lnTo>
                    <a:pt x="117348" y="28956"/>
                  </a:lnTo>
                  <a:lnTo>
                    <a:pt x="117348" y="94488"/>
                  </a:lnTo>
                  <a:lnTo>
                    <a:pt x="111252" y="97536"/>
                  </a:lnTo>
                  <a:lnTo>
                    <a:pt x="100584" y="97536"/>
                  </a:lnTo>
                  <a:lnTo>
                    <a:pt x="94488" y="94488"/>
                  </a:lnTo>
                  <a:lnTo>
                    <a:pt x="94488" y="32004"/>
                  </a:lnTo>
                  <a:lnTo>
                    <a:pt x="88392" y="32004"/>
                  </a:lnTo>
                  <a:lnTo>
                    <a:pt x="88392" y="217932"/>
                  </a:lnTo>
                  <a:lnTo>
                    <a:pt x="82296" y="224028"/>
                  </a:lnTo>
                  <a:lnTo>
                    <a:pt x="67056" y="224028"/>
                  </a:lnTo>
                  <a:lnTo>
                    <a:pt x="60960" y="217932"/>
                  </a:lnTo>
                  <a:lnTo>
                    <a:pt x="60960" y="94488"/>
                  </a:lnTo>
                  <a:lnTo>
                    <a:pt x="53340" y="94488"/>
                  </a:lnTo>
                  <a:lnTo>
                    <a:pt x="53340" y="217932"/>
                  </a:lnTo>
                  <a:lnTo>
                    <a:pt x="47244" y="224028"/>
                  </a:lnTo>
                  <a:lnTo>
                    <a:pt x="32004" y="224028"/>
                  </a:lnTo>
                  <a:lnTo>
                    <a:pt x="25908" y="217932"/>
                  </a:lnTo>
                  <a:lnTo>
                    <a:pt x="25908" y="32004"/>
                  </a:lnTo>
                  <a:lnTo>
                    <a:pt x="19812" y="32004"/>
                  </a:lnTo>
                  <a:lnTo>
                    <a:pt x="19812" y="94488"/>
                  </a:lnTo>
                  <a:lnTo>
                    <a:pt x="16764" y="97536"/>
                  </a:lnTo>
                  <a:lnTo>
                    <a:pt x="3048" y="97536"/>
                  </a:lnTo>
                  <a:lnTo>
                    <a:pt x="0" y="94488"/>
                  </a:lnTo>
                  <a:close/>
                </a:path>
              </a:pathLst>
            </a:custGeom>
            <a:solidFill>
              <a:srgbClr val="483697"/>
            </a:solidFill>
          </p:spPr>
          <p:txBody>
            <a:bodyPr wrap="square" lIns="0" tIns="0" rIns="0" bIns="0" rtlCol="0"/>
            <a:lstStyle/>
            <a:p>
              <a:endParaRPr/>
            </a:p>
          </p:txBody>
        </p:sp>
        <p:sp>
          <p:nvSpPr>
            <p:cNvPr id="93" name="object 86"/>
            <p:cNvSpPr/>
            <p:nvPr/>
          </p:nvSpPr>
          <p:spPr>
            <a:xfrm>
              <a:off x="8927974" y="4327676"/>
              <a:ext cx="32384" cy="32384"/>
            </a:xfrm>
            <a:custGeom>
              <a:avLst/>
              <a:gdLst/>
              <a:ahLst/>
              <a:cxnLst/>
              <a:rect l="l" t="t" r="r" b="b"/>
              <a:pathLst>
                <a:path w="32384" h="32385">
                  <a:moveTo>
                    <a:pt x="0" y="24383"/>
                  </a:moveTo>
                  <a:lnTo>
                    <a:pt x="0" y="6095"/>
                  </a:lnTo>
                  <a:lnTo>
                    <a:pt x="7620" y="0"/>
                  </a:lnTo>
                  <a:lnTo>
                    <a:pt x="25908" y="0"/>
                  </a:lnTo>
                  <a:lnTo>
                    <a:pt x="32004" y="6095"/>
                  </a:lnTo>
                  <a:lnTo>
                    <a:pt x="32004" y="24383"/>
                  </a:lnTo>
                  <a:lnTo>
                    <a:pt x="25908" y="32003"/>
                  </a:lnTo>
                  <a:lnTo>
                    <a:pt x="7620" y="32003"/>
                  </a:lnTo>
                  <a:lnTo>
                    <a:pt x="0" y="24383"/>
                  </a:lnTo>
                  <a:close/>
                </a:path>
              </a:pathLst>
            </a:custGeom>
            <a:solidFill>
              <a:srgbClr val="483697"/>
            </a:solidFill>
          </p:spPr>
          <p:txBody>
            <a:bodyPr wrap="square" lIns="0" tIns="0" rIns="0" bIns="0" rtlCol="0"/>
            <a:lstStyle/>
            <a:p>
              <a:endParaRPr/>
            </a:p>
          </p:txBody>
        </p:sp>
        <p:sp>
          <p:nvSpPr>
            <p:cNvPr id="94" name="object 87"/>
            <p:cNvSpPr/>
            <p:nvPr/>
          </p:nvSpPr>
          <p:spPr>
            <a:xfrm>
              <a:off x="8918830" y="4365776"/>
              <a:ext cx="64135" cy="143510"/>
            </a:xfrm>
            <a:custGeom>
              <a:avLst/>
              <a:gdLst/>
              <a:ahLst/>
              <a:cxnLst/>
              <a:rect l="l" t="t" r="r" b="b"/>
              <a:pathLst>
                <a:path w="64134" h="143510">
                  <a:moveTo>
                    <a:pt x="0" y="19812"/>
                  </a:moveTo>
                  <a:lnTo>
                    <a:pt x="0" y="0"/>
                  </a:lnTo>
                  <a:lnTo>
                    <a:pt x="16764" y="0"/>
                  </a:lnTo>
                  <a:lnTo>
                    <a:pt x="22860" y="12192"/>
                  </a:lnTo>
                  <a:lnTo>
                    <a:pt x="32004" y="0"/>
                  </a:lnTo>
                  <a:lnTo>
                    <a:pt x="64008" y="59436"/>
                  </a:lnTo>
                  <a:lnTo>
                    <a:pt x="60960" y="62484"/>
                  </a:lnTo>
                  <a:lnTo>
                    <a:pt x="51816" y="62484"/>
                  </a:lnTo>
                  <a:lnTo>
                    <a:pt x="48768" y="59436"/>
                  </a:lnTo>
                  <a:lnTo>
                    <a:pt x="48768" y="19812"/>
                  </a:lnTo>
                  <a:lnTo>
                    <a:pt x="45720" y="19812"/>
                  </a:lnTo>
                  <a:lnTo>
                    <a:pt x="45720" y="140208"/>
                  </a:lnTo>
                  <a:lnTo>
                    <a:pt x="42672" y="143256"/>
                  </a:lnTo>
                  <a:lnTo>
                    <a:pt x="28956" y="143256"/>
                  </a:lnTo>
                  <a:lnTo>
                    <a:pt x="25908" y="140208"/>
                  </a:lnTo>
                  <a:lnTo>
                    <a:pt x="25908" y="59436"/>
                  </a:lnTo>
                  <a:lnTo>
                    <a:pt x="22860" y="59436"/>
                  </a:lnTo>
                  <a:lnTo>
                    <a:pt x="22860" y="140208"/>
                  </a:lnTo>
                  <a:lnTo>
                    <a:pt x="16764" y="143256"/>
                  </a:lnTo>
                  <a:lnTo>
                    <a:pt x="6096" y="143256"/>
                  </a:lnTo>
                  <a:lnTo>
                    <a:pt x="3048" y="140208"/>
                  </a:lnTo>
                  <a:lnTo>
                    <a:pt x="3048" y="19812"/>
                  </a:lnTo>
                  <a:lnTo>
                    <a:pt x="0" y="19812"/>
                  </a:lnTo>
                  <a:close/>
                </a:path>
              </a:pathLst>
            </a:custGeom>
            <a:solidFill>
              <a:srgbClr val="483697"/>
            </a:solidFill>
          </p:spPr>
          <p:txBody>
            <a:bodyPr wrap="square" lIns="0" tIns="0" rIns="0" bIns="0" rtlCol="0"/>
            <a:lstStyle/>
            <a:p>
              <a:endParaRPr/>
            </a:p>
          </p:txBody>
        </p:sp>
        <p:sp>
          <p:nvSpPr>
            <p:cNvPr id="95" name="object 88"/>
            <p:cNvSpPr/>
            <p:nvPr/>
          </p:nvSpPr>
          <p:spPr>
            <a:xfrm>
              <a:off x="8751190" y="4324629"/>
              <a:ext cx="30480" cy="35560"/>
            </a:xfrm>
            <a:custGeom>
              <a:avLst/>
              <a:gdLst/>
              <a:ahLst/>
              <a:cxnLst/>
              <a:rect l="l" t="t" r="r" b="b"/>
              <a:pathLst>
                <a:path w="30479" h="35560">
                  <a:moveTo>
                    <a:pt x="0" y="27431"/>
                  </a:moveTo>
                  <a:lnTo>
                    <a:pt x="0" y="7619"/>
                  </a:lnTo>
                  <a:lnTo>
                    <a:pt x="6095" y="0"/>
                  </a:lnTo>
                  <a:lnTo>
                    <a:pt x="22859" y="0"/>
                  </a:lnTo>
                  <a:lnTo>
                    <a:pt x="30480" y="7619"/>
                  </a:lnTo>
                  <a:lnTo>
                    <a:pt x="30480" y="27431"/>
                  </a:lnTo>
                  <a:lnTo>
                    <a:pt x="22859" y="35051"/>
                  </a:lnTo>
                  <a:lnTo>
                    <a:pt x="6096" y="35051"/>
                  </a:lnTo>
                  <a:lnTo>
                    <a:pt x="0" y="27431"/>
                  </a:lnTo>
                  <a:close/>
                </a:path>
              </a:pathLst>
            </a:custGeom>
            <a:solidFill>
              <a:srgbClr val="483697"/>
            </a:solidFill>
          </p:spPr>
          <p:txBody>
            <a:bodyPr wrap="square" lIns="0" tIns="0" rIns="0" bIns="0" rtlCol="0"/>
            <a:lstStyle/>
            <a:p>
              <a:endParaRPr/>
            </a:p>
          </p:txBody>
        </p:sp>
        <p:sp>
          <p:nvSpPr>
            <p:cNvPr id="96" name="object 89"/>
            <p:cNvSpPr/>
            <p:nvPr/>
          </p:nvSpPr>
          <p:spPr>
            <a:xfrm>
              <a:off x="8728330" y="4361204"/>
              <a:ext cx="62865" cy="147955"/>
            </a:xfrm>
            <a:custGeom>
              <a:avLst/>
              <a:gdLst/>
              <a:ahLst/>
              <a:cxnLst/>
              <a:rect l="l" t="t" r="r" b="b"/>
              <a:pathLst>
                <a:path w="62865" h="147954">
                  <a:moveTo>
                    <a:pt x="0" y="64008"/>
                  </a:moveTo>
                  <a:lnTo>
                    <a:pt x="0" y="19812"/>
                  </a:lnTo>
                  <a:lnTo>
                    <a:pt x="30479" y="0"/>
                  </a:lnTo>
                  <a:lnTo>
                    <a:pt x="39623" y="13716"/>
                  </a:lnTo>
                  <a:lnTo>
                    <a:pt x="45719" y="0"/>
                  </a:lnTo>
                  <a:lnTo>
                    <a:pt x="59435" y="0"/>
                  </a:lnTo>
                  <a:lnTo>
                    <a:pt x="62483" y="3047"/>
                  </a:lnTo>
                  <a:lnTo>
                    <a:pt x="62483" y="22859"/>
                  </a:lnTo>
                  <a:lnTo>
                    <a:pt x="59435" y="22859"/>
                  </a:lnTo>
                  <a:lnTo>
                    <a:pt x="59435" y="144779"/>
                  </a:lnTo>
                  <a:lnTo>
                    <a:pt x="56387" y="147828"/>
                  </a:lnTo>
                  <a:lnTo>
                    <a:pt x="45719" y="147828"/>
                  </a:lnTo>
                  <a:lnTo>
                    <a:pt x="39623" y="144779"/>
                  </a:lnTo>
                  <a:lnTo>
                    <a:pt x="39623" y="64008"/>
                  </a:lnTo>
                  <a:lnTo>
                    <a:pt x="36575" y="64008"/>
                  </a:lnTo>
                  <a:lnTo>
                    <a:pt x="36575" y="144779"/>
                  </a:lnTo>
                  <a:lnTo>
                    <a:pt x="33527" y="147828"/>
                  </a:lnTo>
                  <a:lnTo>
                    <a:pt x="21335" y="147828"/>
                  </a:lnTo>
                  <a:lnTo>
                    <a:pt x="18287" y="144779"/>
                  </a:lnTo>
                  <a:lnTo>
                    <a:pt x="18287" y="22859"/>
                  </a:lnTo>
                  <a:lnTo>
                    <a:pt x="15239" y="22859"/>
                  </a:lnTo>
                  <a:lnTo>
                    <a:pt x="15239" y="64008"/>
                  </a:lnTo>
                  <a:lnTo>
                    <a:pt x="12191" y="67056"/>
                  </a:lnTo>
                  <a:lnTo>
                    <a:pt x="3047" y="67056"/>
                  </a:lnTo>
                  <a:lnTo>
                    <a:pt x="0" y="64008"/>
                  </a:lnTo>
                  <a:close/>
                </a:path>
              </a:pathLst>
            </a:custGeom>
            <a:solidFill>
              <a:srgbClr val="483697"/>
            </a:solidFill>
          </p:spPr>
          <p:txBody>
            <a:bodyPr wrap="square" lIns="0" tIns="0" rIns="0" bIns="0" rtlCol="0"/>
            <a:lstStyle/>
            <a:p>
              <a:endParaRPr/>
            </a:p>
          </p:txBody>
        </p:sp>
        <p:sp>
          <p:nvSpPr>
            <p:cNvPr id="97" name="object 90"/>
            <p:cNvSpPr/>
            <p:nvPr/>
          </p:nvSpPr>
          <p:spPr>
            <a:xfrm>
              <a:off x="6416422" y="4188993"/>
              <a:ext cx="1755775" cy="457200"/>
            </a:xfrm>
            <a:custGeom>
              <a:avLst/>
              <a:gdLst/>
              <a:ahLst/>
              <a:cxnLst/>
              <a:rect l="l" t="t" r="r" b="b"/>
              <a:pathLst>
                <a:path w="1755775" h="457200">
                  <a:moveTo>
                    <a:pt x="0" y="397764"/>
                  </a:moveTo>
                  <a:lnTo>
                    <a:pt x="0" y="59436"/>
                  </a:lnTo>
                  <a:lnTo>
                    <a:pt x="17145" y="17716"/>
                  </a:lnTo>
                  <a:lnTo>
                    <a:pt x="59436" y="0"/>
                  </a:lnTo>
                  <a:lnTo>
                    <a:pt x="1696212" y="0"/>
                  </a:lnTo>
                  <a:lnTo>
                    <a:pt x="1719643" y="4786"/>
                  </a:lnTo>
                  <a:lnTo>
                    <a:pt x="1738503" y="17716"/>
                  </a:lnTo>
                  <a:lnTo>
                    <a:pt x="1751076" y="36647"/>
                  </a:lnTo>
                  <a:lnTo>
                    <a:pt x="1755648" y="59435"/>
                  </a:lnTo>
                  <a:lnTo>
                    <a:pt x="1755648" y="397764"/>
                  </a:lnTo>
                  <a:lnTo>
                    <a:pt x="1738503" y="440054"/>
                  </a:lnTo>
                  <a:lnTo>
                    <a:pt x="1696212" y="457199"/>
                  </a:lnTo>
                  <a:lnTo>
                    <a:pt x="59436" y="457199"/>
                  </a:lnTo>
                  <a:lnTo>
                    <a:pt x="36004" y="452627"/>
                  </a:lnTo>
                  <a:lnTo>
                    <a:pt x="17145" y="440054"/>
                  </a:lnTo>
                  <a:lnTo>
                    <a:pt x="4572" y="421195"/>
                  </a:lnTo>
                  <a:lnTo>
                    <a:pt x="0" y="397764"/>
                  </a:lnTo>
                  <a:close/>
                </a:path>
              </a:pathLst>
            </a:custGeom>
            <a:solidFill>
              <a:srgbClr val="FFFFFF"/>
            </a:solidFill>
          </p:spPr>
          <p:txBody>
            <a:bodyPr wrap="square" lIns="0" tIns="0" rIns="0" bIns="0" rtlCol="0"/>
            <a:lstStyle/>
            <a:p>
              <a:endParaRPr/>
            </a:p>
          </p:txBody>
        </p:sp>
        <p:sp>
          <p:nvSpPr>
            <p:cNvPr id="98" name="object 91"/>
            <p:cNvSpPr txBox="1"/>
            <p:nvPr/>
          </p:nvSpPr>
          <p:spPr>
            <a:xfrm>
              <a:off x="7039188" y="4290094"/>
              <a:ext cx="685165" cy="246221"/>
            </a:xfrm>
            <a:prstGeom prst="rect">
              <a:avLst/>
            </a:prstGeom>
          </p:spPr>
          <p:txBody>
            <a:bodyPr vert="horz" wrap="square" lIns="0" tIns="0" rIns="0" bIns="0" rtlCol="0">
              <a:spAutoFit/>
            </a:bodyPr>
            <a:lstStyle/>
            <a:p>
              <a:pPr marL="12700" marR="5080" indent="25400">
                <a:lnSpc>
                  <a:spcPct val="100000"/>
                </a:lnSpc>
              </a:pPr>
              <a:r>
                <a:rPr sz="800" spc="30" dirty="0">
                  <a:solidFill>
                    <a:srgbClr val="483697"/>
                  </a:solidFill>
                  <a:cs typeface="Times New Roman"/>
                </a:rPr>
                <a:t>City </a:t>
              </a:r>
              <a:r>
                <a:rPr sz="800" spc="55" dirty="0">
                  <a:solidFill>
                    <a:srgbClr val="483697"/>
                  </a:solidFill>
                  <a:cs typeface="Times New Roman"/>
                </a:rPr>
                <a:t>security  </a:t>
              </a:r>
              <a:r>
                <a:rPr sz="800" dirty="0">
                  <a:solidFill>
                    <a:srgbClr val="483697"/>
                  </a:solidFill>
                  <a:cs typeface="Times New Roman"/>
                </a:rPr>
                <a:t>i</a:t>
              </a:r>
              <a:r>
                <a:rPr sz="800" spc="80" dirty="0">
                  <a:solidFill>
                    <a:srgbClr val="483697"/>
                  </a:solidFill>
                  <a:cs typeface="Times New Roman"/>
                </a:rPr>
                <a:t>n</a:t>
              </a:r>
              <a:r>
                <a:rPr sz="800" spc="-5" dirty="0">
                  <a:solidFill>
                    <a:srgbClr val="483697"/>
                  </a:solidFill>
                  <a:cs typeface="Times New Roman"/>
                </a:rPr>
                <a:t>f</a:t>
              </a:r>
              <a:r>
                <a:rPr sz="800" spc="45" dirty="0">
                  <a:solidFill>
                    <a:srgbClr val="483697"/>
                  </a:solidFill>
                  <a:cs typeface="Times New Roman"/>
                </a:rPr>
                <a:t>r</a:t>
              </a:r>
              <a:r>
                <a:rPr sz="800" spc="85" dirty="0">
                  <a:solidFill>
                    <a:srgbClr val="483697"/>
                  </a:solidFill>
                  <a:cs typeface="Times New Roman"/>
                </a:rPr>
                <a:t>a</a:t>
              </a:r>
              <a:r>
                <a:rPr sz="800" spc="80" dirty="0">
                  <a:solidFill>
                    <a:srgbClr val="483697"/>
                  </a:solidFill>
                  <a:cs typeface="Times New Roman"/>
                </a:rPr>
                <a:t>s</a:t>
              </a:r>
              <a:r>
                <a:rPr sz="800" spc="90" dirty="0">
                  <a:solidFill>
                    <a:srgbClr val="483697"/>
                  </a:solidFill>
                  <a:cs typeface="Times New Roman"/>
                </a:rPr>
                <a:t>t</a:t>
              </a:r>
              <a:r>
                <a:rPr sz="800" spc="45" dirty="0">
                  <a:solidFill>
                    <a:srgbClr val="483697"/>
                  </a:solidFill>
                  <a:cs typeface="Times New Roman"/>
                </a:rPr>
                <a:t>r</a:t>
              </a:r>
              <a:r>
                <a:rPr sz="800" spc="85" dirty="0">
                  <a:solidFill>
                    <a:srgbClr val="483697"/>
                  </a:solidFill>
                  <a:cs typeface="Times New Roman"/>
                </a:rPr>
                <a:t>u</a:t>
              </a:r>
              <a:r>
                <a:rPr sz="800" spc="35" dirty="0">
                  <a:solidFill>
                    <a:srgbClr val="483697"/>
                  </a:solidFill>
                  <a:cs typeface="Times New Roman"/>
                </a:rPr>
                <a:t>c</a:t>
              </a:r>
              <a:r>
                <a:rPr sz="800" spc="90" dirty="0">
                  <a:solidFill>
                    <a:srgbClr val="483697"/>
                  </a:solidFill>
                  <a:cs typeface="Times New Roman"/>
                </a:rPr>
                <a:t>t</a:t>
              </a:r>
              <a:r>
                <a:rPr sz="800" spc="80" dirty="0">
                  <a:solidFill>
                    <a:srgbClr val="483697"/>
                  </a:solidFill>
                  <a:cs typeface="Times New Roman"/>
                </a:rPr>
                <a:t>u</a:t>
              </a:r>
              <a:r>
                <a:rPr sz="800" spc="45" dirty="0">
                  <a:solidFill>
                    <a:srgbClr val="483697"/>
                  </a:solidFill>
                  <a:cs typeface="Times New Roman"/>
                </a:rPr>
                <a:t>r</a:t>
              </a:r>
              <a:r>
                <a:rPr sz="800" spc="90" dirty="0">
                  <a:solidFill>
                    <a:srgbClr val="483697"/>
                  </a:solidFill>
                  <a:cs typeface="Times New Roman"/>
                </a:rPr>
                <a:t>e</a:t>
              </a:r>
              <a:endParaRPr sz="800">
                <a:cs typeface="Times New Roman"/>
              </a:endParaRPr>
            </a:p>
          </p:txBody>
        </p:sp>
        <p:sp>
          <p:nvSpPr>
            <p:cNvPr id="99" name="object 92"/>
            <p:cNvSpPr/>
            <p:nvPr/>
          </p:nvSpPr>
          <p:spPr>
            <a:xfrm>
              <a:off x="6774562" y="4364252"/>
              <a:ext cx="82550" cy="108585"/>
            </a:xfrm>
            <a:custGeom>
              <a:avLst/>
              <a:gdLst/>
              <a:ahLst/>
              <a:cxnLst/>
              <a:rect l="l" t="t" r="r" b="b"/>
              <a:pathLst>
                <a:path w="82550" h="108585">
                  <a:moveTo>
                    <a:pt x="0" y="105155"/>
                  </a:moveTo>
                  <a:lnTo>
                    <a:pt x="0" y="44195"/>
                  </a:lnTo>
                  <a:lnTo>
                    <a:pt x="10667" y="44195"/>
                  </a:lnTo>
                  <a:lnTo>
                    <a:pt x="10667" y="24383"/>
                  </a:lnTo>
                  <a:lnTo>
                    <a:pt x="12311" y="14787"/>
                  </a:lnTo>
                  <a:lnTo>
                    <a:pt x="16954" y="7048"/>
                  </a:lnTo>
                  <a:lnTo>
                    <a:pt x="24169" y="1881"/>
                  </a:lnTo>
                  <a:lnTo>
                    <a:pt x="33527" y="0"/>
                  </a:lnTo>
                  <a:lnTo>
                    <a:pt x="45719" y="0"/>
                  </a:lnTo>
                  <a:lnTo>
                    <a:pt x="56840" y="1881"/>
                  </a:lnTo>
                  <a:lnTo>
                    <a:pt x="64960" y="7048"/>
                  </a:lnTo>
                  <a:lnTo>
                    <a:pt x="69937" y="14787"/>
                  </a:lnTo>
                  <a:lnTo>
                    <a:pt x="71627" y="24383"/>
                  </a:lnTo>
                  <a:lnTo>
                    <a:pt x="71627" y="44195"/>
                  </a:lnTo>
                  <a:lnTo>
                    <a:pt x="82295" y="44195"/>
                  </a:lnTo>
                  <a:lnTo>
                    <a:pt x="82295" y="105155"/>
                  </a:lnTo>
                  <a:lnTo>
                    <a:pt x="80771" y="108203"/>
                  </a:lnTo>
                  <a:lnTo>
                    <a:pt x="51815" y="108203"/>
                  </a:lnTo>
                  <a:lnTo>
                    <a:pt x="51815" y="21335"/>
                  </a:lnTo>
                  <a:lnTo>
                    <a:pt x="30479" y="21335"/>
                  </a:lnTo>
                  <a:lnTo>
                    <a:pt x="30479" y="108203"/>
                  </a:lnTo>
                  <a:lnTo>
                    <a:pt x="1523" y="108203"/>
                  </a:lnTo>
                  <a:lnTo>
                    <a:pt x="0" y="105155"/>
                  </a:lnTo>
                  <a:close/>
                </a:path>
                <a:path w="82550" h="108585">
                  <a:moveTo>
                    <a:pt x="30479" y="108203"/>
                  </a:moveTo>
                  <a:lnTo>
                    <a:pt x="30479" y="44195"/>
                  </a:lnTo>
                  <a:lnTo>
                    <a:pt x="51815" y="44195"/>
                  </a:lnTo>
                  <a:lnTo>
                    <a:pt x="51815" y="108203"/>
                  </a:lnTo>
                  <a:lnTo>
                    <a:pt x="30479" y="108203"/>
                  </a:lnTo>
                  <a:close/>
                </a:path>
              </a:pathLst>
            </a:custGeom>
            <a:solidFill>
              <a:srgbClr val="483697"/>
            </a:solidFill>
          </p:spPr>
          <p:txBody>
            <a:bodyPr wrap="square" lIns="0" tIns="0" rIns="0" bIns="0" rtlCol="0"/>
            <a:lstStyle/>
            <a:p>
              <a:endParaRPr/>
            </a:p>
          </p:txBody>
        </p:sp>
        <p:sp>
          <p:nvSpPr>
            <p:cNvPr id="100" name="object 93"/>
            <p:cNvSpPr/>
            <p:nvPr/>
          </p:nvSpPr>
          <p:spPr>
            <a:xfrm>
              <a:off x="6690742" y="4289576"/>
              <a:ext cx="279400" cy="256540"/>
            </a:xfrm>
            <a:custGeom>
              <a:avLst/>
              <a:gdLst/>
              <a:ahLst/>
              <a:cxnLst/>
              <a:rect l="l" t="t" r="r" b="b"/>
              <a:pathLst>
                <a:path w="279400" h="256539">
                  <a:moveTo>
                    <a:pt x="0" y="129540"/>
                  </a:moveTo>
                  <a:lnTo>
                    <a:pt x="9667" y="78438"/>
                  </a:lnTo>
                  <a:lnTo>
                    <a:pt x="36195" y="37338"/>
                  </a:lnTo>
                  <a:lnTo>
                    <a:pt x="75866" y="9953"/>
                  </a:lnTo>
                  <a:lnTo>
                    <a:pt x="124968" y="0"/>
                  </a:lnTo>
                  <a:lnTo>
                    <a:pt x="171926" y="9310"/>
                  </a:lnTo>
                  <a:lnTo>
                    <a:pt x="211455" y="34480"/>
                  </a:lnTo>
                  <a:lnTo>
                    <a:pt x="238982" y="71366"/>
                  </a:lnTo>
                  <a:lnTo>
                    <a:pt x="249936" y="115824"/>
                  </a:lnTo>
                  <a:lnTo>
                    <a:pt x="249936" y="118872"/>
                  </a:lnTo>
                  <a:lnTo>
                    <a:pt x="278892" y="118872"/>
                  </a:lnTo>
                  <a:lnTo>
                    <a:pt x="278892" y="121920"/>
                  </a:lnTo>
                  <a:lnTo>
                    <a:pt x="237744" y="182880"/>
                  </a:lnTo>
                  <a:lnTo>
                    <a:pt x="234696" y="185928"/>
                  </a:lnTo>
                  <a:lnTo>
                    <a:pt x="231648" y="185928"/>
                  </a:lnTo>
                  <a:lnTo>
                    <a:pt x="231648" y="182880"/>
                  </a:lnTo>
                  <a:lnTo>
                    <a:pt x="219456" y="164817"/>
                  </a:lnTo>
                  <a:lnTo>
                    <a:pt x="219456" y="118872"/>
                  </a:lnTo>
                  <a:lnTo>
                    <a:pt x="210478" y="84724"/>
                  </a:lnTo>
                  <a:lnTo>
                    <a:pt x="189928" y="57150"/>
                  </a:lnTo>
                  <a:lnTo>
                    <a:pt x="160520" y="38719"/>
                  </a:lnTo>
                  <a:lnTo>
                    <a:pt x="124968" y="32004"/>
                  </a:lnTo>
                  <a:lnTo>
                    <a:pt x="88344" y="39528"/>
                  </a:lnTo>
                  <a:lnTo>
                    <a:pt x="58293" y="60198"/>
                  </a:lnTo>
                  <a:lnTo>
                    <a:pt x="37957" y="91154"/>
                  </a:lnTo>
                  <a:lnTo>
                    <a:pt x="30480" y="129540"/>
                  </a:lnTo>
                  <a:lnTo>
                    <a:pt x="30480" y="208437"/>
                  </a:lnTo>
                  <a:lnTo>
                    <a:pt x="12763" y="185951"/>
                  </a:lnTo>
                  <a:lnTo>
                    <a:pt x="0" y="129540"/>
                  </a:lnTo>
                  <a:close/>
                </a:path>
                <a:path w="279400" h="256539">
                  <a:moveTo>
                    <a:pt x="187452" y="118872"/>
                  </a:moveTo>
                  <a:lnTo>
                    <a:pt x="219456" y="118872"/>
                  </a:lnTo>
                  <a:lnTo>
                    <a:pt x="219456" y="164817"/>
                  </a:lnTo>
                  <a:lnTo>
                    <a:pt x="190500" y="121920"/>
                  </a:lnTo>
                  <a:lnTo>
                    <a:pt x="187452" y="118872"/>
                  </a:lnTo>
                  <a:close/>
                </a:path>
                <a:path w="279400" h="256539">
                  <a:moveTo>
                    <a:pt x="30480" y="208437"/>
                  </a:moveTo>
                  <a:lnTo>
                    <a:pt x="30480" y="129540"/>
                  </a:lnTo>
                  <a:lnTo>
                    <a:pt x="40457" y="172593"/>
                  </a:lnTo>
                  <a:lnTo>
                    <a:pt x="64579" y="201930"/>
                  </a:lnTo>
                  <a:lnTo>
                    <a:pt x="94130" y="218694"/>
                  </a:lnTo>
                  <a:lnTo>
                    <a:pt x="120396" y="224028"/>
                  </a:lnTo>
                  <a:lnTo>
                    <a:pt x="138517" y="222885"/>
                  </a:lnTo>
                  <a:lnTo>
                    <a:pt x="154495" y="219456"/>
                  </a:lnTo>
                  <a:lnTo>
                    <a:pt x="169044" y="213741"/>
                  </a:lnTo>
                  <a:lnTo>
                    <a:pt x="182880" y="205740"/>
                  </a:lnTo>
                  <a:lnTo>
                    <a:pt x="185928" y="202692"/>
                  </a:lnTo>
                  <a:lnTo>
                    <a:pt x="193548" y="196596"/>
                  </a:lnTo>
                  <a:lnTo>
                    <a:pt x="195072" y="193548"/>
                  </a:lnTo>
                  <a:lnTo>
                    <a:pt x="198120" y="192024"/>
                  </a:lnTo>
                  <a:lnTo>
                    <a:pt x="204216" y="192024"/>
                  </a:lnTo>
                  <a:lnTo>
                    <a:pt x="208788" y="196596"/>
                  </a:lnTo>
                  <a:lnTo>
                    <a:pt x="213360" y="202692"/>
                  </a:lnTo>
                  <a:lnTo>
                    <a:pt x="219456" y="207264"/>
                  </a:lnTo>
                  <a:lnTo>
                    <a:pt x="219456" y="213360"/>
                  </a:lnTo>
                  <a:lnTo>
                    <a:pt x="216408" y="216408"/>
                  </a:lnTo>
                  <a:lnTo>
                    <a:pt x="213360" y="217932"/>
                  </a:lnTo>
                  <a:lnTo>
                    <a:pt x="213360" y="220980"/>
                  </a:lnTo>
                  <a:lnTo>
                    <a:pt x="169354" y="247650"/>
                  </a:lnTo>
                  <a:lnTo>
                    <a:pt x="117348" y="256032"/>
                  </a:lnTo>
                  <a:lnTo>
                    <a:pt x="82296" y="248483"/>
                  </a:lnTo>
                  <a:lnTo>
                    <a:pt x="43815" y="225361"/>
                  </a:lnTo>
                  <a:lnTo>
                    <a:pt x="30480" y="208437"/>
                  </a:lnTo>
                  <a:close/>
                </a:path>
              </a:pathLst>
            </a:custGeom>
            <a:solidFill>
              <a:srgbClr val="483697"/>
            </a:solidFill>
          </p:spPr>
          <p:txBody>
            <a:bodyPr wrap="square" lIns="0" tIns="0" rIns="0" bIns="0" rtlCol="0"/>
            <a:lstStyle/>
            <a:p>
              <a:endParaRPr/>
            </a:p>
          </p:txBody>
        </p:sp>
        <p:sp>
          <p:nvSpPr>
            <p:cNvPr id="101" name="object 94"/>
            <p:cNvSpPr/>
            <p:nvPr/>
          </p:nvSpPr>
          <p:spPr>
            <a:xfrm>
              <a:off x="4404742" y="4188993"/>
              <a:ext cx="1755775" cy="457200"/>
            </a:xfrm>
            <a:custGeom>
              <a:avLst/>
              <a:gdLst/>
              <a:ahLst/>
              <a:cxnLst/>
              <a:rect l="l" t="t" r="r" b="b"/>
              <a:pathLst>
                <a:path w="1755775" h="457200">
                  <a:moveTo>
                    <a:pt x="0" y="397764"/>
                  </a:moveTo>
                  <a:lnTo>
                    <a:pt x="0" y="59436"/>
                  </a:lnTo>
                  <a:lnTo>
                    <a:pt x="17716" y="17716"/>
                  </a:lnTo>
                  <a:lnTo>
                    <a:pt x="59436" y="0"/>
                  </a:lnTo>
                  <a:lnTo>
                    <a:pt x="1696212" y="0"/>
                  </a:lnTo>
                  <a:lnTo>
                    <a:pt x="1719643" y="4786"/>
                  </a:lnTo>
                  <a:lnTo>
                    <a:pt x="1738503" y="17716"/>
                  </a:lnTo>
                  <a:lnTo>
                    <a:pt x="1751076" y="36647"/>
                  </a:lnTo>
                  <a:lnTo>
                    <a:pt x="1755648" y="59435"/>
                  </a:lnTo>
                  <a:lnTo>
                    <a:pt x="1755648" y="397764"/>
                  </a:lnTo>
                  <a:lnTo>
                    <a:pt x="1738503" y="440054"/>
                  </a:lnTo>
                  <a:lnTo>
                    <a:pt x="1696212" y="457199"/>
                  </a:lnTo>
                  <a:lnTo>
                    <a:pt x="59436" y="457199"/>
                  </a:lnTo>
                  <a:lnTo>
                    <a:pt x="36647" y="452627"/>
                  </a:lnTo>
                  <a:lnTo>
                    <a:pt x="17716" y="440054"/>
                  </a:lnTo>
                  <a:lnTo>
                    <a:pt x="4786" y="421195"/>
                  </a:lnTo>
                  <a:lnTo>
                    <a:pt x="0" y="397764"/>
                  </a:lnTo>
                  <a:close/>
                </a:path>
              </a:pathLst>
            </a:custGeom>
            <a:solidFill>
              <a:srgbClr val="FFFFFF"/>
            </a:solidFill>
          </p:spPr>
          <p:txBody>
            <a:bodyPr wrap="square" lIns="0" tIns="0" rIns="0" bIns="0" rtlCol="0"/>
            <a:lstStyle/>
            <a:p>
              <a:endParaRPr/>
            </a:p>
          </p:txBody>
        </p:sp>
        <p:sp>
          <p:nvSpPr>
            <p:cNvPr id="102" name="object 95"/>
            <p:cNvSpPr txBox="1"/>
            <p:nvPr/>
          </p:nvSpPr>
          <p:spPr>
            <a:xfrm>
              <a:off x="5009215" y="4290094"/>
              <a:ext cx="685165" cy="246221"/>
            </a:xfrm>
            <a:prstGeom prst="rect">
              <a:avLst/>
            </a:prstGeom>
          </p:spPr>
          <p:txBody>
            <a:bodyPr vert="horz" wrap="square" lIns="0" tIns="0" rIns="0" bIns="0" rtlCol="0">
              <a:spAutoFit/>
            </a:bodyPr>
            <a:lstStyle/>
            <a:p>
              <a:pPr marL="12700" marR="5080" indent="65405">
                <a:lnSpc>
                  <a:spcPct val="100000"/>
                </a:lnSpc>
              </a:pPr>
              <a:r>
                <a:rPr sz="800" spc="30" dirty="0">
                  <a:solidFill>
                    <a:srgbClr val="483697"/>
                  </a:solidFill>
                  <a:cs typeface="Times New Roman"/>
                </a:rPr>
                <a:t>City </a:t>
              </a:r>
              <a:r>
                <a:rPr sz="800" spc="45" dirty="0">
                  <a:solidFill>
                    <a:srgbClr val="483697"/>
                  </a:solidFill>
                  <a:cs typeface="Times New Roman"/>
                </a:rPr>
                <a:t>digital  </a:t>
              </a:r>
              <a:r>
                <a:rPr sz="800" dirty="0">
                  <a:solidFill>
                    <a:srgbClr val="483697"/>
                  </a:solidFill>
                  <a:cs typeface="Times New Roman"/>
                </a:rPr>
                <a:t>i</a:t>
              </a:r>
              <a:r>
                <a:rPr sz="800" spc="80" dirty="0">
                  <a:solidFill>
                    <a:srgbClr val="483697"/>
                  </a:solidFill>
                  <a:cs typeface="Times New Roman"/>
                </a:rPr>
                <a:t>n</a:t>
              </a:r>
              <a:r>
                <a:rPr sz="800" spc="-5" dirty="0">
                  <a:solidFill>
                    <a:srgbClr val="483697"/>
                  </a:solidFill>
                  <a:cs typeface="Times New Roman"/>
                </a:rPr>
                <a:t>f</a:t>
              </a:r>
              <a:r>
                <a:rPr sz="800" spc="45" dirty="0">
                  <a:solidFill>
                    <a:srgbClr val="483697"/>
                  </a:solidFill>
                  <a:cs typeface="Times New Roman"/>
                </a:rPr>
                <a:t>r</a:t>
              </a:r>
              <a:r>
                <a:rPr sz="800" spc="85" dirty="0">
                  <a:solidFill>
                    <a:srgbClr val="483697"/>
                  </a:solidFill>
                  <a:cs typeface="Times New Roman"/>
                </a:rPr>
                <a:t>a</a:t>
              </a:r>
              <a:r>
                <a:rPr sz="800" spc="80" dirty="0">
                  <a:solidFill>
                    <a:srgbClr val="483697"/>
                  </a:solidFill>
                  <a:cs typeface="Times New Roman"/>
                </a:rPr>
                <a:t>s</a:t>
              </a:r>
              <a:r>
                <a:rPr sz="800" spc="90" dirty="0">
                  <a:solidFill>
                    <a:srgbClr val="483697"/>
                  </a:solidFill>
                  <a:cs typeface="Times New Roman"/>
                </a:rPr>
                <a:t>t</a:t>
              </a:r>
              <a:r>
                <a:rPr sz="800" spc="45" dirty="0">
                  <a:solidFill>
                    <a:srgbClr val="483697"/>
                  </a:solidFill>
                  <a:cs typeface="Times New Roman"/>
                </a:rPr>
                <a:t>r</a:t>
              </a:r>
              <a:r>
                <a:rPr sz="800" spc="85" dirty="0">
                  <a:solidFill>
                    <a:srgbClr val="483697"/>
                  </a:solidFill>
                  <a:cs typeface="Times New Roman"/>
                </a:rPr>
                <a:t>u</a:t>
              </a:r>
              <a:r>
                <a:rPr sz="800" spc="35" dirty="0">
                  <a:solidFill>
                    <a:srgbClr val="483697"/>
                  </a:solidFill>
                  <a:cs typeface="Times New Roman"/>
                </a:rPr>
                <a:t>c</a:t>
              </a:r>
              <a:r>
                <a:rPr sz="800" spc="90" dirty="0">
                  <a:solidFill>
                    <a:srgbClr val="483697"/>
                  </a:solidFill>
                  <a:cs typeface="Times New Roman"/>
                </a:rPr>
                <a:t>t</a:t>
              </a:r>
              <a:r>
                <a:rPr sz="800" spc="80" dirty="0">
                  <a:solidFill>
                    <a:srgbClr val="483697"/>
                  </a:solidFill>
                  <a:cs typeface="Times New Roman"/>
                </a:rPr>
                <a:t>u</a:t>
              </a:r>
              <a:r>
                <a:rPr sz="800" spc="45" dirty="0">
                  <a:solidFill>
                    <a:srgbClr val="483697"/>
                  </a:solidFill>
                  <a:cs typeface="Times New Roman"/>
                </a:rPr>
                <a:t>r</a:t>
              </a:r>
              <a:r>
                <a:rPr sz="800" spc="90" dirty="0">
                  <a:solidFill>
                    <a:srgbClr val="483697"/>
                  </a:solidFill>
                  <a:cs typeface="Times New Roman"/>
                </a:rPr>
                <a:t>e</a:t>
              </a:r>
              <a:endParaRPr sz="800">
                <a:cs typeface="Times New Roman"/>
              </a:endParaRPr>
            </a:p>
          </p:txBody>
        </p:sp>
        <p:sp>
          <p:nvSpPr>
            <p:cNvPr id="103" name="object 96"/>
            <p:cNvSpPr/>
            <p:nvPr/>
          </p:nvSpPr>
          <p:spPr>
            <a:xfrm>
              <a:off x="4746118" y="4295673"/>
              <a:ext cx="100965" cy="35560"/>
            </a:xfrm>
            <a:custGeom>
              <a:avLst/>
              <a:gdLst/>
              <a:ahLst/>
              <a:cxnLst/>
              <a:rect l="l" t="t" r="r" b="b"/>
              <a:pathLst>
                <a:path w="100964" h="35560">
                  <a:moveTo>
                    <a:pt x="0" y="22859"/>
                  </a:moveTo>
                  <a:lnTo>
                    <a:pt x="16216" y="13501"/>
                  </a:lnTo>
                  <a:lnTo>
                    <a:pt x="34861" y="6286"/>
                  </a:lnTo>
                  <a:lnTo>
                    <a:pt x="55506" y="1643"/>
                  </a:lnTo>
                  <a:lnTo>
                    <a:pt x="77724" y="0"/>
                  </a:lnTo>
                  <a:lnTo>
                    <a:pt x="100584" y="0"/>
                  </a:lnTo>
                  <a:lnTo>
                    <a:pt x="32004" y="35051"/>
                  </a:lnTo>
                  <a:lnTo>
                    <a:pt x="28956" y="32003"/>
                  </a:lnTo>
                  <a:lnTo>
                    <a:pt x="15240" y="32003"/>
                  </a:lnTo>
                  <a:lnTo>
                    <a:pt x="12192" y="35051"/>
                  </a:lnTo>
                  <a:lnTo>
                    <a:pt x="0" y="22859"/>
                  </a:lnTo>
                  <a:close/>
                </a:path>
              </a:pathLst>
            </a:custGeom>
            <a:solidFill>
              <a:srgbClr val="483697"/>
            </a:solidFill>
          </p:spPr>
          <p:txBody>
            <a:bodyPr wrap="square" lIns="0" tIns="0" rIns="0" bIns="0" rtlCol="0"/>
            <a:lstStyle/>
            <a:p>
              <a:endParaRPr/>
            </a:p>
          </p:txBody>
        </p:sp>
        <p:sp>
          <p:nvSpPr>
            <p:cNvPr id="104" name="object 97"/>
            <p:cNvSpPr/>
            <p:nvPr/>
          </p:nvSpPr>
          <p:spPr>
            <a:xfrm>
              <a:off x="4727830" y="4458741"/>
              <a:ext cx="175260" cy="81280"/>
            </a:xfrm>
            <a:custGeom>
              <a:avLst/>
              <a:gdLst/>
              <a:ahLst/>
              <a:cxnLst/>
              <a:rect l="l" t="t" r="r" b="b"/>
              <a:pathLst>
                <a:path w="175260" h="81279">
                  <a:moveTo>
                    <a:pt x="0" y="39623"/>
                  </a:moveTo>
                  <a:lnTo>
                    <a:pt x="15239" y="6095"/>
                  </a:lnTo>
                  <a:lnTo>
                    <a:pt x="18287" y="9143"/>
                  </a:lnTo>
                  <a:lnTo>
                    <a:pt x="27431" y="9143"/>
                  </a:lnTo>
                  <a:lnTo>
                    <a:pt x="33527" y="6095"/>
                  </a:lnTo>
                  <a:lnTo>
                    <a:pt x="36575" y="0"/>
                  </a:lnTo>
                  <a:lnTo>
                    <a:pt x="109727" y="27431"/>
                  </a:lnTo>
                  <a:lnTo>
                    <a:pt x="109727" y="30479"/>
                  </a:lnTo>
                  <a:lnTo>
                    <a:pt x="111299" y="38957"/>
                  </a:lnTo>
                  <a:lnTo>
                    <a:pt x="115442" y="45719"/>
                  </a:lnTo>
                  <a:lnTo>
                    <a:pt x="121300" y="50196"/>
                  </a:lnTo>
                  <a:lnTo>
                    <a:pt x="128015" y="51815"/>
                  </a:lnTo>
                  <a:lnTo>
                    <a:pt x="137159" y="51815"/>
                  </a:lnTo>
                  <a:lnTo>
                    <a:pt x="143255" y="45719"/>
                  </a:lnTo>
                  <a:lnTo>
                    <a:pt x="146303" y="39623"/>
                  </a:lnTo>
                  <a:lnTo>
                    <a:pt x="175259" y="51815"/>
                  </a:lnTo>
                  <a:lnTo>
                    <a:pt x="158591" y="63412"/>
                  </a:lnTo>
                  <a:lnTo>
                    <a:pt x="139064" y="72580"/>
                  </a:lnTo>
                  <a:lnTo>
                    <a:pt x="117824" y="78605"/>
                  </a:lnTo>
                  <a:lnTo>
                    <a:pt x="96011" y="80771"/>
                  </a:lnTo>
                  <a:lnTo>
                    <a:pt x="67722" y="77985"/>
                  </a:lnTo>
                  <a:lnTo>
                    <a:pt x="42290" y="69913"/>
                  </a:lnTo>
                  <a:lnTo>
                    <a:pt x="19716" y="56983"/>
                  </a:lnTo>
                  <a:lnTo>
                    <a:pt x="0" y="39623"/>
                  </a:lnTo>
                  <a:close/>
                </a:path>
              </a:pathLst>
            </a:custGeom>
            <a:solidFill>
              <a:srgbClr val="483697"/>
            </a:solidFill>
          </p:spPr>
          <p:txBody>
            <a:bodyPr wrap="square" lIns="0" tIns="0" rIns="0" bIns="0" rtlCol="0"/>
            <a:lstStyle/>
            <a:p>
              <a:endParaRPr/>
            </a:p>
          </p:txBody>
        </p:sp>
        <p:sp>
          <p:nvSpPr>
            <p:cNvPr id="105" name="object 98"/>
            <p:cNvSpPr/>
            <p:nvPr/>
          </p:nvSpPr>
          <p:spPr>
            <a:xfrm>
              <a:off x="4697350" y="4321581"/>
              <a:ext cx="64135" cy="166370"/>
            </a:xfrm>
            <a:custGeom>
              <a:avLst/>
              <a:gdLst/>
              <a:ahLst/>
              <a:cxnLst/>
              <a:rect l="l" t="t" r="r" b="b"/>
              <a:pathLst>
                <a:path w="64135" h="166370">
                  <a:moveTo>
                    <a:pt x="51815" y="109727"/>
                  </a:moveTo>
                  <a:lnTo>
                    <a:pt x="51815" y="33527"/>
                  </a:lnTo>
                  <a:lnTo>
                    <a:pt x="57911" y="39623"/>
                  </a:lnTo>
                  <a:lnTo>
                    <a:pt x="64007" y="41147"/>
                  </a:lnTo>
                  <a:lnTo>
                    <a:pt x="51815" y="109727"/>
                  </a:lnTo>
                  <a:close/>
                </a:path>
                <a:path w="64135" h="166370">
                  <a:moveTo>
                    <a:pt x="42671" y="113017"/>
                  </a:moveTo>
                  <a:lnTo>
                    <a:pt x="42671" y="6095"/>
                  </a:lnTo>
                  <a:lnTo>
                    <a:pt x="54863" y="15239"/>
                  </a:lnTo>
                  <a:lnTo>
                    <a:pt x="54863" y="18287"/>
                  </a:lnTo>
                  <a:lnTo>
                    <a:pt x="51815" y="21335"/>
                  </a:lnTo>
                  <a:lnTo>
                    <a:pt x="51815" y="109727"/>
                  </a:lnTo>
                  <a:lnTo>
                    <a:pt x="45100" y="111299"/>
                  </a:lnTo>
                  <a:lnTo>
                    <a:pt x="42671" y="113017"/>
                  </a:lnTo>
                  <a:close/>
                </a:path>
                <a:path w="64135" h="166370">
                  <a:moveTo>
                    <a:pt x="0" y="96011"/>
                  </a:moveTo>
                  <a:lnTo>
                    <a:pt x="3286" y="67722"/>
                  </a:lnTo>
                  <a:lnTo>
                    <a:pt x="12572" y="42290"/>
                  </a:lnTo>
                  <a:lnTo>
                    <a:pt x="27003" y="19716"/>
                  </a:lnTo>
                  <a:lnTo>
                    <a:pt x="45719" y="0"/>
                  </a:lnTo>
                  <a:lnTo>
                    <a:pt x="42671" y="6095"/>
                  </a:lnTo>
                  <a:lnTo>
                    <a:pt x="42671" y="113017"/>
                  </a:lnTo>
                  <a:lnTo>
                    <a:pt x="39242" y="115442"/>
                  </a:lnTo>
                  <a:lnTo>
                    <a:pt x="35099" y="121300"/>
                  </a:lnTo>
                  <a:lnTo>
                    <a:pt x="33527" y="128015"/>
                  </a:lnTo>
                  <a:lnTo>
                    <a:pt x="33527" y="148742"/>
                  </a:lnTo>
                  <a:lnTo>
                    <a:pt x="24383" y="166115"/>
                  </a:lnTo>
                  <a:lnTo>
                    <a:pt x="14144" y="150447"/>
                  </a:lnTo>
                  <a:lnTo>
                    <a:pt x="6476" y="133349"/>
                  </a:lnTo>
                  <a:lnTo>
                    <a:pt x="1666" y="115109"/>
                  </a:lnTo>
                  <a:lnTo>
                    <a:pt x="0" y="96011"/>
                  </a:lnTo>
                  <a:close/>
                </a:path>
                <a:path w="64135" h="166370">
                  <a:moveTo>
                    <a:pt x="33527" y="148742"/>
                  </a:moveTo>
                  <a:lnTo>
                    <a:pt x="33527" y="131063"/>
                  </a:lnTo>
                  <a:lnTo>
                    <a:pt x="39623" y="137159"/>
                  </a:lnTo>
                  <a:lnTo>
                    <a:pt x="33527" y="148742"/>
                  </a:lnTo>
                  <a:close/>
                </a:path>
              </a:pathLst>
            </a:custGeom>
            <a:solidFill>
              <a:srgbClr val="483697"/>
            </a:solidFill>
          </p:spPr>
          <p:txBody>
            <a:bodyPr wrap="square" lIns="0" tIns="0" rIns="0" bIns="0" rtlCol="0"/>
            <a:lstStyle/>
            <a:p>
              <a:endParaRPr/>
            </a:p>
          </p:txBody>
        </p:sp>
        <p:sp>
          <p:nvSpPr>
            <p:cNvPr id="106" name="object 99"/>
            <p:cNvSpPr/>
            <p:nvPr/>
          </p:nvSpPr>
          <p:spPr>
            <a:xfrm>
              <a:off x="4785742" y="4297197"/>
              <a:ext cx="82550" cy="58419"/>
            </a:xfrm>
            <a:custGeom>
              <a:avLst/>
              <a:gdLst/>
              <a:ahLst/>
              <a:cxnLst/>
              <a:rect l="l" t="t" r="r" b="b"/>
              <a:pathLst>
                <a:path w="82550" h="58420">
                  <a:moveTo>
                    <a:pt x="0" y="39623"/>
                  </a:moveTo>
                  <a:lnTo>
                    <a:pt x="73152" y="0"/>
                  </a:lnTo>
                  <a:lnTo>
                    <a:pt x="76200" y="3047"/>
                  </a:lnTo>
                  <a:lnTo>
                    <a:pt x="79248" y="3047"/>
                  </a:lnTo>
                  <a:lnTo>
                    <a:pt x="82296" y="6095"/>
                  </a:lnTo>
                  <a:lnTo>
                    <a:pt x="73152" y="39623"/>
                  </a:lnTo>
                  <a:lnTo>
                    <a:pt x="65508" y="40766"/>
                  </a:lnTo>
                  <a:lnTo>
                    <a:pt x="58864" y="44195"/>
                  </a:lnTo>
                  <a:lnTo>
                    <a:pt x="53649" y="49910"/>
                  </a:lnTo>
                  <a:lnTo>
                    <a:pt x="50292" y="57911"/>
                  </a:lnTo>
                  <a:lnTo>
                    <a:pt x="3048" y="51815"/>
                  </a:lnTo>
                  <a:lnTo>
                    <a:pt x="3048" y="42671"/>
                  </a:lnTo>
                  <a:lnTo>
                    <a:pt x="0" y="39623"/>
                  </a:lnTo>
                  <a:close/>
                </a:path>
              </a:pathLst>
            </a:custGeom>
            <a:solidFill>
              <a:srgbClr val="483697"/>
            </a:solidFill>
          </p:spPr>
          <p:txBody>
            <a:bodyPr wrap="square" lIns="0" tIns="0" rIns="0" bIns="0" rtlCol="0"/>
            <a:lstStyle/>
            <a:p>
              <a:endParaRPr/>
            </a:p>
          </p:txBody>
        </p:sp>
        <p:sp>
          <p:nvSpPr>
            <p:cNvPr id="107" name="object 100"/>
            <p:cNvSpPr/>
            <p:nvPr/>
          </p:nvSpPr>
          <p:spPr>
            <a:xfrm>
              <a:off x="4765930" y="4426736"/>
              <a:ext cx="105410" cy="50800"/>
            </a:xfrm>
            <a:custGeom>
              <a:avLst/>
              <a:gdLst/>
              <a:ahLst/>
              <a:cxnLst/>
              <a:rect l="l" t="t" r="r" b="b"/>
              <a:pathLst>
                <a:path w="105410" h="50800">
                  <a:moveTo>
                    <a:pt x="0" y="24383"/>
                  </a:moveTo>
                  <a:lnTo>
                    <a:pt x="0" y="18287"/>
                  </a:lnTo>
                  <a:lnTo>
                    <a:pt x="39624" y="3047"/>
                  </a:lnTo>
                  <a:lnTo>
                    <a:pt x="48768" y="12191"/>
                  </a:lnTo>
                  <a:lnTo>
                    <a:pt x="62484" y="12191"/>
                  </a:lnTo>
                  <a:lnTo>
                    <a:pt x="71628" y="6095"/>
                  </a:lnTo>
                  <a:lnTo>
                    <a:pt x="74676" y="0"/>
                  </a:lnTo>
                  <a:lnTo>
                    <a:pt x="96012" y="3047"/>
                  </a:lnTo>
                  <a:lnTo>
                    <a:pt x="96012" y="9143"/>
                  </a:lnTo>
                  <a:lnTo>
                    <a:pt x="99060" y="15239"/>
                  </a:lnTo>
                  <a:lnTo>
                    <a:pt x="105155" y="18287"/>
                  </a:lnTo>
                  <a:lnTo>
                    <a:pt x="92964" y="41147"/>
                  </a:lnTo>
                  <a:lnTo>
                    <a:pt x="83820" y="41147"/>
                  </a:lnTo>
                  <a:lnTo>
                    <a:pt x="77724" y="44195"/>
                  </a:lnTo>
                  <a:lnTo>
                    <a:pt x="74676" y="50291"/>
                  </a:lnTo>
                  <a:lnTo>
                    <a:pt x="0" y="24383"/>
                  </a:lnTo>
                  <a:close/>
                </a:path>
              </a:pathLst>
            </a:custGeom>
            <a:solidFill>
              <a:srgbClr val="483697"/>
            </a:solidFill>
          </p:spPr>
          <p:txBody>
            <a:bodyPr wrap="square" lIns="0" tIns="0" rIns="0" bIns="0" rtlCol="0"/>
            <a:lstStyle/>
            <a:p>
              <a:endParaRPr/>
            </a:p>
          </p:txBody>
        </p:sp>
        <p:sp>
          <p:nvSpPr>
            <p:cNvPr id="108" name="object 101"/>
            <p:cNvSpPr/>
            <p:nvPr/>
          </p:nvSpPr>
          <p:spPr>
            <a:xfrm>
              <a:off x="4756786" y="4356633"/>
              <a:ext cx="85725" cy="81280"/>
            </a:xfrm>
            <a:custGeom>
              <a:avLst/>
              <a:gdLst/>
              <a:ahLst/>
              <a:cxnLst/>
              <a:rect l="l" t="t" r="r" b="b"/>
              <a:pathLst>
                <a:path w="85725" h="81279">
                  <a:moveTo>
                    <a:pt x="0" y="77724"/>
                  </a:moveTo>
                  <a:lnTo>
                    <a:pt x="12192" y="6096"/>
                  </a:lnTo>
                  <a:lnTo>
                    <a:pt x="18288" y="6096"/>
                  </a:lnTo>
                  <a:lnTo>
                    <a:pt x="24384" y="3048"/>
                  </a:lnTo>
                  <a:lnTo>
                    <a:pt x="27432" y="0"/>
                  </a:lnTo>
                  <a:lnTo>
                    <a:pt x="79248" y="6096"/>
                  </a:lnTo>
                  <a:lnTo>
                    <a:pt x="82296" y="9144"/>
                  </a:lnTo>
                  <a:lnTo>
                    <a:pt x="82296" y="15240"/>
                  </a:lnTo>
                  <a:lnTo>
                    <a:pt x="85344" y="18288"/>
                  </a:lnTo>
                  <a:lnTo>
                    <a:pt x="73152" y="42672"/>
                  </a:lnTo>
                  <a:lnTo>
                    <a:pt x="70104" y="39624"/>
                  </a:lnTo>
                  <a:lnTo>
                    <a:pt x="67056" y="39624"/>
                  </a:lnTo>
                  <a:lnTo>
                    <a:pt x="58578" y="41243"/>
                  </a:lnTo>
                  <a:lnTo>
                    <a:pt x="51816" y="45720"/>
                  </a:lnTo>
                  <a:lnTo>
                    <a:pt x="47339" y="52482"/>
                  </a:lnTo>
                  <a:lnTo>
                    <a:pt x="45720" y="60960"/>
                  </a:lnTo>
                  <a:lnTo>
                    <a:pt x="45720" y="62484"/>
                  </a:lnTo>
                  <a:lnTo>
                    <a:pt x="6096" y="80772"/>
                  </a:lnTo>
                  <a:lnTo>
                    <a:pt x="3048" y="77724"/>
                  </a:lnTo>
                  <a:lnTo>
                    <a:pt x="0" y="77724"/>
                  </a:lnTo>
                  <a:close/>
                </a:path>
              </a:pathLst>
            </a:custGeom>
            <a:solidFill>
              <a:srgbClr val="483697"/>
            </a:solidFill>
          </p:spPr>
          <p:txBody>
            <a:bodyPr wrap="square" lIns="0" tIns="0" rIns="0" bIns="0" rtlCol="0"/>
            <a:lstStyle/>
            <a:p>
              <a:endParaRPr/>
            </a:p>
          </p:txBody>
        </p:sp>
        <p:sp>
          <p:nvSpPr>
            <p:cNvPr id="109" name="object 102"/>
            <p:cNvSpPr/>
            <p:nvPr/>
          </p:nvSpPr>
          <p:spPr>
            <a:xfrm>
              <a:off x="4868038" y="4306341"/>
              <a:ext cx="78105" cy="177165"/>
            </a:xfrm>
            <a:custGeom>
              <a:avLst/>
              <a:gdLst/>
              <a:ahLst/>
              <a:cxnLst/>
              <a:rect l="l" t="t" r="r" b="b"/>
              <a:pathLst>
                <a:path w="78104" h="177164">
                  <a:moveTo>
                    <a:pt x="0" y="33528"/>
                  </a:moveTo>
                  <a:lnTo>
                    <a:pt x="9144" y="0"/>
                  </a:lnTo>
                  <a:lnTo>
                    <a:pt x="37218" y="19740"/>
                  </a:lnTo>
                  <a:lnTo>
                    <a:pt x="58864" y="45910"/>
                  </a:lnTo>
                  <a:lnTo>
                    <a:pt x="72794" y="76938"/>
                  </a:lnTo>
                  <a:lnTo>
                    <a:pt x="77724" y="111252"/>
                  </a:lnTo>
                  <a:lnTo>
                    <a:pt x="76533" y="129206"/>
                  </a:lnTo>
                  <a:lnTo>
                    <a:pt x="72771" y="146303"/>
                  </a:lnTo>
                  <a:lnTo>
                    <a:pt x="66151" y="162258"/>
                  </a:lnTo>
                  <a:lnTo>
                    <a:pt x="56388" y="176783"/>
                  </a:lnTo>
                  <a:lnTo>
                    <a:pt x="30480" y="142694"/>
                  </a:lnTo>
                  <a:lnTo>
                    <a:pt x="30480" y="123444"/>
                  </a:lnTo>
                  <a:lnTo>
                    <a:pt x="29337" y="116728"/>
                  </a:lnTo>
                  <a:lnTo>
                    <a:pt x="25908" y="110870"/>
                  </a:lnTo>
                  <a:lnTo>
                    <a:pt x="20193" y="106727"/>
                  </a:lnTo>
                  <a:lnTo>
                    <a:pt x="12192" y="105155"/>
                  </a:lnTo>
                  <a:lnTo>
                    <a:pt x="12192" y="45719"/>
                  </a:lnTo>
                  <a:lnTo>
                    <a:pt x="9144" y="36576"/>
                  </a:lnTo>
                  <a:lnTo>
                    <a:pt x="0" y="33528"/>
                  </a:lnTo>
                  <a:close/>
                </a:path>
                <a:path w="78104" h="177164">
                  <a:moveTo>
                    <a:pt x="27432" y="138684"/>
                  </a:moveTo>
                  <a:lnTo>
                    <a:pt x="30480" y="132588"/>
                  </a:lnTo>
                  <a:lnTo>
                    <a:pt x="30480" y="142694"/>
                  </a:lnTo>
                  <a:lnTo>
                    <a:pt x="27432" y="138684"/>
                  </a:lnTo>
                  <a:close/>
                </a:path>
                <a:path w="78104" h="177164">
                  <a:moveTo>
                    <a:pt x="0" y="71628"/>
                  </a:moveTo>
                  <a:lnTo>
                    <a:pt x="9144" y="68580"/>
                  </a:lnTo>
                  <a:lnTo>
                    <a:pt x="12192" y="60960"/>
                  </a:lnTo>
                  <a:lnTo>
                    <a:pt x="12192" y="108204"/>
                  </a:lnTo>
                  <a:lnTo>
                    <a:pt x="0" y="71628"/>
                  </a:lnTo>
                  <a:close/>
                </a:path>
              </a:pathLst>
            </a:custGeom>
            <a:solidFill>
              <a:srgbClr val="483697"/>
            </a:solidFill>
          </p:spPr>
          <p:txBody>
            <a:bodyPr wrap="square" lIns="0" tIns="0" rIns="0" bIns="0" rtlCol="0"/>
            <a:lstStyle/>
            <a:p>
              <a:endParaRPr/>
            </a:p>
          </p:txBody>
        </p:sp>
        <p:sp>
          <p:nvSpPr>
            <p:cNvPr id="110" name="object 103"/>
            <p:cNvSpPr/>
            <p:nvPr/>
          </p:nvSpPr>
          <p:spPr>
            <a:xfrm>
              <a:off x="4836034" y="4377968"/>
              <a:ext cx="35560" cy="43180"/>
            </a:xfrm>
            <a:custGeom>
              <a:avLst/>
              <a:gdLst/>
              <a:ahLst/>
              <a:cxnLst/>
              <a:rect l="l" t="t" r="r" b="b"/>
              <a:pathLst>
                <a:path w="35560" h="43179">
                  <a:moveTo>
                    <a:pt x="0" y="24384"/>
                  </a:moveTo>
                  <a:lnTo>
                    <a:pt x="13715" y="0"/>
                  </a:lnTo>
                  <a:lnTo>
                    <a:pt x="16763" y="3047"/>
                  </a:lnTo>
                  <a:lnTo>
                    <a:pt x="25907" y="3047"/>
                  </a:lnTo>
                  <a:lnTo>
                    <a:pt x="35051" y="39624"/>
                  </a:lnTo>
                  <a:lnTo>
                    <a:pt x="32003" y="39624"/>
                  </a:lnTo>
                  <a:lnTo>
                    <a:pt x="28955" y="42672"/>
                  </a:lnTo>
                  <a:lnTo>
                    <a:pt x="6095" y="39624"/>
                  </a:lnTo>
                  <a:lnTo>
                    <a:pt x="6095" y="33528"/>
                  </a:lnTo>
                  <a:lnTo>
                    <a:pt x="3047" y="27432"/>
                  </a:lnTo>
                  <a:lnTo>
                    <a:pt x="0" y="24384"/>
                  </a:lnTo>
                  <a:close/>
                </a:path>
              </a:pathLst>
            </a:custGeom>
            <a:solidFill>
              <a:srgbClr val="483697"/>
            </a:solidFill>
          </p:spPr>
          <p:txBody>
            <a:bodyPr wrap="square" lIns="0" tIns="0" rIns="0" bIns="0" rtlCol="0"/>
            <a:lstStyle/>
            <a:p>
              <a:endParaRPr/>
            </a:p>
          </p:txBody>
        </p:sp>
        <p:sp>
          <p:nvSpPr>
            <p:cNvPr id="111" name="object 104"/>
            <p:cNvSpPr/>
            <p:nvPr/>
          </p:nvSpPr>
          <p:spPr>
            <a:xfrm>
              <a:off x="4868038" y="4446549"/>
              <a:ext cx="55244" cy="55244"/>
            </a:xfrm>
            <a:custGeom>
              <a:avLst/>
              <a:gdLst/>
              <a:ahLst/>
              <a:cxnLst/>
              <a:rect l="l" t="t" r="r" b="b"/>
              <a:pathLst>
                <a:path w="55245" h="55245">
                  <a:moveTo>
                    <a:pt x="0" y="27432"/>
                  </a:moveTo>
                  <a:lnTo>
                    <a:pt x="9143" y="0"/>
                  </a:lnTo>
                  <a:lnTo>
                    <a:pt x="18287" y="0"/>
                  </a:lnTo>
                  <a:lnTo>
                    <a:pt x="54863" y="45719"/>
                  </a:lnTo>
                  <a:lnTo>
                    <a:pt x="45719" y="54864"/>
                  </a:lnTo>
                  <a:lnTo>
                    <a:pt x="9143" y="42672"/>
                  </a:lnTo>
                  <a:lnTo>
                    <a:pt x="9143" y="36576"/>
                  </a:lnTo>
                  <a:lnTo>
                    <a:pt x="6095" y="30480"/>
                  </a:lnTo>
                  <a:lnTo>
                    <a:pt x="0" y="27432"/>
                  </a:lnTo>
                  <a:close/>
                </a:path>
              </a:pathLst>
            </a:custGeom>
            <a:solidFill>
              <a:srgbClr val="483697"/>
            </a:solidFill>
          </p:spPr>
          <p:txBody>
            <a:bodyPr wrap="square" lIns="0" tIns="0" rIns="0" bIns="0" rtlCol="0"/>
            <a:lstStyle/>
            <a:p>
              <a:endParaRPr/>
            </a:p>
          </p:txBody>
        </p:sp>
        <p:sp>
          <p:nvSpPr>
            <p:cNvPr id="112" name="object 105"/>
            <p:cNvSpPr/>
            <p:nvPr/>
          </p:nvSpPr>
          <p:spPr>
            <a:xfrm>
              <a:off x="4743070" y="4320057"/>
              <a:ext cx="3175" cy="1905"/>
            </a:xfrm>
            <a:custGeom>
              <a:avLst/>
              <a:gdLst/>
              <a:ahLst/>
              <a:cxnLst/>
              <a:rect l="l" t="t" r="r" b="b"/>
              <a:pathLst>
                <a:path w="3175" h="1904">
                  <a:moveTo>
                    <a:pt x="0" y="1523"/>
                  </a:moveTo>
                  <a:lnTo>
                    <a:pt x="3048" y="0"/>
                  </a:lnTo>
                  <a:lnTo>
                    <a:pt x="3048" y="1523"/>
                  </a:lnTo>
                  <a:lnTo>
                    <a:pt x="0" y="1523"/>
                  </a:lnTo>
                  <a:close/>
                </a:path>
              </a:pathLst>
            </a:custGeom>
            <a:solidFill>
              <a:srgbClr val="483697"/>
            </a:solidFill>
          </p:spPr>
          <p:txBody>
            <a:bodyPr wrap="square" lIns="0" tIns="0" rIns="0" bIns="0" rtlCol="0"/>
            <a:lstStyle/>
            <a:p>
              <a:endParaRPr/>
            </a:p>
          </p:txBody>
        </p:sp>
        <p:sp>
          <p:nvSpPr>
            <p:cNvPr id="113" name="object 106"/>
            <p:cNvSpPr/>
            <p:nvPr/>
          </p:nvSpPr>
          <p:spPr>
            <a:xfrm>
              <a:off x="1833754" y="2765576"/>
              <a:ext cx="8910955" cy="1092835"/>
            </a:xfrm>
            <a:custGeom>
              <a:avLst/>
              <a:gdLst/>
              <a:ahLst/>
              <a:cxnLst/>
              <a:rect l="l" t="t" r="r" b="b"/>
              <a:pathLst>
                <a:path w="8910955" h="1092835">
                  <a:moveTo>
                    <a:pt x="8910827" y="0"/>
                  </a:moveTo>
                  <a:lnTo>
                    <a:pt x="8910827" y="1092708"/>
                  </a:lnTo>
                  <a:lnTo>
                    <a:pt x="0" y="1092708"/>
                  </a:lnTo>
                  <a:lnTo>
                    <a:pt x="0" y="0"/>
                  </a:lnTo>
                  <a:lnTo>
                    <a:pt x="8910827" y="0"/>
                  </a:lnTo>
                  <a:close/>
                </a:path>
              </a:pathLst>
            </a:custGeom>
            <a:solidFill>
              <a:srgbClr val="0090DA"/>
            </a:solidFill>
          </p:spPr>
          <p:txBody>
            <a:bodyPr wrap="square" lIns="0" tIns="0" rIns="0" bIns="0" rtlCol="0"/>
            <a:lstStyle/>
            <a:p>
              <a:endParaRPr/>
            </a:p>
          </p:txBody>
        </p:sp>
        <p:sp>
          <p:nvSpPr>
            <p:cNvPr id="114" name="object 107"/>
            <p:cNvSpPr/>
            <p:nvPr/>
          </p:nvSpPr>
          <p:spPr>
            <a:xfrm>
              <a:off x="10744710" y="2759480"/>
              <a:ext cx="0" cy="1103630"/>
            </a:xfrm>
            <a:custGeom>
              <a:avLst/>
              <a:gdLst/>
              <a:ahLst/>
              <a:cxnLst/>
              <a:rect l="l" t="t" r="r" b="b"/>
              <a:pathLst>
                <a:path h="1103629">
                  <a:moveTo>
                    <a:pt x="0" y="0"/>
                  </a:moveTo>
                  <a:lnTo>
                    <a:pt x="0" y="1103376"/>
                  </a:lnTo>
                </a:path>
              </a:pathLst>
            </a:custGeom>
            <a:ln w="11430">
              <a:solidFill>
                <a:srgbClr val="0090DA"/>
              </a:solidFill>
            </a:ln>
          </p:spPr>
          <p:txBody>
            <a:bodyPr wrap="square" lIns="0" tIns="0" rIns="0" bIns="0" rtlCol="0"/>
            <a:lstStyle/>
            <a:p>
              <a:endParaRPr/>
            </a:p>
          </p:txBody>
        </p:sp>
        <p:sp>
          <p:nvSpPr>
            <p:cNvPr id="115" name="object 108"/>
            <p:cNvSpPr/>
            <p:nvPr/>
          </p:nvSpPr>
          <p:spPr>
            <a:xfrm>
              <a:off x="1840104" y="2759480"/>
              <a:ext cx="8898890" cy="13970"/>
            </a:xfrm>
            <a:custGeom>
              <a:avLst/>
              <a:gdLst/>
              <a:ahLst/>
              <a:cxnLst/>
              <a:rect l="l" t="t" r="r" b="b"/>
              <a:pathLst>
                <a:path w="8898890" h="13970">
                  <a:moveTo>
                    <a:pt x="0" y="13716"/>
                  </a:moveTo>
                  <a:lnTo>
                    <a:pt x="8898890" y="13716"/>
                  </a:lnTo>
                  <a:lnTo>
                    <a:pt x="8898890" y="0"/>
                  </a:lnTo>
                  <a:lnTo>
                    <a:pt x="0" y="0"/>
                  </a:lnTo>
                  <a:lnTo>
                    <a:pt x="0" y="13716"/>
                  </a:lnTo>
                  <a:close/>
                </a:path>
              </a:pathLst>
            </a:custGeom>
            <a:solidFill>
              <a:srgbClr val="0090DA"/>
            </a:solidFill>
          </p:spPr>
          <p:txBody>
            <a:bodyPr wrap="square" lIns="0" tIns="0" rIns="0" bIns="0" rtlCol="0"/>
            <a:lstStyle/>
            <a:p>
              <a:endParaRPr/>
            </a:p>
          </p:txBody>
        </p:sp>
        <p:sp>
          <p:nvSpPr>
            <p:cNvPr id="116" name="object 109"/>
            <p:cNvSpPr/>
            <p:nvPr/>
          </p:nvSpPr>
          <p:spPr>
            <a:xfrm>
              <a:off x="1833754" y="2763291"/>
              <a:ext cx="6350" cy="0"/>
            </a:xfrm>
            <a:custGeom>
              <a:avLst/>
              <a:gdLst/>
              <a:ahLst/>
              <a:cxnLst/>
              <a:rect l="l" t="t" r="r" b="b"/>
              <a:pathLst>
                <a:path w="6350">
                  <a:moveTo>
                    <a:pt x="0" y="0"/>
                  </a:moveTo>
                  <a:lnTo>
                    <a:pt x="6350" y="0"/>
                  </a:lnTo>
                </a:path>
              </a:pathLst>
            </a:custGeom>
            <a:ln w="7620">
              <a:solidFill>
                <a:srgbClr val="0090DA"/>
              </a:solidFill>
            </a:ln>
          </p:spPr>
          <p:txBody>
            <a:bodyPr wrap="square" lIns="0" tIns="0" rIns="0" bIns="0" rtlCol="0"/>
            <a:lstStyle/>
            <a:p>
              <a:endParaRPr/>
            </a:p>
          </p:txBody>
        </p:sp>
        <p:sp>
          <p:nvSpPr>
            <p:cNvPr id="117" name="object 110"/>
            <p:cNvSpPr/>
            <p:nvPr/>
          </p:nvSpPr>
          <p:spPr>
            <a:xfrm>
              <a:off x="1830579" y="2759480"/>
              <a:ext cx="0" cy="1103630"/>
            </a:xfrm>
            <a:custGeom>
              <a:avLst/>
              <a:gdLst/>
              <a:ahLst/>
              <a:cxnLst/>
              <a:rect l="l" t="t" r="r" b="b"/>
              <a:pathLst>
                <a:path h="1103629">
                  <a:moveTo>
                    <a:pt x="0" y="0"/>
                  </a:moveTo>
                  <a:lnTo>
                    <a:pt x="0" y="1103376"/>
                  </a:lnTo>
                </a:path>
              </a:pathLst>
            </a:custGeom>
            <a:ln w="6350">
              <a:solidFill>
                <a:srgbClr val="0090DA"/>
              </a:solidFill>
            </a:ln>
          </p:spPr>
          <p:txBody>
            <a:bodyPr wrap="square" lIns="0" tIns="0" rIns="0" bIns="0" rtlCol="0"/>
            <a:lstStyle/>
            <a:p>
              <a:endParaRPr/>
            </a:p>
          </p:txBody>
        </p:sp>
        <p:sp>
          <p:nvSpPr>
            <p:cNvPr id="118" name="object 111"/>
            <p:cNvSpPr/>
            <p:nvPr/>
          </p:nvSpPr>
          <p:spPr>
            <a:xfrm>
              <a:off x="1840104" y="3850664"/>
              <a:ext cx="8898890" cy="12700"/>
            </a:xfrm>
            <a:custGeom>
              <a:avLst/>
              <a:gdLst/>
              <a:ahLst/>
              <a:cxnLst/>
              <a:rect l="l" t="t" r="r" b="b"/>
              <a:pathLst>
                <a:path w="8898890" h="12700">
                  <a:moveTo>
                    <a:pt x="0" y="12191"/>
                  </a:moveTo>
                  <a:lnTo>
                    <a:pt x="8898890" y="12191"/>
                  </a:lnTo>
                  <a:lnTo>
                    <a:pt x="8898890" y="0"/>
                  </a:lnTo>
                  <a:lnTo>
                    <a:pt x="0" y="0"/>
                  </a:lnTo>
                  <a:lnTo>
                    <a:pt x="0" y="12191"/>
                  </a:lnTo>
                  <a:close/>
                </a:path>
              </a:pathLst>
            </a:custGeom>
            <a:solidFill>
              <a:srgbClr val="0090DA"/>
            </a:solidFill>
          </p:spPr>
          <p:txBody>
            <a:bodyPr wrap="square" lIns="0" tIns="0" rIns="0" bIns="0" rtlCol="0"/>
            <a:lstStyle/>
            <a:p>
              <a:endParaRPr/>
            </a:p>
          </p:txBody>
        </p:sp>
        <p:sp>
          <p:nvSpPr>
            <p:cNvPr id="121" name="object 112"/>
            <p:cNvSpPr/>
            <p:nvPr/>
          </p:nvSpPr>
          <p:spPr>
            <a:xfrm>
              <a:off x="1836929" y="2767100"/>
              <a:ext cx="0" cy="1096010"/>
            </a:xfrm>
            <a:custGeom>
              <a:avLst/>
              <a:gdLst/>
              <a:ahLst/>
              <a:cxnLst/>
              <a:rect l="l" t="t" r="r" b="b"/>
              <a:pathLst>
                <a:path h="1096010">
                  <a:moveTo>
                    <a:pt x="0" y="0"/>
                  </a:moveTo>
                  <a:lnTo>
                    <a:pt x="0" y="1095756"/>
                  </a:lnTo>
                </a:path>
              </a:pathLst>
            </a:custGeom>
            <a:ln w="6350">
              <a:solidFill>
                <a:srgbClr val="0090DA"/>
              </a:solidFill>
            </a:ln>
          </p:spPr>
          <p:txBody>
            <a:bodyPr wrap="square" lIns="0" tIns="0" rIns="0" bIns="0" rtlCol="0"/>
            <a:lstStyle/>
            <a:p>
              <a:endParaRPr/>
            </a:p>
          </p:txBody>
        </p:sp>
        <p:sp>
          <p:nvSpPr>
            <p:cNvPr id="122" name="object 113"/>
            <p:cNvSpPr txBox="1"/>
            <p:nvPr/>
          </p:nvSpPr>
          <p:spPr>
            <a:xfrm>
              <a:off x="5817061" y="2797042"/>
              <a:ext cx="941069" cy="153888"/>
            </a:xfrm>
            <a:prstGeom prst="rect">
              <a:avLst/>
            </a:prstGeom>
          </p:spPr>
          <p:txBody>
            <a:bodyPr vert="horz" wrap="square" lIns="0" tIns="0" rIns="0" bIns="0" rtlCol="0">
              <a:spAutoFit/>
            </a:bodyPr>
            <a:lstStyle/>
            <a:p>
              <a:pPr marL="12700">
                <a:lnSpc>
                  <a:spcPct val="100000"/>
                </a:lnSpc>
              </a:pPr>
              <a:r>
                <a:rPr sz="1000" spc="110" dirty="0">
                  <a:solidFill>
                    <a:srgbClr val="FFFFFF"/>
                  </a:solidFill>
                  <a:cs typeface="Times New Roman"/>
                </a:rPr>
                <a:t>Smart</a:t>
              </a:r>
              <a:r>
                <a:rPr sz="1000" spc="-60" dirty="0">
                  <a:solidFill>
                    <a:srgbClr val="FFFFFF"/>
                  </a:solidFill>
                  <a:cs typeface="Times New Roman"/>
                </a:rPr>
                <a:t> </a:t>
              </a:r>
              <a:r>
                <a:rPr sz="1000" spc="70" dirty="0">
                  <a:solidFill>
                    <a:srgbClr val="FFFFFF"/>
                  </a:solidFill>
                  <a:cs typeface="Times New Roman"/>
                </a:rPr>
                <a:t>Services</a:t>
              </a:r>
              <a:endParaRPr sz="1000">
                <a:cs typeface="Times New Roman"/>
              </a:endParaRPr>
            </a:p>
          </p:txBody>
        </p:sp>
        <p:sp>
          <p:nvSpPr>
            <p:cNvPr id="124" name="object 114"/>
            <p:cNvSpPr txBox="1"/>
            <p:nvPr/>
          </p:nvSpPr>
          <p:spPr>
            <a:xfrm>
              <a:off x="5356699" y="3671904"/>
              <a:ext cx="1864995" cy="446405"/>
            </a:xfrm>
            <a:prstGeom prst="rect">
              <a:avLst/>
            </a:prstGeom>
          </p:spPr>
          <p:txBody>
            <a:bodyPr vert="horz" wrap="square" lIns="0" tIns="0" rIns="0" bIns="0" rtlCol="0">
              <a:spAutoFit/>
            </a:bodyPr>
            <a:lstStyle/>
            <a:p>
              <a:pPr algn="ctr">
                <a:lnSpc>
                  <a:spcPct val="100000"/>
                </a:lnSpc>
              </a:pPr>
              <a:r>
                <a:rPr sz="1000" spc="110" dirty="0">
                  <a:solidFill>
                    <a:srgbClr val="FFFFFF"/>
                  </a:solidFill>
                  <a:cs typeface="Times New Roman"/>
                </a:rPr>
                <a:t>Smart </a:t>
              </a:r>
              <a:r>
                <a:rPr sz="1000" spc="55" dirty="0">
                  <a:solidFill>
                    <a:srgbClr val="FFFFFF"/>
                  </a:solidFill>
                  <a:cs typeface="Times New Roman"/>
                </a:rPr>
                <a:t>city</a:t>
              </a:r>
              <a:r>
                <a:rPr sz="1000" spc="-160" dirty="0">
                  <a:solidFill>
                    <a:srgbClr val="FFFFFF"/>
                  </a:solidFill>
                  <a:cs typeface="Times New Roman"/>
                </a:rPr>
                <a:t> </a:t>
              </a:r>
              <a:r>
                <a:rPr sz="1000" spc="80" dirty="0">
                  <a:solidFill>
                    <a:srgbClr val="FFFFFF"/>
                  </a:solidFill>
                  <a:cs typeface="Times New Roman"/>
                </a:rPr>
                <a:t>platform</a:t>
              </a:r>
              <a:endParaRPr sz="1000">
                <a:cs typeface="Times New Roman"/>
              </a:endParaRPr>
            </a:p>
            <a:p>
              <a:pPr>
                <a:lnSpc>
                  <a:spcPct val="100000"/>
                </a:lnSpc>
                <a:spcBef>
                  <a:spcPts val="15"/>
                </a:spcBef>
              </a:pPr>
              <a:endParaRPr sz="850">
                <a:cs typeface="Times New Roman"/>
              </a:endParaRPr>
            </a:p>
            <a:p>
              <a:pPr algn="ctr">
                <a:lnSpc>
                  <a:spcPct val="100000"/>
                </a:lnSpc>
              </a:pPr>
              <a:r>
                <a:rPr sz="1000" spc="80" dirty="0">
                  <a:solidFill>
                    <a:srgbClr val="FFFFFF"/>
                  </a:solidFill>
                  <a:cs typeface="Times New Roman"/>
                </a:rPr>
                <a:t>Next </a:t>
              </a:r>
              <a:r>
                <a:rPr sz="1000" spc="90" dirty="0">
                  <a:solidFill>
                    <a:srgbClr val="FFFFFF"/>
                  </a:solidFill>
                  <a:cs typeface="Times New Roman"/>
                </a:rPr>
                <a:t>generation</a:t>
              </a:r>
              <a:r>
                <a:rPr sz="1000" spc="-85" dirty="0">
                  <a:solidFill>
                    <a:srgbClr val="FFFFFF"/>
                  </a:solidFill>
                  <a:cs typeface="Times New Roman"/>
                </a:rPr>
                <a:t> </a:t>
              </a:r>
              <a:r>
                <a:rPr sz="1000" spc="75" dirty="0">
                  <a:solidFill>
                    <a:srgbClr val="FFFFFF"/>
                  </a:solidFill>
                  <a:cs typeface="Times New Roman"/>
                </a:rPr>
                <a:t>infrastructure</a:t>
              </a:r>
              <a:endParaRPr sz="1000">
                <a:cs typeface="Times New Roman"/>
              </a:endParaRPr>
            </a:p>
          </p:txBody>
        </p:sp>
        <p:sp>
          <p:nvSpPr>
            <p:cNvPr id="125" name="object 115"/>
            <p:cNvSpPr/>
            <p:nvPr/>
          </p:nvSpPr>
          <p:spPr>
            <a:xfrm>
              <a:off x="1977010" y="3020085"/>
              <a:ext cx="794385" cy="605155"/>
            </a:xfrm>
            <a:custGeom>
              <a:avLst/>
              <a:gdLst/>
              <a:ahLst/>
              <a:cxnLst/>
              <a:rect l="l" t="t" r="r" b="b"/>
              <a:pathLst>
                <a:path w="794385" h="605154">
                  <a:moveTo>
                    <a:pt x="0" y="504444"/>
                  </a:moveTo>
                  <a:lnTo>
                    <a:pt x="0" y="100584"/>
                  </a:lnTo>
                  <a:lnTo>
                    <a:pt x="8000" y="61079"/>
                  </a:lnTo>
                  <a:lnTo>
                    <a:pt x="29717" y="29146"/>
                  </a:lnTo>
                  <a:lnTo>
                    <a:pt x="61721" y="7786"/>
                  </a:lnTo>
                  <a:lnTo>
                    <a:pt x="100583" y="0"/>
                  </a:lnTo>
                  <a:lnTo>
                    <a:pt x="693420" y="0"/>
                  </a:lnTo>
                  <a:lnTo>
                    <a:pt x="732924" y="7786"/>
                  </a:lnTo>
                  <a:lnTo>
                    <a:pt x="764857" y="29146"/>
                  </a:lnTo>
                  <a:lnTo>
                    <a:pt x="786217" y="61079"/>
                  </a:lnTo>
                  <a:lnTo>
                    <a:pt x="794004" y="100584"/>
                  </a:lnTo>
                  <a:lnTo>
                    <a:pt x="794004" y="504444"/>
                  </a:lnTo>
                  <a:lnTo>
                    <a:pt x="786217" y="543306"/>
                  </a:lnTo>
                  <a:lnTo>
                    <a:pt x="764857" y="575309"/>
                  </a:lnTo>
                  <a:lnTo>
                    <a:pt x="732924" y="597026"/>
                  </a:lnTo>
                  <a:lnTo>
                    <a:pt x="69342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26" name="object 116"/>
            <p:cNvSpPr txBox="1"/>
            <p:nvPr/>
          </p:nvSpPr>
          <p:spPr>
            <a:xfrm>
              <a:off x="2162381" y="3052647"/>
              <a:ext cx="425450" cy="123111"/>
            </a:xfrm>
            <a:prstGeom prst="rect">
              <a:avLst/>
            </a:prstGeom>
          </p:spPr>
          <p:txBody>
            <a:bodyPr vert="horz" wrap="square" lIns="0" tIns="0" rIns="0" bIns="0" rtlCol="0">
              <a:spAutoFit/>
            </a:bodyPr>
            <a:lstStyle/>
            <a:p>
              <a:pPr marL="12700">
                <a:lnSpc>
                  <a:spcPct val="100000"/>
                </a:lnSpc>
              </a:pPr>
              <a:r>
                <a:rPr sz="800" spc="40" dirty="0">
                  <a:solidFill>
                    <a:srgbClr val="0090DA"/>
                  </a:solidFill>
                  <a:cs typeface="Times New Roman"/>
                </a:rPr>
                <a:t>M</a:t>
              </a:r>
              <a:r>
                <a:rPr sz="800" spc="85" dirty="0">
                  <a:solidFill>
                    <a:srgbClr val="0090DA"/>
                  </a:solidFill>
                  <a:cs typeface="Times New Roman"/>
                </a:rPr>
                <a:t>o</a:t>
              </a:r>
              <a:r>
                <a:rPr sz="800" spc="80" dirty="0">
                  <a:solidFill>
                    <a:srgbClr val="0090DA"/>
                  </a:solidFill>
                  <a:cs typeface="Times New Roman"/>
                </a:rPr>
                <a:t>b</a:t>
              </a:r>
              <a:r>
                <a:rPr sz="800" spc="-10" dirty="0">
                  <a:solidFill>
                    <a:srgbClr val="0090DA"/>
                  </a:solidFill>
                  <a:cs typeface="Times New Roman"/>
                </a:rPr>
                <a:t>i</a:t>
              </a:r>
              <a:r>
                <a:rPr sz="800" dirty="0">
                  <a:solidFill>
                    <a:srgbClr val="0090DA"/>
                  </a:solidFill>
                  <a:cs typeface="Times New Roman"/>
                </a:rPr>
                <a:t>l</a:t>
              </a:r>
              <a:r>
                <a:rPr sz="800" spc="-10" dirty="0">
                  <a:solidFill>
                    <a:srgbClr val="0090DA"/>
                  </a:solidFill>
                  <a:cs typeface="Times New Roman"/>
                </a:rPr>
                <a:t>i</a:t>
              </a:r>
              <a:r>
                <a:rPr sz="800" spc="90" dirty="0">
                  <a:solidFill>
                    <a:srgbClr val="0090DA"/>
                  </a:solidFill>
                  <a:cs typeface="Times New Roman"/>
                </a:rPr>
                <a:t>t</a:t>
              </a:r>
              <a:r>
                <a:rPr sz="800" spc="45" dirty="0">
                  <a:solidFill>
                    <a:srgbClr val="0090DA"/>
                  </a:solidFill>
                  <a:cs typeface="Times New Roman"/>
                </a:rPr>
                <a:t>y</a:t>
              </a:r>
              <a:endParaRPr sz="800">
                <a:cs typeface="Times New Roman"/>
              </a:endParaRPr>
            </a:p>
          </p:txBody>
        </p:sp>
        <p:sp>
          <p:nvSpPr>
            <p:cNvPr id="127" name="object 117"/>
            <p:cNvSpPr/>
            <p:nvPr/>
          </p:nvSpPr>
          <p:spPr>
            <a:xfrm>
              <a:off x="2845690" y="3020085"/>
              <a:ext cx="795655" cy="605155"/>
            </a:xfrm>
            <a:custGeom>
              <a:avLst/>
              <a:gdLst/>
              <a:ahLst/>
              <a:cxnLst/>
              <a:rect l="l" t="t" r="r" b="b"/>
              <a:pathLst>
                <a:path w="795655" h="605154">
                  <a:moveTo>
                    <a:pt x="0" y="504444"/>
                  </a:moveTo>
                  <a:lnTo>
                    <a:pt x="0" y="100584"/>
                  </a:lnTo>
                  <a:lnTo>
                    <a:pt x="8000" y="61079"/>
                  </a:lnTo>
                  <a:lnTo>
                    <a:pt x="29717" y="29146"/>
                  </a:lnTo>
                  <a:lnTo>
                    <a:pt x="61721" y="7786"/>
                  </a:lnTo>
                  <a:lnTo>
                    <a:pt x="100583" y="0"/>
                  </a:lnTo>
                  <a:lnTo>
                    <a:pt x="694943" y="0"/>
                  </a:lnTo>
                  <a:lnTo>
                    <a:pt x="734448" y="7786"/>
                  </a:lnTo>
                  <a:lnTo>
                    <a:pt x="766381" y="29146"/>
                  </a:lnTo>
                  <a:lnTo>
                    <a:pt x="787741" y="61079"/>
                  </a:lnTo>
                  <a:lnTo>
                    <a:pt x="795527" y="100584"/>
                  </a:lnTo>
                  <a:lnTo>
                    <a:pt x="795527" y="504444"/>
                  </a:lnTo>
                  <a:lnTo>
                    <a:pt x="787741" y="543306"/>
                  </a:lnTo>
                  <a:lnTo>
                    <a:pt x="766381" y="575309"/>
                  </a:lnTo>
                  <a:lnTo>
                    <a:pt x="734448" y="597026"/>
                  </a:lnTo>
                  <a:lnTo>
                    <a:pt x="694943"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28" name="object 118"/>
            <p:cNvSpPr txBox="1"/>
            <p:nvPr/>
          </p:nvSpPr>
          <p:spPr>
            <a:xfrm>
              <a:off x="3076799" y="3052647"/>
              <a:ext cx="335915" cy="123111"/>
            </a:xfrm>
            <a:prstGeom prst="rect">
              <a:avLst/>
            </a:prstGeom>
          </p:spPr>
          <p:txBody>
            <a:bodyPr vert="horz" wrap="square" lIns="0" tIns="0" rIns="0" bIns="0" rtlCol="0">
              <a:spAutoFit/>
            </a:bodyPr>
            <a:lstStyle/>
            <a:p>
              <a:pPr marL="12700">
                <a:lnSpc>
                  <a:spcPct val="100000"/>
                </a:lnSpc>
              </a:pPr>
              <a:r>
                <a:rPr sz="800" spc="60" dirty="0">
                  <a:solidFill>
                    <a:srgbClr val="0090DA"/>
                  </a:solidFill>
                  <a:cs typeface="Times New Roman"/>
                </a:rPr>
                <a:t>Safety</a:t>
              </a:r>
              <a:endParaRPr sz="800">
                <a:cs typeface="Times New Roman"/>
              </a:endParaRPr>
            </a:p>
          </p:txBody>
        </p:sp>
        <p:sp>
          <p:nvSpPr>
            <p:cNvPr id="129" name="object 119"/>
            <p:cNvSpPr/>
            <p:nvPr/>
          </p:nvSpPr>
          <p:spPr>
            <a:xfrm>
              <a:off x="3714370" y="3020085"/>
              <a:ext cx="795655" cy="605155"/>
            </a:xfrm>
            <a:custGeom>
              <a:avLst/>
              <a:gdLst/>
              <a:ahLst/>
              <a:cxnLst/>
              <a:rect l="l" t="t" r="r" b="b"/>
              <a:pathLst>
                <a:path w="795654" h="605154">
                  <a:moveTo>
                    <a:pt x="0" y="504444"/>
                  </a:moveTo>
                  <a:lnTo>
                    <a:pt x="0" y="100584"/>
                  </a:lnTo>
                  <a:lnTo>
                    <a:pt x="8000" y="61079"/>
                  </a:lnTo>
                  <a:lnTo>
                    <a:pt x="29717" y="29146"/>
                  </a:lnTo>
                  <a:lnTo>
                    <a:pt x="61721" y="7786"/>
                  </a:lnTo>
                  <a:lnTo>
                    <a:pt x="100583" y="0"/>
                  </a:lnTo>
                  <a:lnTo>
                    <a:pt x="694943" y="0"/>
                  </a:lnTo>
                  <a:lnTo>
                    <a:pt x="733805" y="7786"/>
                  </a:lnTo>
                  <a:lnTo>
                    <a:pt x="765809" y="29146"/>
                  </a:lnTo>
                  <a:lnTo>
                    <a:pt x="787526" y="61079"/>
                  </a:lnTo>
                  <a:lnTo>
                    <a:pt x="795527" y="100584"/>
                  </a:lnTo>
                  <a:lnTo>
                    <a:pt x="795527" y="504444"/>
                  </a:lnTo>
                  <a:lnTo>
                    <a:pt x="787526" y="543306"/>
                  </a:lnTo>
                  <a:lnTo>
                    <a:pt x="765809" y="575309"/>
                  </a:lnTo>
                  <a:lnTo>
                    <a:pt x="733805" y="597026"/>
                  </a:lnTo>
                  <a:lnTo>
                    <a:pt x="694943"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30" name="object 120"/>
            <p:cNvSpPr txBox="1"/>
            <p:nvPr/>
          </p:nvSpPr>
          <p:spPr>
            <a:xfrm>
              <a:off x="3930269" y="3052647"/>
              <a:ext cx="363220" cy="123111"/>
            </a:xfrm>
            <a:prstGeom prst="rect">
              <a:avLst/>
            </a:prstGeom>
          </p:spPr>
          <p:txBody>
            <a:bodyPr vert="horz" wrap="square" lIns="0" tIns="0" rIns="0" bIns="0" rtlCol="0">
              <a:spAutoFit/>
            </a:bodyPr>
            <a:lstStyle/>
            <a:p>
              <a:pPr marL="12700">
                <a:lnSpc>
                  <a:spcPct val="100000"/>
                </a:lnSpc>
              </a:pPr>
              <a:r>
                <a:rPr sz="800" spc="-10" dirty="0">
                  <a:solidFill>
                    <a:srgbClr val="0090DA"/>
                  </a:solidFill>
                  <a:cs typeface="Times New Roman"/>
                </a:rPr>
                <a:t>E</a:t>
              </a:r>
              <a:r>
                <a:rPr sz="800" spc="85" dirty="0">
                  <a:solidFill>
                    <a:srgbClr val="0090DA"/>
                  </a:solidFill>
                  <a:cs typeface="Times New Roman"/>
                </a:rPr>
                <a:t>ne</a:t>
              </a:r>
              <a:r>
                <a:rPr sz="800" spc="45" dirty="0">
                  <a:solidFill>
                    <a:srgbClr val="0090DA"/>
                  </a:solidFill>
                  <a:cs typeface="Times New Roman"/>
                </a:rPr>
                <a:t>r</a:t>
              </a:r>
              <a:r>
                <a:rPr sz="800" spc="80" dirty="0">
                  <a:solidFill>
                    <a:srgbClr val="0090DA"/>
                  </a:solidFill>
                  <a:cs typeface="Times New Roman"/>
                </a:rPr>
                <a:t>g</a:t>
              </a:r>
              <a:r>
                <a:rPr sz="800" spc="45" dirty="0">
                  <a:solidFill>
                    <a:srgbClr val="0090DA"/>
                  </a:solidFill>
                  <a:cs typeface="Times New Roman"/>
                </a:rPr>
                <a:t>y</a:t>
              </a:r>
              <a:endParaRPr sz="800">
                <a:cs typeface="Times New Roman"/>
              </a:endParaRPr>
            </a:p>
          </p:txBody>
        </p:sp>
        <p:sp>
          <p:nvSpPr>
            <p:cNvPr id="132" name="object 121"/>
            <p:cNvSpPr/>
            <p:nvPr/>
          </p:nvSpPr>
          <p:spPr>
            <a:xfrm>
              <a:off x="4583050" y="3020085"/>
              <a:ext cx="795655" cy="605155"/>
            </a:xfrm>
            <a:custGeom>
              <a:avLst/>
              <a:gdLst/>
              <a:ahLst/>
              <a:cxnLst/>
              <a:rect l="l" t="t" r="r" b="b"/>
              <a:pathLst>
                <a:path w="795654" h="605154">
                  <a:moveTo>
                    <a:pt x="0" y="504444"/>
                  </a:moveTo>
                  <a:lnTo>
                    <a:pt x="0" y="100584"/>
                  </a:lnTo>
                  <a:lnTo>
                    <a:pt x="7786" y="61079"/>
                  </a:lnTo>
                  <a:lnTo>
                    <a:pt x="29146" y="29146"/>
                  </a:lnTo>
                  <a:lnTo>
                    <a:pt x="61079" y="7786"/>
                  </a:lnTo>
                  <a:lnTo>
                    <a:pt x="100583" y="0"/>
                  </a:lnTo>
                  <a:lnTo>
                    <a:pt x="694943" y="0"/>
                  </a:lnTo>
                  <a:lnTo>
                    <a:pt x="733805" y="7786"/>
                  </a:lnTo>
                  <a:lnTo>
                    <a:pt x="765809" y="29146"/>
                  </a:lnTo>
                  <a:lnTo>
                    <a:pt x="787526" y="61079"/>
                  </a:lnTo>
                  <a:lnTo>
                    <a:pt x="795527" y="100584"/>
                  </a:lnTo>
                  <a:lnTo>
                    <a:pt x="795527" y="504444"/>
                  </a:lnTo>
                  <a:lnTo>
                    <a:pt x="787526" y="543306"/>
                  </a:lnTo>
                  <a:lnTo>
                    <a:pt x="765809" y="575309"/>
                  </a:lnTo>
                  <a:lnTo>
                    <a:pt x="733805" y="597026"/>
                  </a:lnTo>
                  <a:lnTo>
                    <a:pt x="694943"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137" name="object 122"/>
            <p:cNvSpPr txBox="1"/>
            <p:nvPr/>
          </p:nvSpPr>
          <p:spPr>
            <a:xfrm>
              <a:off x="4742446" y="3052647"/>
              <a:ext cx="476250" cy="123111"/>
            </a:xfrm>
            <a:prstGeom prst="rect">
              <a:avLst/>
            </a:prstGeom>
          </p:spPr>
          <p:txBody>
            <a:bodyPr vert="horz" wrap="square" lIns="0" tIns="0" rIns="0" bIns="0" rtlCol="0">
              <a:spAutoFit/>
            </a:bodyPr>
            <a:lstStyle/>
            <a:p>
              <a:pPr marL="12700">
                <a:lnSpc>
                  <a:spcPct val="100000"/>
                </a:lnSpc>
              </a:pPr>
              <a:r>
                <a:rPr sz="800" dirty="0">
                  <a:solidFill>
                    <a:srgbClr val="0090DA"/>
                  </a:solidFill>
                  <a:cs typeface="Times New Roman"/>
                </a:rPr>
                <a:t>B</a:t>
              </a:r>
              <a:r>
                <a:rPr sz="800" spc="80" dirty="0">
                  <a:solidFill>
                    <a:srgbClr val="0090DA"/>
                  </a:solidFill>
                  <a:cs typeface="Times New Roman"/>
                </a:rPr>
                <a:t>u</a:t>
              </a:r>
              <a:r>
                <a:rPr sz="800" dirty="0">
                  <a:solidFill>
                    <a:srgbClr val="0090DA"/>
                  </a:solidFill>
                  <a:cs typeface="Times New Roman"/>
                </a:rPr>
                <a:t>i</a:t>
              </a:r>
              <a:r>
                <a:rPr sz="800" spc="-10" dirty="0">
                  <a:solidFill>
                    <a:srgbClr val="0090DA"/>
                  </a:solidFill>
                  <a:cs typeface="Times New Roman"/>
                </a:rPr>
                <a:t>l</a:t>
              </a:r>
              <a:r>
                <a:rPr sz="800" spc="80" dirty="0">
                  <a:solidFill>
                    <a:srgbClr val="0090DA"/>
                  </a:solidFill>
                  <a:cs typeface="Times New Roman"/>
                </a:rPr>
                <a:t>d</a:t>
              </a:r>
              <a:r>
                <a:rPr sz="800" dirty="0">
                  <a:solidFill>
                    <a:srgbClr val="0090DA"/>
                  </a:solidFill>
                  <a:cs typeface="Times New Roman"/>
                </a:rPr>
                <a:t>i</a:t>
              </a:r>
              <a:r>
                <a:rPr sz="800" spc="80" dirty="0">
                  <a:solidFill>
                    <a:srgbClr val="0090DA"/>
                  </a:solidFill>
                  <a:cs typeface="Times New Roman"/>
                </a:rPr>
                <a:t>n</a:t>
              </a:r>
              <a:r>
                <a:rPr sz="800" spc="85" dirty="0">
                  <a:solidFill>
                    <a:srgbClr val="0090DA"/>
                  </a:solidFill>
                  <a:cs typeface="Times New Roman"/>
                </a:rPr>
                <a:t>g</a:t>
              </a:r>
              <a:r>
                <a:rPr sz="800" spc="90" dirty="0">
                  <a:solidFill>
                    <a:srgbClr val="0090DA"/>
                  </a:solidFill>
                  <a:cs typeface="Times New Roman"/>
                </a:rPr>
                <a:t>s</a:t>
              </a:r>
              <a:endParaRPr sz="800">
                <a:cs typeface="Times New Roman"/>
              </a:endParaRPr>
            </a:p>
          </p:txBody>
        </p:sp>
        <p:sp>
          <p:nvSpPr>
            <p:cNvPr id="138" name="object 123"/>
            <p:cNvSpPr/>
            <p:nvPr/>
          </p:nvSpPr>
          <p:spPr>
            <a:xfrm>
              <a:off x="5451730" y="3020085"/>
              <a:ext cx="794385" cy="605155"/>
            </a:xfrm>
            <a:custGeom>
              <a:avLst/>
              <a:gdLst/>
              <a:ahLst/>
              <a:cxnLst/>
              <a:rect l="l" t="t" r="r" b="b"/>
              <a:pathLst>
                <a:path w="794385" h="605154">
                  <a:moveTo>
                    <a:pt x="0" y="504444"/>
                  </a:moveTo>
                  <a:lnTo>
                    <a:pt x="0" y="100584"/>
                  </a:lnTo>
                  <a:lnTo>
                    <a:pt x="7786" y="61079"/>
                  </a:lnTo>
                  <a:lnTo>
                    <a:pt x="29146" y="29146"/>
                  </a:lnTo>
                  <a:lnTo>
                    <a:pt x="61079" y="7786"/>
                  </a:lnTo>
                  <a:lnTo>
                    <a:pt x="100583" y="0"/>
                  </a:lnTo>
                  <a:lnTo>
                    <a:pt x="693420" y="0"/>
                  </a:lnTo>
                  <a:lnTo>
                    <a:pt x="732924" y="7786"/>
                  </a:lnTo>
                  <a:lnTo>
                    <a:pt x="764857" y="29146"/>
                  </a:lnTo>
                  <a:lnTo>
                    <a:pt x="786217" y="61079"/>
                  </a:lnTo>
                  <a:lnTo>
                    <a:pt x="794004" y="100584"/>
                  </a:lnTo>
                  <a:lnTo>
                    <a:pt x="794004" y="504444"/>
                  </a:lnTo>
                  <a:lnTo>
                    <a:pt x="786217" y="543306"/>
                  </a:lnTo>
                  <a:lnTo>
                    <a:pt x="764857" y="575309"/>
                  </a:lnTo>
                  <a:lnTo>
                    <a:pt x="732924" y="597026"/>
                  </a:lnTo>
                  <a:lnTo>
                    <a:pt x="693420"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139" name="object 124"/>
            <p:cNvSpPr txBox="1"/>
            <p:nvPr/>
          </p:nvSpPr>
          <p:spPr>
            <a:xfrm>
              <a:off x="5678231" y="3052647"/>
              <a:ext cx="341630" cy="123111"/>
            </a:xfrm>
            <a:prstGeom prst="rect">
              <a:avLst/>
            </a:prstGeom>
          </p:spPr>
          <p:txBody>
            <a:bodyPr vert="horz" wrap="square" lIns="0" tIns="0" rIns="0" bIns="0" rtlCol="0">
              <a:spAutoFit/>
            </a:bodyPr>
            <a:lstStyle/>
            <a:p>
              <a:pPr marL="12700">
                <a:lnSpc>
                  <a:spcPct val="100000"/>
                </a:lnSpc>
              </a:pPr>
              <a:r>
                <a:rPr sz="800" spc="-5" dirty="0">
                  <a:solidFill>
                    <a:srgbClr val="0090DA"/>
                  </a:solidFill>
                  <a:cs typeface="Times New Roman"/>
                </a:rPr>
                <a:t>H</a:t>
              </a:r>
              <a:r>
                <a:rPr sz="800" spc="85" dirty="0">
                  <a:solidFill>
                    <a:srgbClr val="0090DA"/>
                  </a:solidFill>
                  <a:cs typeface="Times New Roman"/>
                </a:rPr>
                <a:t>ea</a:t>
              </a:r>
              <a:r>
                <a:rPr sz="800" spc="-10" dirty="0">
                  <a:solidFill>
                    <a:srgbClr val="0090DA"/>
                  </a:solidFill>
                  <a:cs typeface="Times New Roman"/>
                </a:rPr>
                <a:t>l</a:t>
              </a:r>
              <a:r>
                <a:rPr sz="800" spc="90" dirty="0">
                  <a:solidFill>
                    <a:srgbClr val="0090DA"/>
                  </a:solidFill>
                  <a:cs typeface="Times New Roman"/>
                </a:rPr>
                <a:t>th</a:t>
              </a:r>
              <a:endParaRPr sz="800">
                <a:cs typeface="Times New Roman"/>
              </a:endParaRPr>
            </a:p>
          </p:txBody>
        </p:sp>
        <p:sp>
          <p:nvSpPr>
            <p:cNvPr id="140" name="object 125"/>
            <p:cNvSpPr/>
            <p:nvPr/>
          </p:nvSpPr>
          <p:spPr>
            <a:xfrm>
              <a:off x="6320410" y="3020085"/>
              <a:ext cx="794385" cy="605155"/>
            </a:xfrm>
            <a:custGeom>
              <a:avLst/>
              <a:gdLst/>
              <a:ahLst/>
              <a:cxnLst/>
              <a:rect l="l" t="t" r="r" b="b"/>
              <a:pathLst>
                <a:path w="794385" h="605154">
                  <a:moveTo>
                    <a:pt x="0" y="504444"/>
                  </a:moveTo>
                  <a:lnTo>
                    <a:pt x="0" y="100584"/>
                  </a:lnTo>
                  <a:lnTo>
                    <a:pt x="8000" y="61079"/>
                  </a:lnTo>
                  <a:lnTo>
                    <a:pt x="29717" y="29146"/>
                  </a:lnTo>
                  <a:lnTo>
                    <a:pt x="61721" y="7786"/>
                  </a:lnTo>
                  <a:lnTo>
                    <a:pt x="100583" y="0"/>
                  </a:lnTo>
                  <a:lnTo>
                    <a:pt x="693420" y="0"/>
                  </a:lnTo>
                  <a:lnTo>
                    <a:pt x="732924" y="7786"/>
                  </a:lnTo>
                  <a:lnTo>
                    <a:pt x="764857" y="29146"/>
                  </a:lnTo>
                  <a:lnTo>
                    <a:pt x="786217" y="61079"/>
                  </a:lnTo>
                  <a:lnTo>
                    <a:pt x="794004" y="100584"/>
                  </a:lnTo>
                  <a:lnTo>
                    <a:pt x="794004" y="504444"/>
                  </a:lnTo>
                  <a:lnTo>
                    <a:pt x="786217" y="543306"/>
                  </a:lnTo>
                  <a:lnTo>
                    <a:pt x="764857" y="575309"/>
                  </a:lnTo>
                  <a:lnTo>
                    <a:pt x="732924" y="597026"/>
                  </a:lnTo>
                  <a:lnTo>
                    <a:pt x="69342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41" name="object 126"/>
            <p:cNvSpPr txBox="1"/>
            <p:nvPr/>
          </p:nvSpPr>
          <p:spPr>
            <a:xfrm>
              <a:off x="6463171" y="3052647"/>
              <a:ext cx="508634" cy="123111"/>
            </a:xfrm>
            <a:prstGeom prst="rect">
              <a:avLst/>
            </a:prstGeom>
          </p:spPr>
          <p:txBody>
            <a:bodyPr vert="horz" wrap="square" lIns="0" tIns="0" rIns="0" bIns="0" rtlCol="0">
              <a:spAutoFit/>
            </a:bodyPr>
            <a:lstStyle/>
            <a:p>
              <a:pPr marL="12700">
                <a:lnSpc>
                  <a:spcPct val="100000"/>
                </a:lnSpc>
              </a:pPr>
              <a:r>
                <a:rPr sz="800" spc="-10" dirty="0">
                  <a:solidFill>
                    <a:srgbClr val="0090DA"/>
                  </a:solidFill>
                  <a:cs typeface="Times New Roman"/>
                </a:rPr>
                <a:t>E</a:t>
              </a:r>
              <a:r>
                <a:rPr sz="800" spc="85" dirty="0">
                  <a:solidFill>
                    <a:srgbClr val="0090DA"/>
                  </a:solidFill>
                  <a:cs typeface="Times New Roman"/>
                </a:rPr>
                <a:t>d</a:t>
              </a:r>
              <a:r>
                <a:rPr sz="800" spc="80" dirty="0">
                  <a:solidFill>
                    <a:srgbClr val="0090DA"/>
                  </a:solidFill>
                  <a:cs typeface="Times New Roman"/>
                </a:rPr>
                <a:t>u</a:t>
              </a:r>
              <a:r>
                <a:rPr sz="800" spc="35" dirty="0">
                  <a:solidFill>
                    <a:srgbClr val="0090DA"/>
                  </a:solidFill>
                  <a:cs typeface="Times New Roman"/>
                </a:rPr>
                <a:t>c</a:t>
              </a:r>
              <a:r>
                <a:rPr sz="800" spc="85" dirty="0">
                  <a:solidFill>
                    <a:srgbClr val="0090DA"/>
                  </a:solidFill>
                  <a:cs typeface="Times New Roman"/>
                </a:rPr>
                <a:t>a</a:t>
              </a:r>
              <a:r>
                <a:rPr sz="800" spc="90" dirty="0">
                  <a:solidFill>
                    <a:srgbClr val="0090DA"/>
                  </a:solidFill>
                  <a:cs typeface="Times New Roman"/>
                </a:rPr>
                <a:t>t</a:t>
              </a:r>
              <a:r>
                <a:rPr sz="800" dirty="0">
                  <a:solidFill>
                    <a:srgbClr val="0090DA"/>
                  </a:solidFill>
                  <a:cs typeface="Times New Roman"/>
                </a:rPr>
                <a:t>i</a:t>
              </a:r>
              <a:r>
                <a:rPr sz="800" spc="80" dirty="0">
                  <a:solidFill>
                    <a:srgbClr val="0090DA"/>
                  </a:solidFill>
                  <a:cs typeface="Times New Roman"/>
                </a:rPr>
                <a:t>o</a:t>
              </a:r>
              <a:r>
                <a:rPr sz="800" spc="90" dirty="0">
                  <a:solidFill>
                    <a:srgbClr val="0090DA"/>
                  </a:solidFill>
                  <a:cs typeface="Times New Roman"/>
                </a:rPr>
                <a:t>n</a:t>
              </a:r>
              <a:endParaRPr sz="800">
                <a:cs typeface="Times New Roman"/>
              </a:endParaRPr>
            </a:p>
          </p:txBody>
        </p:sp>
        <p:sp>
          <p:nvSpPr>
            <p:cNvPr id="142" name="object 127"/>
            <p:cNvSpPr/>
            <p:nvPr/>
          </p:nvSpPr>
          <p:spPr>
            <a:xfrm>
              <a:off x="7189090" y="3020085"/>
              <a:ext cx="794385" cy="605155"/>
            </a:xfrm>
            <a:custGeom>
              <a:avLst/>
              <a:gdLst/>
              <a:ahLst/>
              <a:cxnLst/>
              <a:rect l="l" t="t" r="r" b="b"/>
              <a:pathLst>
                <a:path w="794384" h="605154">
                  <a:moveTo>
                    <a:pt x="0" y="504444"/>
                  </a:moveTo>
                  <a:lnTo>
                    <a:pt x="0" y="100584"/>
                  </a:lnTo>
                  <a:lnTo>
                    <a:pt x="8000" y="61079"/>
                  </a:lnTo>
                  <a:lnTo>
                    <a:pt x="29717" y="29146"/>
                  </a:lnTo>
                  <a:lnTo>
                    <a:pt x="61721" y="7786"/>
                  </a:lnTo>
                  <a:lnTo>
                    <a:pt x="100583" y="0"/>
                  </a:lnTo>
                  <a:lnTo>
                    <a:pt x="693420" y="0"/>
                  </a:lnTo>
                  <a:lnTo>
                    <a:pt x="732924" y="7786"/>
                  </a:lnTo>
                  <a:lnTo>
                    <a:pt x="764857" y="29146"/>
                  </a:lnTo>
                  <a:lnTo>
                    <a:pt x="786217" y="61079"/>
                  </a:lnTo>
                  <a:lnTo>
                    <a:pt x="794004" y="100584"/>
                  </a:lnTo>
                  <a:lnTo>
                    <a:pt x="794004" y="504444"/>
                  </a:lnTo>
                  <a:lnTo>
                    <a:pt x="786217" y="543306"/>
                  </a:lnTo>
                  <a:lnTo>
                    <a:pt x="764857" y="575309"/>
                  </a:lnTo>
                  <a:lnTo>
                    <a:pt x="732924" y="597026"/>
                  </a:lnTo>
                  <a:lnTo>
                    <a:pt x="69342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45" name="object 128"/>
            <p:cNvSpPr txBox="1"/>
            <p:nvPr/>
          </p:nvSpPr>
          <p:spPr>
            <a:xfrm>
              <a:off x="7372994" y="3052647"/>
              <a:ext cx="425450" cy="123111"/>
            </a:xfrm>
            <a:prstGeom prst="rect">
              <a:avLst/>
            </a:prstGeom>
          </p:spPr>
          <p:txBody>
            <a:bodyPr vert="horz" wrap="square" lIns="0" tIns="0" rIns="0" bIns="0" rtlCol="0">
              <a:spAutoFit/>
            </a:bodyPr>
            <a:lstStyle/>
            <a:p>
              <a:pPr marL="12700">
                <a:lnSpc>
                  <a:spcPct val="100000"/>
                </a:lnSpc>
              </a:pPr>
              <a:r>
                <a:rPr sz="800" spc="-10" dirty="0">
                  <a:solidFill>
                    <a:srgbClr val="0090DA"/>
                  </a:solidFill>
                  <a:cs typeface="Times New Roman"/>
                </a:rPr>
                <a:t>T</a:t>
              </a:r>
              <a:r>
                <a:rPr sz="800" spc="85" dirty="0">
                  <a:solidFill>
                    <a:srgbClr val="0090DA"/>
                  </a:solidFill>
                  <a:cs typeface="Times New Roman"/>
                </a:rPr>
                <a:t>o</a:t>
              </a:r>
              <a:r>
                <a:rPr sz="800" spc="80" dirty="0">
                  <a:solidFill>
                    <a:srgbClr val="0090DA"/>
                  </a:solidFill>
                  <a:cs typeface="Times New Roman"/>
                </a:rPr>
                <a:t>u</a:t>
              </a:r>
              <a:r>
                <a:rPr sz="800" spc="35" dirty="0">
                  <a:solidFill>
                    <a:srgbClr val="0090DA"/>
                  </a:solidFill>
                  <a:cs typeface="Times New Roman"/>
                </a:rPr>
                <a:t>r</a:t>
              </a:r>
              <a:r>
                <a:rPr sz="800" spc="5" dirty="0">
                  <a:solidFill>
                    <a:srgbClr val="0090DA"/>
                  </a:solidFill>
                  <a:cs typeface="Times New Roman"/>
                </a:rPr>
                <a:t>i</a:t>
              </a:r>
              <a:r>
                <a:rPr sz="800" spc="80" dirty="0">
                  <a:solidFill>
                    <a:srgbClr val="0090DA"/>
                  </a:solidFill>
                  <a:cs typeface="Times New Roman"/>
                </a:rPr>
                <a:t>s</a:t>
              </a:r>
              <a:r>
                <a:rPr sz="800" spc="135" dirty="0">
                  <a:solidFill>
                    <a:srgbClr val="0090DA"/>
                  </a:solidFill>
                  <a:cs typeface="Times New Roman"/>
                </a:rPr>
                <a:t>m</a:t>
              </a:r>
              <a:endParaRPr sz="800">
                <a:cs typeface="Times New Roman"/>
              </a:endParaRPr>
            </a:p>
          </p:txBody>
        </p:sp>
        <p:sp>
          <p:nvSpPr>
            <p:cNvPr id="146" name="object 129"/>
            <p:cNvSpPr/>
            <p:nvPr/>
          </p:nvSpPr>
          <p:spPr>
            <a:xfrm>
              <a:off x="8057770" y="3020085"/>
              <a:ext cx="794385" cy="605155"/>
            </a:xfrm>
            <a:custGeom>
              <a:avLst/>
              <a:gdLst/>
              <a:ahLst/>
              <a:cxnLst/>
              <a:rect l="l" t="t" r="r" b="b"/>
              <a:pathLst>
                <a:path w="794384" h="605154">
                  <a:moveTo>
                    <a:pt x="0" y="504444"/>
                  </a:moveTo>
                  <a:lnTo>
                    <a:pt x="0" y="100584"/>
                  </a:lnTo>
                  <a:lnTo>
                    <a:pt x="8000" y="61079"/>
                  </a:lnTo>
                  <a:lnTo>
                    <a:pt x="29717" y="29146"/>
                  </a:lnTo>
                  <a:lnTo>
                    <a:pt x="61721" y="7786"/>
                  </a:lnTo>
                  <a:lnTo>
                    <a:pt x="100583" y="0"/>
                  </a:lnTo>
                  <a:lnTo>
                    <a:pt x="693420" y="0"/>
                  </a:lnTo>
                  <a:lnTo>
                    <a:pt x="732282" y="7786"/>
                  </a:lnTo>
                  <a:lnTo>
                    <a:pt x="764286" y="29146"/>
                  </a:lnTo>
                  <a:lnTo>
                    <a:pt x="786003" y="61079"/>
                  </a:lnTo>
                  <a:lnTo>
                    <a:pt x="794004" y="100584"/>
                  </a:lnTo>
                  <a:lnTo>
                    <a:pt x="794004" y="504444"/>
                  </a:lnTo>
                  <a:lnTo>
                    <a:pt x="786003" y="543306"/>
                  </a:lnTo>
                  <a:lnTo>
                    <a:pt x="764286" y="575309"/>
                  </a:lnTo>
                  <a:lnTo>
                    <a:pt x="732282" y="597026"/>
                  </a:lnTo>
                  <a:lnTo>
                    <a:pt x="693420" y="605027"/>
                  </a:lnTo>
                  <a:lnTo>
                    <a:pt x="100584" y="605027"/>
                  </a:lnTo>
                  <a:lnTo>
                    <a:pt x="61722" y="597026"/>
                  </a:lnTo>
                  <a:lnTo>
                    <a:pt x="29718" y="575309"/>
                  </a:lnTo>
                  <a:lnTo>
                    <a:pt x="8001" y="543306"/>
                  </a:lnTo>
                  <a:lnTo>
                    <a:pt x="0" y="504444"/>
                  </a:lnTo>
                  <a:close/>
                </a:path>
              </a:pathLst>
            </a:custGeom>
            <a:solidFill>
              <a:srgbClr val="FFFFFF"/>
            </a:solidFill>
          </p:spPr>
          <p:txBody>
            <a:bodyPr wrap="square" lIns="0" tIns="0" rIns="0" bIns="0" rtlCol="0"/>
            <a:lstStyle/>
            <a:p>
              <a:endParaRPr/>
            </a:p>
          </p:txBody>
        </p:sp>
        <p:sp>
          <p:nvSpPr>
            <p:cNvPr id="147" name="object 130"/>
            <p:cNvSpPr txBox="1"/>
            <p:nvPr/>
          </p:nvSpPr>
          <p:spPr>
            <a:xfrm>
              <a:off x="8304159" y="3052647"/>
              <a:ext cx="302260" cy="123111"/>
            </a:xfrm>
            <a:prstGeom prst="rect">
              <a:avLst/>
            </a:prstGeom>
          </p:spPr>
          <p:txBody>
            <a:bodyPr vert="horz" wrap="square" lIns="0" tIns="0" rIns="0" bIns="0" rtlCol="0">
              <a:spAutoFit/>
            </a:bodyPr>
            <a:lstStyle/>
            <a:p>
              <a:pPr marL="12700">
                <a:lnSpc>
                  <a:spcPct val="100000"/>
                </a:lnSpc>
              </a:pPr>
              <a:r>
                <a:rPr sz="800" dirty="0">
                  <a:solidFill>
                    <a:srgbClr val="0090DA"/>
                  </a:solidFill>
                  <a:cs typeface="Times New Roman"/>
                </a:rPr>
                <a:t>R</a:t>
              </a:r>
              <a:r>
                <a:rPr sz="800" spc="75" dirty="0">
                  <a:solidFill>
                    <a:srgbClr val="0090DA"/>
                  </a:solidFill>
                  <a:cs typeface="Times New Roman"/>
                </a:rPr>
                <a:t>e</a:t>
              </a:r>
              <a:r>
                <a:rPr sz="800" spc="90" dirty="0">
                  <a:solidFill>
                    <a:srgbClr val="0090DA"/>
                  </a:solidFill>
                  <a:cs typeface="Times New Roman"/>
                </a:rPr>
                <a:t>t</a:t>
              </a:r>
              <a:r>
                <a:rPr sz="800" spc="85" dirty="0">
                  <a:solidFill>
                    <a:srgbClr val="0090DA"/>
                  </a:solidFill>
                  <a:cs typeface="Times New Roman"/>
                </a:rPr>
                <a:t>a</a:t>
              </a:r>
              <a:r>
                <a:rPr sz="800" dirty="0">
                  <a:solidFill>
                    <a:srgbClr val="0090DA"/>
                  </a:solidFill>
                  <a:cs typeface="Times New Roman"/>
                </a:rPr>
                <a:t>il</a:t>
              </a:r>
              <a:endParaRPr sz="800">
                <a:cs typeface="Times New Roman"/>
              </a:endParaRPr>
            </a:p>
          </p:txBody>
        </p:sp>
        <p:sp>
          <p:nvSpPr>
            <p:cNvPr id="148" name="object 131"/>
            <p:cNvSpPr/>
            <p:nvPr/>
          </p:nvSpPr>
          <p:spPr>
            <a:xfrm>
              <a:off x="8926450" y="3020085"/>
              <a:ext cx="794385" cy="605155"/>
            </a:xfrm>
            <a:custGeom>
              <a:avLst/>
              <a:gdLst/>
              <a:ahLst/>
              <a:cxnLst/>
              <a:rect l="l" t="t" r="r" b="b"/>
              <a:pathLst>
                <a:path w="794384" h="605154">
                  <a:moveTo>
                    <a:pt x="0" y="504444"/>
                  </a:moveTo>
                  <a:lnTo>
                    <a:pt x="0" y="100584"/>
                  </a:lnTo>
                  <a:lnTo>
                    <a:pt x="7786" y="61079"/>
                  </a:lnTo>
                  <a:lnTo>
                    <a:pt x="29146" y="29146"/>
                  </a:lnTo>
                  <a:lnTo>
                    <a:pt x="61079" y="7786"/>
                  </a:lnTo>
                  <a:lnTo>
                    <a:pt x="100583" y="0"/>
                  </a:lnTo>
                  <a:lnTo>
                    <a:pt x="693420" y="0"/>
                  </a:lnTo>
                  <a:lnTo>
                    <a:pt x="732282" y="7786"/>
                  </a:lnTo>
                  <a:lnTo>
                    <a:pt x="764286" y="29146"/>
                  </a:lnTo>
                  <a:lnTo>
                    <a:pt x="786003" y="61079"/>
                  </a:lnTo>
                  <a:lnTo>
                    <a:pt x="794004" y="100584"/>
                  </a:lnTo>
                  <a:lnTo>
                    <a:pt x="794004" y="504444"/>
                  </a:lnTo>
                  <a:lnTo>
                    <a:pt x="786003" y="543306"/>
                  </a:lnTo>
                  <a:lnTo>
                    <a:pt x="764286" y="575309"/>
                  </a:lnTo>
                  <a:lnTo>
                    <a:pt x="732282" y="597026"/>
                  </a:lnTo>
                  <a:lnTo>
                    <a:pt x="693420"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149" name="object 132"/>
            <p:cNvSpPr txBox="1"/>
            <p:nvPr/>
          </p:nvSpPr>
          <p:spPr>
            <a:xfrm>
              <a:off x="8997605" y="3052647"/>
              <a:ext cx="650240" cy="123111"/>
            </a:xfrm>
            <a:prstGeom prst="rect">
              <a:avLst/>
            </a:prstGeom>
          </p:spPr>
          <p:txBody>
            <a:bodyPr vert="horz" wrap="square" lIns="0" tIns="0" rIns="0" bIns="0" rtlCol="0">
              <a:spAutoFit/>
            </a:bodyPr>
            <a:lstStyle/>
            <a:p>
              <a:pPr marL="12700">
                <a:lnSpc>
                  <a:spcPct val="100000"/>
                </a:lnSpc>
              </a:pPr>
              <a:r>
                <a:rPr sz="800" spc="-10" dirty="0">
                  <a:solidFill>
                    <a:srgbClr val="0090DA"/>
                  </a:solidFill>
                  <a:cs typeface="Times New Roman"/>
                </a:rPr>
                <a:t>E</a:t>
              </a:r>
              <a:r>
                <a:rPr sz="800" spc="85" dirty="0">
                  <a:solidFill>
                    <a:srgbClr val="0090DA"/>
                  </a:solidFill>
                  <a:cs typeface="Times New Roman"/>
                </a:rPr>
                <a:t>n</a:t>
              </a:r>
              <a:r>
                <a:rPr sz="800" spc="40" dirty="0">
                  <a:solidFill>
                    <a:srgbClr val="0090DA"/>
                  </a:solidFill>
                  <a:cs typeface="Times New Roman"/>
                </a:rPr>
                <a:t>v</a:t>
              </a:r>
              <a:r>
                <a:rPr sz="800" spc="-10" dirty="0">
                  <a:solidFill>
                    <a:srgbClr val="0090DA"/>
                  </a:solidFill>
                  <a:cs typeface="Times New Roman"/>
                </a:rPr>
                <a:t>i</a:t>
              </a:r>
              <a:r>
                <a:rPr sz="800" spc="45" dirty="0">
                  <a:solidFill>
                    <a:srgbClr val="0090DA"/>
                  </a:solidFill>
                  <a:cs typeface="Times New Roman"/>
                </a:rPr>
                <a:t>r</a:t>
              </a:r>
              <a:r>
                <a:rPr sz="800" spc="85" dirty="0">
                  <a:solidFill>
                    <a:srgbClr val="0090DA"/>
                  </a:solidFill>
                  <a:cs typeface="Times New Roman"/>
                </a:rPr>
                <a:t>o</a:t>
              </a:r>
              <a:r>
                <a:rPr sz="800" spc="80" dirty="0">
                  <a:solidFill>
                    <a:srgbClr val="0090DA"/>
                  </a:solidFill>
                  <a:cs typeface="Times New Roman"/>
                </a:rPr>
                <a:t>n</a:t>
              </a:r>
              <a:r>
                <a:rPr sz="800" spc="130" dirty="0">
                  <a:solidFill>
                    <a:srgbClr val="0090DA"/>
                  </a:solidFill>
                  <a:cs typeface="Times New Roman"/>
                </a:rPr>
                <a:t>m</a:t>
              </a:r>
              <a:r>
                <a:rPr sz="800" spc="85" dirty="0">
                  <a:solidFill>
                    <a:srgbClr val="0090DA"/>
                  </a:solidFill>
                  <a:cs typeface="Times New Roman"/>
                </a:rPr>
                <a:t>en</a:t>
              </a:r>
              <a:r>
                <a:rPr sz="800" spc="90" dirty="0">
                  <a:solidFill>
                    <a:srgbClr val="0090DA"/>
                  </a:solidFill>
                  <a:cs typeface="Times New Roman"/>
                </a:rPr>
                <a:t>t</a:t>
              </a:r>
              <a:endParaRPr sz="800">
                <a:cs typeface="Times New Roman"/>
              </a:endParaRPr>
            </a:p>
          </p:txBody>
        </p:sp>
        <p:sp>
          <p:nvSpPr>
            <p:cNvPr id="150" name="object 133"/>
            <p:cNvSpPr/>
            <p:nvPr/>
          </p:nvSpPr>
          <p:spPr>
            <a:xfrm>
              <a:off x="9795130" y="3020085"/>
              <a:ext cx="794385" cy="605155"/>
            </a:xfrm>
            <a:custGeom>
              <a:avLst/>
              <a:gdLst/>
              <a:ahLst/>
              <a:cxnLst/>
              <a:rect l="l" t="t" r="r" b="b"/>
              <a:pathLst>
                <a:path w="794384" h="605154">
                  <a:moveTo>
                    <a:pt x="0" y="504444"/>
                  </a:moveTo>
                  <a:lnTo>
                    <a:pt x="0" y="100584"/>
                  </a:lnTo>
                  <a:lnTo>
                    <a:pt x="7786" y="61079"/>
                  </a:lnTo>
                  <a:lnTo>
                    <a:pt x="29146" y="29146"/>
                  </a:lnTo>
                  <a:lnTo>
                    <a:pt x="61079" y="7786"/>
                  </a:lnTo>
                  <a:lnTo>
                    <a:pt x="100583" y="0"/>
                  </a:lnTo>
                  <a:lnTo>
                    <a:pt x="693420" y="0"/>
                  </a:lnTo>
                  <a:lnTo>
                    <a:pt x="732924" y="7786"/>
                  </a:lnTo>
                  <a:lnTo>
                    <a:pt x="764857" y="29146"/>
                  </a:lnTo>
                  <a:lnTo>
                    <a:pt x="786217" y="61079"/>
                  </a:lnTo>
                  <a:lnTo>
                    <a:pt x="794004" y="100584"/>
                  </a:lnTo>
                  <a:lnTo>
                    <a:pt x="794004" y="504444"/>
                  </a:lnTo>
                  <a:lnTo>
                    <a:pt x="786217" y="543306"/>
                  </a:lnTo>
                  <a:lnTo>
                    <a:pt x="764857" y="575309"/>
                  </a:lnTo>
                  <a:lnTo>
                    <a:pt x="732924" y="597026"/>
                  </a:lnTo>
                  <a:lnTo>
                    <a:pt x="693420" y="605027"/>
                  </a:lnTo>
                  <a:lnTo>
                    <a:pt x="100584" y="605027"/>
                  </a:lnTo>
                  <a:lnTo>
                    <a:pt x="61079" y="597026"/>
                  </a:lnTo>
                  <a:lnTo>
                    <a:pt x="29146" y="575309"/>
                  </a:lnTo>
                  <a:lnTo>
                    <a:pt x="7786" y="543306"/>
                  </a:lnTo>
                  <a:lnTo>
                    <a:pt x="0" y="504444"/>
                  </a:lnTo>
                  <a:close/>
                </a:path>
              </a:pathLst>
            </a:custGeom>
            <a:solidFill>
              <a:srgbClr val="FFFFFF"/>
            </a:solidFill>
          </p:spPr>
          <p:txBody>
            <a:bodyPr wrap="square" lIns="0" tIns="0" rIns="0" bIns="0" rtlCol="0"/>
            <a:lstStyle/>
            <a:p>
              <a:endParaRPr/>
            </a:p>
          </p:txBody>
        </p:sp>
        <p:sp>
          <p:nvSpPr>
            <p:cNvPr id="151" name="object 134"/>
            <p:cNvSpPr txBox="1"/>
            <p:nvPr/>
          </p:nvSpPr>
          <p:spPr>
            <a:xfrm>
              <a:off x="9875364" y="3052647"/>
              <a:ext cx="634365" cy="123111"/>
            </a:xfrm>
            <a:prstGeom prst="rect">
              <a:avLst/>
            </a:prstGeom>
          </p:spPr>
          <p:txBody>
            <a:bodyPr vert="horz" wrap="square" lIns="0" tIns="0" rIns="0" bIns="0" rtlCol="0">
              <a:spAutoFit/>
            </a:bodyPr>
            <a:lstStyle/>
            <a:p>
              <a:pPr marL="12700">
                <a:lnSpc>
                  <a:spcPct val="100000"/>
                </a:lnSpc>
              </a:pPr>
              <a:r>
                <a:rPr sz="800" spc="75" dirty="0">
                  <a:solidFill>
                    <a:srgbClr val="0090DA"/>
                  </a:solidFill>
                  <a:cs typeface="Times New Roman"/>
                </a:rPr>
                <a:t>Government</a:t>
              </a:r>
              <a:endParaRPr sz="800">
                <a:cs typeface="Times New Roman"/>
              </a:endParaRPr>
            </a:p>
          </p:txBody>
        </p:sp>
        <p:sp>
          <p:nvSpPr>
            <p:cNvPr id="152" name="object 135"/>
            <p:cNvSpPr/>
            <p:nvPr/>
          </p:nvSpPr>
          <p:spPr>
            <a:xfrm>
              <a:off x="5710429" y="3265449"/>
              <a:ext cx="276225" cy="275590"/>
            </a:xfrm>
            <a:custGeom>
              <a:avLst/>
              <a:gdLst/>
              <a:ahLst/>
              <a:cxnLst/>
              <a:rect l="l" t="t" r="r" b="b"/>
              <a:pathLst>
                <a:path w="276225" h="275589">
                  <a:moveTo>
                    <a:pt x="0" y="217360"/>
                  </a:moveTo>
                  <a:lnTo>
                    <a:pt x="17145" y="176783"/>
                  </a:lnTo>
                  <a:lnTo>
                    <a:pt x="175641" y="18287"/>
                  </a:lnTo>
                  <a:lnTo>
                    <a:pt x="217360" y="0"/>
                  </a:lnTo>
                  <a:lnTo>
                    <a:pt x="238863" y="4571"/>
                  </a:lnTo>
                  <a:lnTo>
                    <a:pt x="257937" y="18287"/>
                  </a:lnTo>
                  <a:lnTo>
                    <a:pt x="271653" y="37361"/>
                  </a:lnTo>
                  <a:lnTo>
                    <a:pt x="276225" y="58864"/>
                  </a:lnTo>
                  <a:lnTo>
                    <a:pt x="271653" y="80652"/>
                  </a:lnTo>
                  <a:lnTo>
                    <a:pt x="257937" y="100583"/>
                  </a:lnTo>
                  <a:lnTo>
                    <a:pt x="216789" y="141732"/>
                  </a:lnTo>
                  <a:lnTo>
                    <a:pt x="216789" y="132587"/>
                  </a:lnTo>
                  <a:lnTo>
                    <a:pt x="143637" y="59435"/>
                  </a:lnTo>
                  <a:lnTo>
                    <a:pt x="61341" y="144779"/>
                  </a:lnTo>
                  <a:lnTo>
                    <a:pt x="61341" y="274430"/>
                  </a:lnTo>
                  <a:lnTo>
                    <a:pt x="57721" y="275082"/>
                  </a:lnTo>
                  <a:lnTo>
                    <a:pt x="35790" y="271081"/>
                  </a:lnTo>
                  <a:lnTo>
                    <a:pt x="17145" y="259080"/>
                  </a:lnTo>
                  <a:lnTo>
                    <a:pt x="4286" y="239577"/>
                  </a:lnTo>
                  <a:lnTo>
                    <a:pt x="0" y="217360"/>
                  </a:lnTo>
                  <a:close/>
                </a:path>
                <a:path w="276225" h="275589">
                  <a:moveTo>
                    <a:pt x="61341" y="274430"/>
                  </a:moveTo>
                  <a:lnTo>
                    <a:pt x="61341" y="144779"/>
                  </a:lnTo>
                  <a:lnTo>
                    <a:pt x="134493" y="214883"/>
                  </a:lnTo>
                  <a:lnTo>
                    <a:pt x="216789" y="132587"/>
                  </a:lnTo>
                  <a:lnTo>
                    <a:pt x="216789" y="141732"/>
                  </a:lnTo>
                  <a:lnTo>
                    <a:pt x="99441" y="259080"/>
                  </a:lnTo>
                  <a:lnTo>
                    <a:pt x="79938" y="271081"/>
                  </a:lnTo>
                  <a:lnTo>
                    <a:pt x="61341" y="274430"/>
                  </a:lnTo>
                  <a:close/>
                </a:path>
              </a:pathLst>
            </a:custGeom>
            <a:solidFill>
              <a:srgbClr val="0090DA"/>
            </a:solidFill>
          </p:spPr>
          <p:txBody>
            <a:bodyPr wrap="square" lIns="0" tIns="0" rIns="0" bIns="0" rtlCol="0"/>
            <a:lstStyle/>
            <a:p>
              <a:endParaRPr/>
            </a:p>
          </p:txBody>
        </p:sp>
        <p:sp>
          <p:nvSpPr>
            <p:cNvPr id="153" name="object 136"/>
            <p:cNvSpPr/>
            <p:nvPr/>
          </p:nvSpPr>
          <p:spPr>
            <a:xfrm>
              <a:off x="5780914" y="3337076"/>
              <a:ext cx="132715" cy="129539"/>
            </a:xfrm>
            <a:custGeom>
              <a:avLst/>
              <a:gdLst/>
              <a:ahLst/>
              <a:cxnLst/>
              <a:rect l="l" t="t" r="r" b="b"/>
              <a:pathLst>
                <a:path w="132714" h="129539">
                  <a:moveTo>
                    <a:pt x="0" y="73152"/>
                  </a:moveTo>
                  <a:lnTo>
                    <a:pt x="7620" y="67056"/>
                  </a:lnTo>
                  <a:lnTo>
                    <a:pt x="21336" y="47244"/>
                  </a:lnTo>
                  <a:lnTo>
                    <a:pt x="28956" y="44196"/>
                  </a:lnTo>
                  <a:lnTo>
                    <a:pt x="47244" y="25908"/>
                  </a:lnTo>
                  <a:lnTo>
                    <a:pt x="51816" y="22860"/>
                  </a:lnTo>
                  <a:lnTo>
                    <a:pt x="56388" y="16764"/>
                  </a:lnTo>
                  <a:lnTo>
                    <a:pt x="64008" y="9144"/>
                  </a:lnTo>
                  <a:lnTo>
                    <a:pt x="67056" y="3048"/>
                  </a:lnTo>
                  <a:lnTo>
                    <a:pt x="73152" y="0"/>
                  </a:lnTo>
                  <a:lnTo>
                    <a:pt x="79248" y="3048"/>
                  </a:lnTo>
                  <a:lnTo>
                    <a:pt x="85344" y="12192"/>
                  </a:lnTo>
                  <a:lnTo>
                    <a:pt x="91440" y="19812"/>
                  </a:lnTo>
                  <a:lnTo>
                    <a:pt x="102108" y="28956"/>
                  </a:lnTo>
                  <a:lnTo>
                    <a:pt x="126492" y="53340"/>
                  </a:lnTo>
                  <a:lnTo>
                    <a:pt x="132588" y="60960"/>
                  </a:lnTo>
                  <a:lnTo>
                    <a:pt x="126492" y="62484"/>
                  </a:lnTo>
                  <a:lnTo>
                    <a:pt x="123444" y="66294"/>
                  </a:lnTo>
                  <a:lnTo>
                    <a:pt x="123444" y="60960"/>
                  </a:lnTo>
                  <a:lnTo>
                    <a:pt x="114300" y="51816"/>
                  </a:lnTo>
                  <a:lnTo>
                    <a:pt x="111252" y="54864"/>
                  </a:lnTo>
                  <a:lnTo>
                    <a:pt x="111252" y="44196"/>
                  </a:lnTo>
                  <a:lnTo>
                    <a:pt x="102108" y="38100"/>
                  </a:lnTo>
                  <a:lnTo>
                    <a:pt x="96012" y="44196"/>
                  </a:lnTo>
                  <a:lnTo>
                    <a:pt x="96012" y="32004"/>
                  </a:lnTo>
                  <a:lnTo>
                    <a:pt x="88392" y="22860"/>
                  </a:lnTo>
                  <a:lnTo>
                    <a:pt x="82296" y="28956"/>
                  </a:lnTo>
                  <a:lnTo>
                    <a:pt x="82296" y="19812"/>
                  </a:lnTo>
                  <a:lnTo>
                    <a:pt x="73152" y="9144"/>
                  </a:lnTo>
                  <a:lnTo>
                    <a:pt x="67056" y="16764"/>
                  </a:lnTo>
                  <a:lnTo>
                    <a:pt x="67056" y="22860"/>
                  </a:lnTo>
                  <a:lnTo>
                    <a:pt x="64008" y="19812"/>
                  </a:lnTo>
                  <a:lnTo>
                    <a:pt x="56388" y="25908"/>
                  </a:lnTo>
                  <a:lnTo>
                    <a:pt x="56388" y="35052"/>
                  </a:lnTo>
                  <a:lnTo>
                    <a:pt x="51816" y="32004"/>
                  </a:lnTo>
                  <a:lnTo>
                    <a:pt x="44196" y="38100"/>
                  </a:lnTo>
                  <a:lnTo>
                    <a:pt x="44196" y="46482"/>
                  </a:lnTo>
                  <a:lnTo>
                    <a:pt x="41148" y="41148"/>
                  </a:lnTo>
                  <a:lnTo>
                    <a:pt x="30480" y="51816"/>
                  </a:lnTo>
                  <a:lnTo>
                    <a:pt x="30480" y="54864"/>
                  </a:lnTo>
                  <a:lnTo>
                    <a:pt x="28956" y="53340"/>
                  </a:lnTo>
                  <a:lnTo>
                    <a:pt x="21336" y="60960"/>
                  </a:lnTo>
                  <a:lnTo>
                    <a:pt x="21336" y="70104"/>
                  </a:lnTo>
                  <a:lnTo>
                    <a:pt x="16764" y="67056"/>
                  </a:lnTo>
                  <a:lnTo>
                    <a:pt x="9144" y="73152"/>
                  </a:lnTo>
                  <a:lnTo>
                    <a:pt x="9144" y="77724"/>
                  </a:lnTo>
                  <a:lnTo>
                    <a:pt x="7620" y="76200"/>
                  </a:lnTo>
                  <a:lnTo>
                    <a:pt x="0" y="73152"/>
                  </a:lnTo>
                  <a:close/>
                </a:path>
                <a:path w="132714" h="129539">
                  <a:moveTo>
                    <a:pt x="108204" y="65532"/>
                  </a:moveTo>
                  <a:lnTo>
                    <a:pt x="108204" y="57912"/>
                  </a:lnTo>
                  <a:lnTo>
                    <a:pt x="117348" y="62484"/>
                  </a:lnTo>
                  <a:lnTo>
                    <a:pt x="123444" y="60960"/>
                  </a:lnTo>
                  <a:lnTo>
                    <a:pt x="123444" y="66294"/>
                  </a:lnTo>
                  <a:lnTo>
                    <a:pt x="120396" y="70104"/>
                  </a:lnTo>
                  <a:lnTo>
                    <a:pt x="117348" y="76200"/>
                  </a:lnTo>
                  <a:lnTo>
                    <a:pt x="111252" y="82296"/>
                  </a:lnTo>
                  <a:lnTo>
                    <a:pt x="111252" y="70104"/>
                  </a:lnTo>
                  <a:lnTo>
                    <a:pt x="108204" y="65532"/>
                  </a:lnTo>
                  <a:close/>
                </a:path>
                <a:path w="132714" h="129539">
                  <a:moveTo>
                    <a:pt x="67056" y="22860"/>
                  </a:moveTo>
                  <a:lnTo>
                    <a:pt x="67056" y="16764"/>
                  </a:lnTo>
                  <a:lnTo>
                    <a:pt x="76200" y="25908"/>
                  </a:lnTo>
                  <a:lnTo>
                    <a:pt x="82296" y="19812"/>
                  </a:lnTo>
                  <a:lnTo>
                    <a:pt x="82296" y="28956"/>
                  </a:lnTo>
                  <a:lnTo>
                    <a:pt x="88392" y="38100"/>
                  </a:lnTo>
                  <a:lnTo>
                    <a:pt x="96012" y="32004"/>
                  </a:lnTo>
                  <a:lnTo>
                    <a:pt x="96012" y="44196"/>
                  </a:lnTo>
                  <a:lnTo>
                    <a:pt x="105156" y="51816"/>
                  </a:lnTo>
                  <a:lnTo>
                    <a:pt x="111252" y="44196"/>
                  </a:lnTo>
                  <a:lnTo>
                    <a:pt x="111252" y="54864"/>
                  </a:lnTo>
                  <a:lnTo>
                    <a:pt x="108204" y="57912"/>
                  </a:lnTo>
                  <a:lnTo>
                    <a:pt x="108204" y="65532"/>
                  </a:lnTo>
                  <a:lnTo>
                    <a:pt x="105156" y="60960"/>
                  </a:lnTo>
                  <a:lnTo>
                    <a:pt x="97536" y="67056"/>
                  </a:lnTo>
                  <a:lnTo>
                    <a:pt x="97536" y="57912"/>
                  </a:lnTo>
                  <a:lnTo>
                    <a:pt x="91440" y="47244"/>
                  </a:lnTo>
                  <a:lnTo>
                    <a:pt x="85344" y="53340"/>
                  </a:lnTo>
                  <a:lnTo>
                    <a:pt x="85344" y="41148"/>
                  </a:lnTo>
                  <a:lnTo>
                    <a:pt x="76200" y="35052"/>
                  </a:lnTo>
                  <a:lnTo>
                    <a:pt x="73152" y="38100"/>
                  </a:lnTo>
                  <a:lnTo>
                    <a:pt x="73152" y="28956"/>
                  </a:lnTo>
                  <a:lnTo>
                    <a:pt x="67056" y="22860"/>
                  </a:lnTo>
                  <a:close/>
                </a:path>
                <a:path w="132714" h="129539">
                  <a:moveTo>
                    <a:pt x="70104" y="47244"/>
                  </a:moveTo>
                  <a:lnTo>
                    <a:pt x="70104" y="41148"/>
                  </a:lnTo>
                  <a:lnTo>
                    <a:pt x="79248" y="47244"/>
                  </a:lnTo>
                  <a:lnTo>
                    <a:pt x="85344" y="41148"/>
                  </a:lnTo>
                  <a:lnTo>
                    <a:pt x="85344" y="53340"/>
                  </a:lnTo>
                  <a:lnTo>
                    <a:pt x="91440" y="62484"/>
                  </a:lnTo>
                  <a:lnTo>
                    <a:pt x="97536" y="57912"/>
                  </a:lnTo>
                  <a:lnTo>
                    <a:pt x="97536" y="67056"/>
                  </a:lnTo>
                  <a:lnTo>
                    <a:pt x="105156" y="76200"/>
                  </a:lnTo>
                  <a:lnTo>
                    <a:pt x="111252" y="70104"/>
                  </a:lnTo>
                  <a:lnTo>
                    <a:pt x="111252" y="82296"/>
                  </a:lnTo>
                  <a:lnTo>
                    <a:pt x="108204" y="85344"/>
                  </a:lnTo>
                  <a:lnTo>
                    <a:pt x="102108" y="89698"/>
                  </a:lnTo>
                  <a:lnTo>
                    <a:pt x="102108" y="79248"/>
                  </a:lnTo>
                  <a:lnTo>
                    <a:pt x="91440" y="73152"/>
                  </a:lnTo>
                  <a:lnTo>
                    <a:pt x="88392" y="76200"/>
                  </a:lnTo>
                  <a:lnTo>
                    <a:pt x="88392" y="67056"/>
                  </a:lnTo>
                  <a:lnTo>
                    <a:pt x="79248" y="60960"/>
                  </a:lnTo>
                  <a:lnTo>
                    <a:pt x="76200" y="64008"/>
                  </a:lnTo>
                  <a:lnTo>
                    <a:pt x="76200" y="53340"/>
                  </a:lnTo>
                  <a:lnTo>
                    <a:pt x="70104" y="47244"/>
                  </a:lnTo>
                  <a:close/>
                </a:path>
                <a:path w="132714" h="129539">
                  <a:moveTo>
                    <a:pt x="85344" y="87630"/>
                  </a:moveTo>
                  <a:lnTo>
                    <a:pt x="85344" y="79248"/>
                  </a:lnTo>
                  <a:lnTo>
                    <a:pt x="96012" y="88392"/>
                  </a:lnTo>
                  <a:lnTo>
                    <a:pt x="102108" y="79248"/>
                  </a:lnTo>
                  <a:lnTo>
                    <a:pt x="102108" y="89698"/>
                  </a:lnTo>
                  <a:lnTo>
                    <a:pt x="97536" y="92964"/>
                  </a:lnTo>
                  <a:lnTo>
                    <a:pt x="96012" y="97536"/>
                  </a:lnTo>
                  <a:lnTo>
                    <a:pt x="88392" y="105156"/>
                  </a:lnTo>
                  <a:lnTo>
                    <a:pt x="88392" y="92964"/>
                  </a:lnTo>
                  <a:lnTo>
                    <a:pt x="85344" y="87630"/>
                  </a:lnTo>
                  <a:close/>
                </a:path>
                <a:path w="132714" h="129539">
                  <a:moveTo>
                    <a:pt x="73152" y="76200"/>
                  </a:moveTo>
                  <a:lnTo>
                    <a:pt x="73152" y="67056"/>
                  </a:lnTo>
                  <a:lnTo>
                    <a:pt x="79248" y="73152"/>
                  </a:lnTo>
                  <a:lnTo>
                    <a:pt x="88392" y="67056"/>
                  </a:lnTo>
                  <a:lnTo>
                    <a:pt x="88392" y="76200"/>
                  </a:lnTo>
                  <a:lnTo>
                    <a:pt x="85344" y="79248"/>
                  </a:lnTo>
                  <a:lnTo>
                    <a:pt x="85344" y="87630"/>
                  </a:lnTo>
                  <a:lnTo>
                    <a:pt x="82296" y="82296"/>
                  </a:lnTo>
                  <a:lnTo>
                    <a:pt x="76200" y="89408"/>
                  </a:lnTo>
                  <a:lnTo>
                    <a:pt x="76200" y="79248"/>
                  </a:lnTo>
                  <a:lnTo>
                    <a:pt x="73152" y="76200"/>
                  </a:lnTo>
                  <a:close/>
                </a:path>
                <a:path w="132714" h="129539">
                  <a:moveTo>
                    <a:pt x="73152" y="98044"/>
                  </a:moveTo>
                  <a:lnTo>
                    <a:pt x="73152" y="92964"/>
                  </a:lnTo>
                  <a:lnTo>
                    <a:pt x="82296" y="97536"/>
                  </a:lnTo>
                  <a:lnTo>
                    <a:pt x="88392" y="92964"/>
                  </a:lnTo>
                  <a:lnTo>
                    <a:pt x="88392" y="105156"/>
                  </a:lnTo>
                  <a:lnTo>
                    <a:pt x="82296" y="106680"/>
                  </a:lnTo>
                  <a:lnTo>
                    <a:pt x="79248" y="111252"/>
                  </a:lnTo>
                  <a:lnTo>
                    <a:pt x="79248" y="105156"/>
                  </a:lnTo>
                  <a:lnTo>
                    <a:pt x="73152" y="98044"/>
                  </a:lnTo>
                  <a:close/>
                </a:path>
                <a:path w="132714" h="129539">
                  <a:moveTo>
                    <a:pt x="35052" y="83166"/>
                  </a:moveTo>
                  <a:lnTo>
                    <a:pt x="35052" y="76200"/>
                  </a:lnTo>
                  <a:lnTo>
                    <a:pt x="44196" y="82296"/>
                  </a:lnTo>
                  <a:lnTo>
                    <a:pt x="51816" y="76200"/>
                  </a:lnTo>
                  <a:lnTo>
                    <a:pt x="51816" y="88392"/>
                  </a:lnTo>
                  <a:lnTo>
                    <a:pt x="56388" y="97536"/>
                  </a:lnTo>
                  <a:lnTo>
                    <a:pt x="64008" y="88392"/>
                  </a:lnTo>
                  <a:lnTo>
                    <a:pt x="64008" y="102108"/>
                  </a:lnTo>
                  <a:lnTo>
                    <a:pt x="70104" y="111252"/>
                  </a:lnTo>
                  <a:lnTo>
                    <a:pt x="79248" y="105156"/>
                  </a:lnTo>
                  <a:lnTo>
                    <a:pt x="79248" y="111252"/>
                  </a:lnTo>
                  <a:lnTo>
                    <a:pt x="73152" y="120396"/>
                  </a:lnTo>
                  <a:lnTo>
                    <a:pt x="67056" y="126492"/>
                  </a:lnTo>
                  <a:lnTo>
                    <a:pt x="67056" y="114300"/>
                  </a:lnTo>
                  <a:lnTo>
                    <a:pt x="56388" y="106680"/>
                  </a:lnTo>
                  <a:lnTo>
                    <a:pt x="53340" y="111760"/>
                  </a:lnTo>
                  <a:lnTo>
                    <a:pt x="53340" y="102108"/>
                  </a:lnTo>
                  <a:lnTo>
                    <a:pt x="44196" y="92964"/>
                  </a:lnTo>
                  <a:lnTo>
                    <a:pt x="41148" y="97536"/>
                  </a:lnTo>
                  <a:lnTo>
                    <a:pt x="41148" y="88392"/>
                  </a:lnTo>
                  <a:lnTo>
                    <a:pt x="35052" y="83166"/>
                  </a:lnTo>
                  <a:close/>
                </a:path>
                <a:path w="132714" h="129539">
                  <a:moveTo>
                    <a:pt x="56388" y="60524"/>
                  </a:moveTo>
                  <a:lnTo>
                    <a:pt x="56388" y="51816"/>
                  </a:lnTo>
                  <a:lnTo>
                    <a:pt x="67056" y="60960"/>
                  </a:lnTo>
                  <a:lnTo>
                    <a:pt x="76200" y="53340"/>
                  </a:lnTo>
                  <a:lnTo>
                    <a:pt x="76200" y="64008"/>
                  </a:lnTo>
                  <a:lnTo>
                    <a:pt x="73152" y="67056"/>
                  </a:lnTo>
                  <a:lnTo>
                    <a:pt x="73152" y="76200"/>
                  </a:lnTo>
                  <a:lnTo>
                    <a:pt x="67056" y="70104"/>
                  </a:lnTo>
                  <a:lnTo>
                    <a:pt x="64008" y="74676"/>
                  </a:lnTo>
                  <a:lnTo>
                    <a:pt x="64008" y="67056"/>
                  </a:lnTo>
                  <a:lnTo>
                    <a:pt x="56388" y="60524"/>
                  </a:lnTo>
                  <a:close/>
                </a:path>
                <a:path w="132714" h="129539">
                  <a:moveTo>
                    <a:pt x="60960" y="85953"/>
                  </a:moveTo>
                  <a:lnTo>
                    <a:pt x="60960" y="79248"/>
                  </a:lnTo>
                  <a:lnTo>
                    <a:pt x="70104" y="85344"/>
                  </a:lnTo>
                  <a:lnTo>
                    <a:pt x="76200" y="79248"/>
                  </a:lnTo>
                  <a:lnTo>
                    <a:pt x="76200" y="89408"/>
                  </a:lnTo>
                  <a:lnTo>
                    <a:pt x="73152" y="92964"/>
                  </a:lnTo>
                  <a:lnTo>
                    <a:pt x="73152" y="98044"/>
                  </a:lnTo>
                  <a:lnTo>
                    <a:pt x="70104" y="94488"/>
                  </a:lnTo>
                  <a:lnTo>
                    <a:pt x="64008" y="102108"/>
                  </a:lnTo>
                  <a:lnTo>
                    <a:pt x="64008" y="88392"/>
                  </a:lnTo>
                  <a:lnTo>
                    <a:pt x="60960" y="85953"/>
                  </a:lnTo>
                  <a:close/>
                </a:path>
                <a:path w="132714" h="129539">
                  <a:moveTo>
                    <a:pt x="56388" y="35052"/>
                  </a:moveTo>
                  <a:lnTo>
                    <a:pt x="56388" y="25908"/>
                  </a:lnTo>
                  <a:lnTo>
                    <a:pt x="67056" y="35052"/>
                  </a:lnTo>
                  <a:lnTo>
                    <a:pt x="73152" y="28956"/>
                  </a:lnTo>
                  <a:lnTo>
                    <a:pt x="73152" y="38100"/>
                  </a:lnTo>
                  <a:lnTo>
                    <a:pt x="70104" y="41148"/>
                  </a:lnTo>
                  <a:lnTo>
                    <a:pt x="70104" y="47244"/>
                  </a:lnTo>
                  <a:lnTo>
                    <a:pt x="67056" y="44196"/>
                  </a:lnTo>
                  <a:lnTo>
                    <a:pt x="60960" y="48550"/>
                  </a:lnTo>
                  <a:lnTo>
                    <a:pt x="60960" y="38100"/>
                  </a:lnTo>
                  <a:lnTo>
                    <a:pt x="56388" y="35052"/>
                  </a:lnTo>
                  <a:close/>
                </a:path>
                <a:path w="132714" h="129539">
                  <a:moveTo>
                    <a:pt x="51816" y="124714"/>
                  </a:moveTo>
                  <a:lnTo>
                    <a:pt x="51816" y="114300"/>
                  </a:lnTo>
                  <a:lnTo>
                    <a:pt x="60960" y="120396"/>
                  </a:lnTo>
                  <a:lnTo>
                    <a:pt x="67056" y="114300"/>
                  </a:lnTo>
                  <a:lnTo>
                    <a:pt x="67056" y="126492"/>
                  </a:lnTo>
                  <a:lnTo>
                    <a:pt x="60960" y="129540"/>
                  </a:lnTo>
                  <a:lnTo>
                    <a:pt x="53340" y="126492"/>
                  </a:lnTo>
                  <a:lnTo>
                    <a:pt x="51816" y="124714"/>
                  </a:lnTo>
                  <a:close/>
                </a:path>
                <a:path w="132714" h="129539">
                  <a:moveTo>
                    <a:pt x="30480" y="54864"/>
                  </a:moveTo>
                  <a:lnTo>
                    <a:pt x="30480" y="51816"/>
                  </a:lnTo>
                  <a:lnTo>
                    <a:pt x="41148" y="57912"/>
                  </a:lnTo>
                  <a:lnTo>
                    <a:pt x="47244" y="51816"/>
                  </a:lnTo>
                  <a:lnTo>
                    <a:pt x="47244" y="62484"/>
                  </a:lnTo>
                  <a:lnTo>
                    <a:pt x="56388" y="73152"/>
                  </a:lnTo>
                  <a:lnTo>
                    <a:pt x="64008" y="67056"/>
                  </a:lnTo>
                  <a:lnTo>
                    <a:pt x="64008" y="74676"/>
                  </a:lnTo>
                  <a:lnTo>
                    <a:pt x="60960" y="79248"/>
                  </a:lnTo>
                  <a:lnTo>
                    <a:pt x="60960" y="85953"/>
                  </a:lnTo>
                  <a:lnTo>
                    <a:pt x="56388" y="82296"/>
                  </a:lnTo>
                  <a:lnTo>
                    <a:pt x="51816" y="88392"/>
                  </a:lnTo>
                  <a:lnTo>
                    <a:pt x="51816" y="76200"/>
                  </a:lnTo>
                  <a:lnTo>
                    <a:pt x="41148" y="70104"/>
                  </a:lnTo>
                  <a:lnTo>
                    <a:pt x="38100" y="73152"/>
                  </a:lnTo>
                  <a:lnTo>
                    <a:pt x="38100" y="62484"/>
                  </a:lnTo>
                  <a:lnTo>
                    <a:pt x="30480" y="54864"/>
                  </a:lnTo>
                  <a:close/>
                </a:path>
                <a:path w="132714" h="129539">
                  <a:moveTo>
                    <a:pt x="44196" y="46482"/>
                  </a:moveTo>
                  <a:lnTo>
                    <a:pt x="44196" y="38100"/>
                  </a:lnTo>
                  <a:lnTo>
                    <a:pt x="53340" y="47244"/>
                  </a:lnTo>
                  <a:lnTo>
                    <a:pt x="60960" y="38100"/>
                  </a:lnTo>
                  <a:lnTo>
                    <a:pt x="60960" y="48550"/>
                  </a:lnTo>
                  <a:lnTo>
                    <a:pt x="56388" y="51816"/>
                  </a:lnTo>
                  <a:lnTo>
                    <a:pt x="56388" y="60524"/>
                  </a:lnTo>
                  <a:lnTo>
                    <a:pt x="53340" y="57912"/>
                  </a:lnTo>
                  <a:lnTo>
                    <a:pt x="47244" y="62484"/>
                  </a:lnTo>
                  <a:lnTo>
                    <a:pt x="47244" y="51816"/>
                  </a:lnTo>
                  <a:lnTo>
                    <a:pt x="44196" y="46482"/>
                  </a:lnTo>
                  <a:close/>
                </a:path>
                <a:path w="132714" h="129539">
                  <a:moveTo>
                    <a:pt x="38100" y="108712"/>
                  </a:moveTo>
                  <a:lnTo>
                    <a:pt x="38100" y="102108"/>
                  </a:lnTo>
                  <a:lnTo>
                    <a:pt x="47244" y="106680"/>
                  </a:lnTo>
                  <a:lnTo>
                    <a:pt x="53340" y="102108"/>
                  </a:lnTo>
                  <a:lnTo>
                    <a:pt x="53340" y="111760"/>
                  </a:lnTo>
                  <a:lnTo>
                    <a:pt x="51816" y="114300"/>
                  </a:lnTo>
                  <a:lnTo>
                    <a:pt x="51816" y="124714"/>
                  </a:lnTo>
                  <a:lnTo>
                    <a:pt x="38100" y="108712"/>
                  </a:lnTo>
                  <a:close/>
                </a:path>
                <a:path w="132714" h="129539">
                  <a:moveTo>
                    <a:pt x="9144" y="77724"/>
                  </a:moveTo>
                  <a:lnTo>
                    <a:pt x="9144" y="73152"/>
                  </a:lnTo>
                  <a:lnTo>
                    <a:pt x="19812" y="82296"/>
                  </a:lnTo>
                  <a:lnTo>
                    <a:pt x="25908" y="73152"/>
                  </a:lnTo>
                  <a:lnTo>
                    <a:pt x="25908" y="85344"/>
                  </a:lnTo>
                  <a:lnTo>
                    <a:pt x="30480" y="94488"/>
                  </a:lnTo>
                  <a:lnTo>
                    <a:pt x="41148" y="88392"/>
                  </a:lnTo>
                  <a:lnTo>
                    <a:pt x="41148" y="97536"/>
                  </a:lnTo>
                  <a:lnTo>
                    <a:pt x="38100" y="102108"/>
                  </a:lnTo>
                  <a:lnTo>
                    <a:pt x="38100" y="108712"/>
                  </a:lnTo>
                  <a:lnTo>
                    <a:pt x="35052" y="105156"/>
                  </a:lnTo>
                  <a:lnTo>
                    <a:pt x="28956" y="97536"/>
                  </a:lnTo>
                  <a:lnTo>
                    <a:pt x="9144" y="77724"/>
                  </a:lnTo>
                  <a:close/>
                </a:path>
                <a:path w="132714" h="129539">
                  <a:moveTo>
                    <a:pt x="21336" y="70104"/>
                  </a:moveTo>
                  <a:lnTo>
                    <a:pt x="21336" y="60960"/>
                  </a:lnTo>
                  <a:lnTo>
                    <a:pt x="30480" y="70104"/>
                  </a:lnTo>
                  <a:lnTo>
                    <a:pt x="38100" y="62484"/>
                  </a:lnTo>
                  <a:lnTo>
                    <a:pt x="38100" y="73152"/>
                  </a:lnTo>
                  <a:lnTo>
                    <a:pt x="35052" y="76200"/>
                  </a:lnTo>
                  <a:lnTo>
                    <a:pt x="35052" y="83166"/>
                  </a:lnTo>
                  <a:lnTo>
                    <a:pt x="30480" y="79248"/>
                  </a:lnTo>
                  <a:lnTo>
                    <a:pt x="25908" y="85344"/>
                  </a:lnTo>
                  <a:lnTo>
                    <a:pt x="25908" y="73152"/>
                  </a:lnTo>
                  <a:lnTo>
                    <a:pt x="21336" y="70104"/>
                  </a:lnTo>
                  <a:close/>
                </a:path>
              </a:pathLst>
            </a:custGeom>
            <a:solidFill>
              <a:srgbClr val="0090DA"/>
            </a:solidFill>
          </p:spPr>
          <p:txBody>
            <a:bodyPr wrap="square" lIns="0" tIns="0" rIns="0" bIns="0" rtlCol="0"/>
            <a:lstStyle/>
            <a:p>
              <a:endParaRPr/>
            </a:p>
          </p:txBody>
        </p:sp>
        <p:sp>
          <p:nvSpPr>
            <p:cNvPr id="154" name="object 137"/>
            <p:cNvSpPr/>
            <p:nvPr/>
          </p:nvSpPr>
          <p:spPr>
            <a:xfrm>
              <a:off x="5780914" y="3337076"/>
              <a:ext cx="132715" cy="129539"/>
            </a:xfrm>
            <a:custGeom>
              <a:avLst/>
              <a:gdLst/>
              <a:ahLst/>
              <a:cxnLst/>
              <a:rect l="l" t="t" r="r" b="b"/>
              <a:pathLst>
                <a:path w="132714" h="129539">
                  <a:moveTo>
                    <a:pt x="0" y="73152"/>
                  </a:moveTo>
                  <a:lnTo>
                    <a:pt x="7620" y="67056"/>
                  </a:lnTo>
                  <a:lnTo>
                    <a:pt x="21336" y="47244"/>
                  </a:lnTo>
                  <a:lnTo>
                    <a:pt x="28956" y="44196"/>
                  </a:lnTo>
                  <a:lnTo>
                    <a:pt x="47244" y="25908"/>
                  </a:lnTo>
                  <a:lnTo>
                    <a:pt x="51816" y="22860"/>
                  </a:lnTo>
                  <a:lnTo>
                    <a:pt x="56388" y="16764"/>
                  </a:lnTo>
                  <a:lnTo>
                    <a:pt x="64008" y="9144"/>
                  </a:lnTo>
                  <a:lnTo>
                    <a:pt x="67056" y="3048"/>
                  </a:lnTo>
                  <a:lnTo>
                    <a:pt x="73152" y="0"/>
                  </a:lnTo>
                  <a:lnTo>
                    <a:pt x="79248" y="3048"/>
                  </a:lnTo>
                  <a:lnTo>
                    <a:pt x="85344" y="12192"/>
                  </a:lnTo>
                  <a:lnTo>
                    <a:pt x="91440" y="19812"/>
                  </a:lnTo>
                  <a:lnTo>
                    <a:pt x="102108" y="28956"/>
                  </a:lnTo>
                  <a:lnTo>
                    <a:pt x="126492" y="53340"/>
                  </a:lnTo>
                  <a:lnTo>
                    <a:pt x="132588" y="60960"/>
                  </a:lnTo>
                  <a:lnTo>
                    <a:pt x="126492" y="62484"/>
                  </a:lnTo>
                  <a:lnTo>
                    <a:pt x="123444" y="66294"/>
                  </a:lnTo>
                  <a:lnTo>
                    <a:pt x="123444" y="60960"/>
                  </a:lnTo>
                  <a:lnTo>
                    <a:pt x="114300" y="51816"/>
                  </a:lnTo>
                  <a:lnTo>
                    <a:pt x="111252" y="54864"/>
                  </a:lnTo>
                  <a:lnTo>
                    <a:pt x="111252" y="44196"/>
                  </a:lnTo>
                  <a:lnTo>
                    <a:pt x="102108" y="38100"/>
                  </a:lnTo>
                  <a:lnTo>
                    <a:pt x="96012" y="44196"/>
                  </a:lnTo>
                  <a:lnTo>
                    <a:pt x="96012" y="32004"/>
                  </a:lnTo>
                  <a:lnTo>
                    <a:pt x="88392" y="22860"/>
                  </a:lnTo>
                  <a:lnTo>
                    <a:pt x="82296" y="28956"/>
                  </a:lnTo>
                  <a:lnTo>
                    <a:pt x="82296" y="19812"/>
                  </a:lnTo>
                  <a:lnTo>
                    <a:pt x="73152" y="9144"/>
                  </a:lnTo>
                  <a:lnTo>
                    <a:pt x="67056" y="16764"/>
                  </a:lnTo>
                  <a:lnTo>
                    <a:pt x="67056" y="22860"/>
                  </a:lnTo>
                  <a:lnTo>
                    <a:pt x="64008" y="19812"/>
                  </a:lnTo>
                  <a:lnTo>
                    <a:pt x="56388" y="25908"/>
                  </a:lnTo>
                  <a:lnTo>
                    <a:pt x="56388" y="35052"/>
                  </a:lnTo>
                  <a:lnTo>
                    <a:pt x="51816" y="32004"/>
                  </a:lnTo>
                  <a:lnTo>
                    <a:pt x="44196" y="38100"/>
                  </a:lnTo>
                  <a:lnTo>
                    <a:pt x="44196" y="46482"/>
                  </a:lnTo>
                  <a:lnTo>
                    <a:pt x="41148" y="41148"/>
                  </a:lnTo>
                  <a:lnTo>
                    <a:pt x="30480" y="51816"/>
                  </a:lnTo>
                  <a:lnTo>
                    <a:pt x="30480" y="54864"/>
                  </a:lnTo>
                  <a:lnTo>
                    <a:pt x="28956" y="53340"/>
                  </a:lnTo>
                  <a:lnTo>
                    <a:pt x="21336" y="60960"/>
                  </a:lnTo>
                  <a:lnTo>
                    <a:pt x="21336" y="70104"/>
                  </a:lnTo>
                  <a:lnTo>
                    <a:pt x="16764" y="67056"/>
                  </a:lnTo>
                  <a:lnTo>
                    <a:pt x="9144" y="73152"/>
                  </a:lnTo>
                  <a:lnTo>
                    <a:pt x="9144" y="77724"/>
                  </a:lnTo>
                  <a:lnTo>
                    <a:pt x="7620" y="76200"/>
                  </a:lnTo>
                  <a:lnTo>
                    <a:pt x="0" y="73152"/>
                  </a:lnTo>
                  <a:close/>
                </a:path>
                <a:path w="132714" h="129539">
                  <a:moveTo>
                    <a:pt x="108204" y="65532"/>
                  </a:moveTo>
                  <a:lnTo>
                    <a:pt x="108204" y="57912"/>
                  </a:lnTo>
                  <a:lnTo>
                    <a:pt x="117348" y="62484"/>
                  </a:lnTo>
                  <a:lnTo>
                    <a:pt x="123444" y="60960"/>
                  </a:lnTo>
                  <a:lnTo>
                    <a:pt x="123444" y="66294"/>
                  </a:lnTo>
                  <a:lnTo>
                    <a:pt x="120396" y="70104"/>
                  </a:lnTo>
                  <a:lnTo>
                    <a:pt x="117348" y="76200"/>
                  </a:lnTo>
                  <a:lnTo>
                    <a:pt x="111252" y="82296"/>
                  </a:lnTo>
                  <a:lnTo>
                    <a:pt x="111252" y="70104"/>
                  </a:lnTo>
                  <a:lnTo>
                    <a:pt x="108204" y="65532"/>
                  </a:lnTo>
                  <a:close/>
                </a:path>
                <a:path w="132714" h="129539">
                  <a:moveTo>
                    <a:pt x="67056" y="22860"/>
                  </a:moveTo>
                  <a:lnTo>
                    <a:pt x="67056" y="16764"/>
                  </a:lnTo>
                  <a:lnTo>
                    <a:pt x="76200" y="25908"/>
                  </a:lnTo>
                  <a:lnTo>
                    <a:pt x="82296" y="19812"/>
                  </a:lnTo>
                  <a:lnTo>
                    <a:pt x="82296" y="28956"/>
                  </a:lnTo>
                  <a:lnTo>
                    <a:pt x="88392" y="38100"/>
                  </a:lnTo>
                  <a:lnTo>
                    <a:pt x="96012" y="32004"/>
                  </a:lnTo>
                  <a:lnTo>
                    <a:pt x="96012" y="44196"/>
                  </a:lnTo>
                  <a:lnTo>
                    <a:pt x="105156" y="51816"/>
                  </a:lnTo>
                  <a:lnTo>
                    <a:pt x="111252" y="44196"/>
                  </a:lnTo>
                  <a:lnTo>
                    <a:pt x="111252" y="54864"/>
                  </a:lnTo>
                  <a:lnTo>
                    <a:pt x="108204" y="57912"/>
                  </a:lnTo>
                  <a:lnTo>
                    <a:pt x="108204" y="65532"/>
                  </a:lnTo>
                  <a:lnTo>
                    <a:pt x="105156" y="60960"/>
                  </a:lnTo>
                  <a:lnTo>
                    <a:pt x="97536" y="67056"/>
                  </a:lnTo>
                  <a:lnTo>
                    <a:pt x="97536" y="57912"/>
                  </a:lnTo>
                  <a:lnTo>
                    <a:pt x="91440" y="47244"/>
                  </a:lnTo>
                  <a:lnTo>
                    <a:pt x="85344" y="53340"/>
                  </a:lnTo>
                  <a:lnTo>
                    <a:pt x="85344" y="41148"/>
                  </a:lnTo>
                  <a:lnTo>
                    <a:pt x="76200" y="35052"/>
                  </a:lnTo>
                  <a:lnTo>
                    <a:pt x="73152" y="38100"/>
                  </a:lnTo>
                  <a:lnTo>
                    <a:pt x="73152" y="28956"/>
                  </a:lnTo>
                  <a:lnTo>
                    <a:pt x="67056" y="22860"/>
                  </a:lnTo>
                  <a:close/>
                </a:path>
                <a:path w="132714" h="129539">
                  <a:moveTo>
                    <a:pt x="70104" y="47244"/>
                  </a:moveTo>
                  <a:lnTo>
                    <a:pt x="70104" y="41148"/>
                  </a:lnTo>
                  <a:lnTo>
                    <a:pt x="79248" y="47244"/>
                  </a:lnTo>
                  <a:lnTo>
                    <a:pt x="85344" y="41148"/>
                  </a:lnTo>
                  <a:lnTo>
                    <a:pt x="85344" y="53340"/>
                  </a:lnTo>
                  <a:lnTo>
                    <a:pt x="91440" y="62484"/>
                  </a:lnTo>
                  <a:lnTo>
                    <a:pt x="97536" y="57912"/>
                  </a:lnTo>
                  <a:lnTo>
                    <a:pt x="97536" y="67056"/>
                  </a:lnTo>
                  <a:lnTo>
                    <a:pt x="105156" y="76200"/>
                  </a:lnTo>
                  <a:lnTo>
                    <a:pt x="111252" y="70104"/>
                  </a:lnTo>
                  <a:lnTo>
                    <a:pt x="111252" y="82296"/>
                  </a:lnTo>
                  <a:lnTo>
                    <a:pt x="108204" y="85344"/>
                  </a:lnTo>
                  <a:lnTo>
                    <a:pt x="102108" y="89698"/>
                  </a:lnTo>
                  <a:lnTo>
                    <a:pt x="102108" y="79248"/>
                  </a:lnTo>
                  <a:lnTo>
                    <a:pt x="91440" y="73152"/>
                  </a:lnTo>
                  <a:lnTo>
                    <a:pt x="88392" y="76200"/>
                  </a:lnTo>
                  <a:lnTo>
                    <a:pt x="88392" y="67056"/>
                  </a:lnTo>
                  <a:lnTo>
                    <a:pt x="79248" y="60960"/>
                  </a:lnTo>
                  <a:lnTo>
                    <a:pt x="76200" y="64008"/>
                  </a:lnTo>
                  <a:lnTo>
                    <a:pt x="76200" y="53340"/>
                  </a:lnTo>
                  <a:lnTo>
                    <a:pt x="70104" y="47244"/>
                  </a:lnTo>
                  <a:close/>
                </a:path>
                <a:path w="132714" h="129539">
                  <a:moveTo>
                    <a:pt x="85344" y="87630"/>
                  </a:moveTo>
                  <a:lnTo>
                    <a:pt x="85344" y="79248"/>
                  </a:lnTo>
                  <a:lnTo>
                    <a:pt x="96012" y="88392"/>
                  </a:lnTo>
                  <a:lnTo>
                    <a:pt x="102108" y="79248"/>
                  </a:lnTo>
                  <a:lnTo>
                    <a:pt x="102108" y="89698"/>
                  </a:lnTo>
                  <a:lnTo>
                    <a:pt x="97536" y="92964"/>
                  </a:lnTo>
                  <a:lnTo>
                    <a:pt x="96012" y="97536"/>
                  </a:lnTo>
                  <a:lnTo>
                    <a:pt x="88392" y="105156"/>
                  </a:lnTo>
                  <a:lnTo>
                    <a:pt x="88392" y="92964"/>
                  </a:lnTo>
                  <a:lnTo>
                    <a:pt x="85344" y="87630"/>
                  </a:lnTo>
                  <a:close/>
                </a:path>
                <a:path w="132714" h="129539">
                  <a:moveTo>
                    <a:pt x="73152" y="76200"/>
                  </a:moveTo>
                  <a:lnTo>
                    <a:pt x="73152" y="67056"/>
                  </a:lnTo>
                  <a:lnTo>
                    <a:pt x="79248" y="73152"/>
                  </a:lnTo>
                  <a:lnTo>
                    <a:pt x="88392" y="67056"/>
                  </a:lnTo>
                  <a:lnTo>
                    <a:pt x="88392" y="76200"/>
                  </a:lnTo>
                  <a:lnTo>
                    <a:pt x="85344" y="79248"/>
                  </a:lnTo>
                  <a:lnTo>
                    <a:pt x="85344" y="87630"/>
                  </a:lnTo>
                  <a:lnTo>
                    <a:pt x="82296" y="82296"/>
                  </a:lnTo>
                  <a:lnTo>
                    <a:pt x="76200" y="89408"/>
                  </a:lnTo>
                  <a:lnTo>
                    <a:pt x="76200" y="79248"/>
                  </a:lnTo>
                  <a:lnTo>
                    <a:pt x="73152" y="76200"/>
                  </a:lnTo>
                  <a:close/>
                </a:path>
                <a:path w="132714" h="129539">
                  <a:moveTo>
                    <a:pt x="73152" y="98044"/>
                  </a:moveTo>
                  <a:lnTo>
                    <a:pt x="73152" y="92964"/>
                  </a:lnTo>
                  <a:lnTo>
                    <a:pt x="82296" y="97536"/>
                  </a:lnTo>
                  <a:lnTo>
                    <a:pt x="88392" y="92964"/>
                  </a:lnTo>
                  <a:lnTo>
                    <a:pt x="88392" y="105156"/>
                  </a:lnTo>
                  <a:lnTo>
                    <a:pt x="82296" y="106680"/>
                  </a:lnTo>
                  <a:lnTo>
                    <a:pt x="79248" y="111252"/>
                  </a:lnTo>
                  <a:lnTo>
                    <a:pt x="79248" y="105156"/>
                  </a:lnTo>
                  <a:lnTo>
                    <a:pt x="73152" y="98044"/>
                  </a:lnTo>
                  <a:close/>
                </a:path>
                <a:path w="132714" h="129539">
                  <a:moveTo>
                    <a:pt x="35052" y="83166"/>
                  </a:moveTo>
                  <a:lnTo>
                    <a:pt x="35052" y="76200"/>
                  </a:lnTo>
                  <a:lnTo>
                    <a:pt x="44196" y="82296"/>
                  </a:lnTo>
                  <a:lnTo>
                    <a:pt x="51816" y="76200"/>
                  </a:lnTo>
                  <a:lnTo>
                    <a:pt x="51816" y="88392"/>
                  </a:lnTo>
                  <a:lnTo>
                    <a:pt x="56388" y="97536"/>
                  </a:lnTo>
                  <a:lnTo>
                    <a:pt x="64008" y="88392"/>
                  </a:lnTo>
                  <a:lnTo>
                    <a:pt x="64008" y="102108"/>
                  </a:lnTo>
                  <a:lnTo>
                    <a:pt x="70104" y="111252"/>
                  </a:lnTo>
                  <a:lnTo>
                    <a:pt x="79248" y="105156"/>
                  </a:lnTo>
                  <a:lnTo>
                    <a:pt x="79248" y="111252"/>
                  </a:lnTo>
                  <a:lnTo>
                    <a:pt x="73152" y="120396"/>
                  </a:lnTo>
                  <a:lnTo>
                    <a:pt x="67056" y="126492"/>
                  </a:lnTo>
                  <a:lnTo>
                    <a:pt x="67056" y="114300"/>
                  </a:lnTo>
                  <a:lnTo>
                    <a:pt x="56388" y="106680"/>
                  </a:lnTo>
                  <a:lnTo>
                    <a:pt x="53340" y="111760"/>
                  </a:lnTo>
                  <a:lnTo>
                    <a:pt x="53340" y="102108"/>
                  </a:lnTo>
                  <a:lnTo>
                    <a:pt x="44196" y="92964"/>
                  </a:lnTo>
                  <a:lnTo>
                    <a:pt x="41148" y="97536"/>
                  </a:lnTo>
                  <a:lnTo>
                    <a:pt x="41148" y="88392"/>
                  </a:lnTo>
                  <a:lnTo>
                    <a:pt x="35052" y="83166"/>
                  </a:lnTo>
                  <a:close/>
                </a:path>
                <a:path w="132714" h="129539">
                  <a:moveTo>
                    <a:pt x="56388" y="60524"/>
                  </a:moveTo>
                  <a:lnTo>
                    <a:pt x="56388" y="51816"/>
                  </a:lnTo>
                  <a:lnTo>
                    <a:pt x="67056" y="60960"/>
                  </a:lnTo>
                  <a:lnTo>
                    <a:pt x="76200" y="53340"/>
                  </a:lnTo>
                  <a:lnTo>
                    <a:pt x="76200" y="64008"/>
                  </a:lnTo>
                  <a:lnTo>
                    <a:pt x="73152" y="67056"/>
                  </a:lnTo>
                  <a:lnTo>
                    <a:pt x="73152" y="76200"/>
                  </a:lnTo>
                  <a:lnTo>
                    <a:pt x="67056" y="70104"/>
                  </a:lnTo>
                  <a:lnTo>
                    <a:pt x="64008" y="74676"/>
                  </a:lnTo>
                  <a:lnTo>
                    <a:pt x="64008" y="67056"/>
                  </a:lnTo>
                  <a:lnTo>
                    <a:pt x="56388" y="60524"/>
                  </a:lnTo>
                  <a:close/>
                </a:path>
                <a:path w="132714" h="129539">
                  <a:moveTo>
                    <a:pt x="60960" y="85953"/>
                  </a:moveTo>
                  <a:lnTo>
                    <a:pt x="60960" y="79248"/>
                  </a:lnTo>
                  <a:lnTo>
                    <a:pt x="70104" y="85344"/>
                  </a:lnTo>
                  <a:lnTo>
                    <a:pt x="76200" y="79248"/>
                  </a:lnTo>
                  <a:lnTo>
                    <a:pt x="76200" y="89408"/>
                  </a:lnTo>
                  <a:lnTo>
                    <a:pt x="73152" y="92964"/>
                  </a:lnTo>
                  <a:lnTo>
                    <a:pt x="73152" y="98044"/>
                  </a:lnTo>
                  <a:lnTo>
                    <a:pt x="70104" y="94488"/>
                  </a:lnTo>
                  <a:lnTo>
                    <a:pt x="64008" y="102108"/>
                  </a:lnTo>
                  <a:lnTo>
                    <a:pt x="64008" y="88392"/>
                  </a:lnTo>
                  <a:lnTo>
                    <a:pt x="60960" y="85953"/>
                  </a:lnTo>
                  <a:close/>
                </a:path>
                <a:path w="132714" h="129539">
                  <a:moveTo>
                    <a:pt x="56388" y="35052"/>
                  </a:moveTo>
                  <a:lnTo>
                    <a:pt x="56388" y="25908"/>
                  </a:lnTo>
                  <a:lnTo>
                    <a:pt x="67056" y="35052"/>
                  </a:lnTo>
                  <a:lnTo>
                    <a:pt x="73152" y="28956"/>
                  </a:lnTo>
                  <a:lnTo>
                    <a:pt x="73152" y="38100"/>
                  </a:lnTo>
                  <a:lnTo>
                    <a:pt x="70104" y="41148"/>
                  </a:lnTo>
                  <a:lnTo>
                    <a:pt x="70104" y="47244"/>
                  </a:lnTo>
                  <a:lnTo>
                    <a:pt x="67056" y="44196"/>
                  </a:lnTo>
                  <a:lnTo>
                    <a:pt x="60960" y="48550"/>
                  </a:lnTo>
                  <a:lnTo>
                    <a:pt x="60960" y="38100"/>
                  </a:lnTo>
                  <a:lnTo>
                    <a:pt x="56388" y="35052"/>
                  </a:lnTo>
                  <a:close/>
                </a:path>
                <a:path w="132714" h="129539">
                  <a:moveTo>
                    <a:pt x="51816" y="124714"/>
                  </a:moveTo>
                  <a:lnTo>
                    <a:pt x="51816" y="114300"/>
                  </a:lnTo>
                  <a:lnTo>
                    <a:pt x="60960" y="120396"/>
                  </a:lnTo>
                  <a:lnTo>
                    <a:pt x="67056" y="114300"/>
                  </a:lnTo>
                  <a:lnTo>
                    <a:pt x="67056" y="126492"/>
                  </a:lnTo>
                  <a:lnTo>
                    <a:pt x="60960" y="129540"/>
                  </a:lnTo>
                  <a:lnTo>
                    <a:pt x="53340" y="126492"/>
                  </a:lnTo>
                  <a:lnTo>
                    <a:pt x="51816" y="124714"/>
                  </a:lnTo>
                  <a:close/>
                </a:path>
                <a:path w="132714" h="129539">
                  <a:moveTo>
                    <a:pt x="30480" y="54864"/>
                  </a:moveTo>
                  <a:lnTo>
                    <a:pt x="30480" y="51816"/>
                  </a:lnTo>
                  <a:lnTo>
                    <a:pt x="41148" y="57912"/>
                  </a:lnTo>
                  <a:lnTo>
                    <a:pt x="47244" y="51816"/>
                  </a:lnTo>
                  <a:lnTo>
                    <a:pt x="47244" y="62484"/>
                  </a:lnTo>
                  <a:lnTo>
                    <a:pt x="56388" y="73152"/>
                  </a:lnTo>
                  <a:lnTo>
                    <a:pt x="64008" y="67056"/>
                  </a:lnTo>
                  <a:lnTo>
                    <a:pt x="64008" y="74676"/>
                  </a:lnTo>
                  <a:lnTo>
                    <a:pt x="60960" y="79248"/>
                  </a:lnTo>
                  <a:lnTo>
                    <a:pt x="60960" y="85953"/>
                  </a:lnTo>
                  <a:lnTo>
                    <a:pt x="56388" y="82296"/>
                  </a:lnTo>
                  <a:lnTo>
                    <a:pt x="51816" y="88392"/>
                  </a:lnTo>
                  <a:lnTo>
                    <a:pt x="51816" y="76200"/>
                  </a:lnTo>
                  <a:lnTo>
                    <a:pt x="41148" y="70104"/>
                  </a:lnTo>
                  <a:lnTo>
                    <a:pt x="38100" y="73152"/>
                  </a:lnTo>
                  <a:lnTo>
                    <a:pt x="38100" y="62484"/>
                  </a:lnTo>
                  <a:lnTo>
                    <a:pt x="30480" y="54864"/>
                  </a:lnTo>
                  <a:close/>
                </a:path>
                <a:path w="132714" h="129539">
                  <a:moveTo>
                    <a:pt x="44196" y="46482"/>
                  </a:moveTo>
                  <a:lnTo>
                    <a:pt x="44196" y="38100"/>
                  </a:lnTo>
                  <a:lnTo>
                    <a:pt x="53340" y="47244"/>
                  </a:lnTo>
                  <a:lnTo>
                    <a:pt x="60960" y="38100"/>
                  </a:lnTo>
                  <a:lnTo>
                    <a:pt x="60960" y="48550"/>
                  </a:lnTo>
                  <a:lnTo>
                    <a:pt x="56388" y="51816"/>
                  </a:lnTo>
                  <a:lnTo>
                    <a:pt x="56388" y="60524"/>
                  </a:lnTo>
                  <a:lnTo>
                    <a:pt x="53340" y="57912"/>
                  </a:lnTo>
                  <a:lnTo>
                    <a:pt x="47244" y="62484"/>
                  </a:lnTo>
                  <a:lnTo>
                    <a:pt x="47244" y="51816"/>
                  </a:lnTo>
                  <a:lnTo>
                    <a:pt x="44196" y="46482"/>
                  </a:lnTo>
                  <a:close/>
                </a:path>
                <a:path w="132714" h="129539">
                  <a:moveTo>
                    <a:pt x="38100" y="108712"/>
                  </a:moveTo>
                  <a:lnTo>
                    <a:pt x="38100" y="102108"/>
                  </a:lnTo>
                  <a:lnTo>
                    <a:pt x="47244" y="106680"/>
                  </a:lnTo>
                  <a:lnTo>
                    <a:pt x="53340" y="102108"/>
                  </a:lnTo>
                  <a:lnTo>
                    <a:pt x="53340" y="111760"/>
                  </a:lnTo>
                  <a:lnTo>
                    <a:pt x="51816" y="114300"/>
                  </a:lnTo>
                  <a:lnTo>
                    <a:pt x="51816" y="124714"/>
                  </a:lnTo>
                  <a:lnTo>
                    <a:pt x="38100" y="108712"/>
                  </a:lnTo>
                  <a:close/>
                </a:path>
                <a:path w="132714" h="129539">
                  <a:moveTo>
                    <a:pt x="9144" y="77724"/>
                  </a:moveTo>
                  <a:lnTo>
                    <a:pt x="9144" y="73152"/>
                  </a:lnTo>
                  <a:lnTo>
                    <a:pt x="19812" y="82296"/>
                  </a:lnTo>
                  <a:lnTo>
                    <a:pt x="25908" y="73152"/>
                  </a:lnTo>
                  <a:lnTo>
                    <a:pt x="25908" y="85344"/>
                  </a:lnTo>
                  <a:lnTo>
                    <a:pt x="30480" y="94488"/>
                  </a:lnTo>
                  <a:lnTo>
                    <a:pt x="41148" y="88392"/>
                  </a:lnTo>
                  <a:lnTo>
                    <a:pt x="41148" y="97536"/>
                  </a:lnTo>
                  <a:lnTo>
                    <a:pt x="38100" y="102108"/>
                  </a:lnTo>
                  <a:lnTo>
                    <a:pt x="38100" y="108712"/>
                  </a:lnTo>
                  <a:lnTo>
                    <a:pt x="35052" y="105156"/>
                  </a:lnTo>
                  <a:lnTo>
                    <a:pt x="28956" y="97536"/>
                  </a:lnTo>
                  <a:lnTo>
                    <a:pt x="9144" y="77724"/>
                  </a:lnTo>
                  <a:close/>
                </a:path>
                <a:path w="132714" h="129539">
                  <a:moveTo>
                    <a:pt x="21336" y="70104"/>
                  </a:moveTo>
                  <a:lnTo>
                    <a:pt x="21336" y="60960"/>
                  </a:lnTo>
                  <a:lnTo>
                    <a:pt x="30480" y="70104"/>
                  </a:lnTo>
                  <a:lnTo>
                    <a:pt x="38100" y="62484"/>
                  </a:lnTo>
                  <a:lnTo>
                    <a:pt x="38100" y="73152"/>
                  </a:lnTo>
                  <a:lnTo>
                    <a:pt x="35052" y="76200"/>
                  </a:lnTo>
                  <a:lnTo>
                    <a:pt x="35052" y="83166"/>
                  </a:lnTo>
                  <a:lnTo>
                    <a:pt x="30480" y="79248"/>
                  </a:lnTo>
                  <a:lnTo>
                    <a:pt x="25908" y="85344"/>
                  </a:lnTo>
                  <a:lnTo>
                    <a:pt x="25908" y="73152"/>
                  </a:lnTo>
                  <a:lnTo>
                    <a:pt x="21336" y="70104"/>
                  </a:lnTo>
                  <a:close/>
                </a:path>
              </a:pathLst>
            </a:custGeom>
            <a:solidFill>
              <a:srgbClr val="0090DA"/>
            </a:solidFill>
          </p:spPr>
          <p:txBody>
            <a:bodyPr wrap="square" lIns="0" tIns="0" rIns="0" bIns="0" rtlCol="0"/>
            <a:lstStyle/>
            <a:p>
              <a:endParaRPr/>
            </a:p>
          </p:txBody>
        </p:sp>
        <p:sp>
          <p:nvSpPr>
            <p:cNvPr id="155" name="object 138"/>
            <p:cNvSpPr/>
            <p:nvPr/>
          </p:nvSpPr>
          <p:spPr>
            <a:xfrm>
              <a:off x="2265046" y="3257829"/>
              <a:ext cx="219710" cy="289560"/>
            </a:xfrm>
            <a:custGeom>
              <a:avLst/>
              <a:gdLst/>
              <a:ahLst/>
              <a:cxnLst/>
              <a:rect l="l" t="t" r="r" b="b"/>
              <a:pathLst>
                <a:path w="219709" h="289560">
                  <a:moveTo>
                    <a:pt x="0" y="284988"/>
                  </a:moveTo>
                  <a:lnTo>
                    <a:pt x="0" y="4572"/>
                  </a:lnTo>
                  <a:lnTo>
                    <a:pt x="1524" y="0"/>
                  </a:lnTo>
                  <a:lnTo>
                    <a:pt x="217932" y="0"/>
                  </a:lnTo>
                  <a:lnTo>
                    <a:pt x="219456" y="4571"/>
                  </a:lnTo>
                  <a:lnTo>
                    <a:pt x="219456" y="284988"/>
                  </a:lnTo>
                  <a:lnTo>
                    <a:pt x="217932" y="289559"/>
                  </a:lnTo>
                  <a:lnTo>
                    <a:pt x="202692" y="289559"/>
                  </a:lnTo>
                  <a:lnTo>
                    <a:pt x="202692" y="16764"/>
                  </a:lnTo>
                  <a:lnTo>
                    <a:pt x="16764" y="16764"/>
                  </a:lnTo>
                  <a:lnTo>
                    <a:pt x="16764" y="289559"/>
                  </a:lnTo>
                  <a:lnTo>
                    <a:pt x="1524" y="289559"/>
                  </a:lnTo>
                  <a:lnTo>
                    <a:pt x="0" y="284988"/>
                  </a:lnTo>
                  <a:close/>
                </a:path>
                <a:path w="219709" h="289560">
                  <a:moveTo>
                    <a:pt x="16764" y="289559"/>
                  </a:moveTo>
                  <a:lnTo>
                    <a:pt x="16764" y="182880"/>
                  </a:lnTo>
                  <a:lnTo>
                    <a:pt x="202692" y="182880"/>
                  </a:lnTo>
                  <a:lnTo>
                    <a:pt x="202692" y="289559"/>
                  </a:lnTo>
                  <a:lnTo>
                    <a:pt x="16764" y="289559"/>
                  </a:lnTo>
                  <a:close/>
                </a:path>
              </a:pathLst>
            </a:custGeom>
            <a:solidFill>
              <a:srgbClr val="0090DA"/>
            </a:solidFill>
          </p:spPr>
          <p:txBody>
            <a:bodyPr wrap="square" lIns="0" tIns="0" rIns="0" bIns="0" rtlCol="0"/>
            <a:lstStyle/>
            <a:p>
              <a:endParaRPr/>
            </a:p>
          </p:txBody>
        </p:sp>
        <p:sp>
          <p:nvSpPr>
            <p:cNvPr id="156" name="object 139"/>
            <p:cNvSpPr/>
            <p:nvPr/>
          </p:nvSpPr>
          <p:spPr>
            <a:xfrm>
              <a:off x="2309242" y="3375176"/>
              <a:ext cx="21590" cy="21590"/>
            </a:xfrm>
            <a:custGeom>
              <a:avLst/>
              <a:gdLst/>
              <a:ahLst/>
              <a:cxnLst/>
              <a:rect l="l" t="t" r="r" b="b"/>
              <a:pathLst>
                <a:path w="21590" h="21589">
                  <a:moveTo>
                    <a:pt x="0" y="16764"/>
                  </a:moveTo>
                  <a:lnTo>
                    <a:pt x="0" y="4572"/>
                  </a:lnTo>
                  <a:lnTo>
                    <a:pt x="4571" y="0"/>
                  </a:lnTo>
                  <a:lnTo>
                    <a:pt x="16763" y="0"/>
                  </a:lnTo>
                  <a:lnTo>
                    <a:pt x="21335" y="4571"/>
                  </a:lnTo>
                  <a:lnTo>
                    <a:pt x="21335" y="16764"/>
                  </a:lnTo>
                  <a:lnTo>
                    <a:pt x="16763" y="21336"/>
                  </a:lnTo>
                  <a:lnTo>
                    <a:pt x="13715" y="21336"/>
                  </a:lnTo>
                  <a:lnTo>
                    <a:pt x="13715" y="7620"/>
                  </a:lnTo>
                  <a:lnTo>
                    <a:pt x="7619" y="7620"/>
                  </a:lnTo>
                  <a:lnTo>
                    <a:pt x="4571" y="9144"/>
                  </a:lnTo>
                  <a:lnTo>
                    <a:pt x="4571" y="21336"/>
                  </a:lnTo>
                  <a:lnTo>
                    <a:pt x="0" y="16764"/>
                  </a:lnTo>
                  <a:close/>
                </a:path>
                <a:path w="21590" h="21589">
                  <a:moveTo>
                    <a:pt x="4571" y="21336"/>
                  </a:moveTo>
                  <a:lnTo>
                    <a:pt x="4571" y="13716"/>
                  </a:lnTo>
                  <a:lnTo>
                    <a:pt x="7619" y="16764"/>
                  </a:lnTo>
                  <a:lnTo>
                    <a:pt x="13715" y="16764"/>
                  </a:lnTo>
                  <a:lnTo>
                    <a:pt x="13715" y="21336"/>
                  </a:lnTo>
                  <a:lnTo>
                    <a:pt x="4571" y="21336"/>
                  </a:lnTo>
                  <a:close/>
                </a:path>
              </a:pathLst>
            </a:custGeom>
            <a:solidFill>
              <a:srgbClr val="0090DA"/>
            </a:solidFill>
          </p:spPr>
          <p:txBody>
            <a:bodyPr wrap="square" lIns="0" tIns="0" rIns="0" bIns="0" rtlCol="0"/>
            <a:lstStyle/>
            <a:p>
              <a:endParaRPr/>
            </a:p>
          </p:txBody>
        </p:sp>
        <p:sp>
          <p:nvSpPr>
            <p:cNvPr id="157" name="object 140"/>
            <p:cNvSpPr/>
            <p:nvPr/>
          </p:nvSpPr>
          <p:spPr>
            <a:xfrm>
              <a:off x="2402206" y="3375176"/>
              <a:ext cx="21590" cy="21590"/>
            </a:xfrm>
            <a:custGeom>
              <a:avLst/>
              <a:gdLst/>
              <a:ahLst/>
              <a:cxnLst/>
              <a:rect l="l" t="t" r="r" b="b"/>
              <a:pathLst>
                <a:path w="21590" h="21589">
                  <a:moveTo>
                    <a:pt x="0" y="16764"/>
                  </a:moveTo>
                  <a:lnTo>
                    <a:pt x="0" y="4572"/>
                  </a:lnTo>
                  <a:lnTo>
                    <a:pt x="4571" y="0"/>
                  </a:lnTo>
                  <a:lnTo>
                    <a:pt x="16763" y="0"/>
                  </a:lnTo>
                  <a:lnTo>
                    <a:pt x="21335" y="4571"/>
                  </a:lnTo>
                  <a:lnTo>
                    <a:pt x="21335" y="16764"/>
                  </a:lnTo>
                  <a:lnTo>
                    <a:pt x="16763" y="21336"/>
                  </a:lnTo>
                  <a:lnTo>
                    <a:pt x="16763" y="9144"/>
                  </a:lnTo>
                  <a:lnTo>
                    <a:pt x="13715" y="7620"/>
                  </a:lnTo>
                  <a:lnTo>
                    <a:pt x="9143" y="7620"/>
                  </a:lnTo>
                  <a:lnTo>
                    <a:pt x="7619" y="9144"/>
                  </a:lnTo>
                  <a:lnTo>
                    <a:pt x="7619" y="21336"/>
                  </a:lnTo>
                  <a:lnTo>
                    <a:pt x="4571" y="21336"/>
                  </a:lnTo>
                  <a:lnTo>
                    <a:pt x="0" y="16764"/>
                  </a:lnTo>
                  <a:close/>
                </a:path>
                <a:path w="21590" h="21589">
                  <a:moveTo>
                    <a:pt x="7619" y="21336"/>
                  </a:moveTo>
                  <a:lnTo>
                    <a:pt x="7619" y="13716"/>
                  </a:lnTo>
                  <a:lnTo>
                    <a:pt x="9143" y="16764"/>
                  </a:lnTo>
                  <a:lnTo>
                    <a:pt x="13715" y="16764"/>
                  </a:lnTo>
                  <a:lnTo>
                    <a:pt x="16763" y="13716"/>
                  </a:lnTo>
                  <a:lnTo>
                    <a:pt x="16763" y="21336"/>
                  </a:lnTo>
                  <a:lnTo>
                    <a:pt x="7619" y="21336"/>
                  </a:lnTo>
                  <a:close/>
                </a:path>
              </a:pathLst>
            </a:custGeom>
            <a:solidFill>
              <a:srgbClr val="0090DA"/>
            </a:solidFill>
          </p:spPr>
          <p:txBody>
            <a:bodyPr wrap="square" lIns="0" tIns="0" rIns="0" bIns="0" rtlCol="0"/>
            <a:lstStyle/>
            <a:p>
              <a:endParaRPr/>
            </a:p>
          </p:txBody>
        </p:sp>
        <p:sp>
          <p:nvSpPr>
            <p:cNvPr id="158" name="object 141"/>
            <p:cNvSpPr/>
            <p:nvPr/>
          </p:nvSpPr>
          <p:spPr>
            <a:xfrm>
              <a:off x="2295526" y="3343173"/>
              <a:ext cx="158750" cy="43180"/>
            </a:xfrm>
            <a:custGeom>
              <a:avLst/>
              <a:gdLst/>
              <a:ahLst/>
              <a:cxnLst/>
              <a:rect l="l" t="t" r="r" b="b"/>
              <a:pathLst>
                <a:path w="158750" h="43179">
                  <a:moveTo>
                    <a:pt x="0" y="42672"/>
                  </a:moveTo>
                  <a:lnTo>
                    <a:pt x="0" y="0"/>
                  </a:lnTo>
                  <a:lnTo>
                    <a:pt x="153923" y="0"/>
                  </a:lnTo>
                  <a:lnTo>
                    <a:pt x="158495" y="24384"/>
                  </a:lnTo>
                  <a:lnTo>
                    <a:pt x="158495" y="42672"/>
                  </a:lnTo>
                  <a:lnTo>
                    <a:pt x="155447" y="42672"/>
                  </a:lnTo>
                  <a:lnTo>
                    <a:pt x="155447" y="21336"/>
                  </a:lnTo>
                  <a:lnTo>
                    <a:pt x="150875" y="1524"/>
                  </a:lnTo>
                  <a:lnTo>
                    <a:pt x="126491" y="1524"/>
                  </a:lnTo>
                  <a:lnTo>
                    <a:pt x="126491" y="28956"/>
                  </a:lnTo>
                  <a:lnTo>
                    <a:pt x="121919" y="28956"/>
                  </a:lnTo>
                  <a:lnTo>
                    <a:pt x="121919" y="1524"/>
                  </a:lnTo>
                  <a:lnTo>
                    <a:pt x="99059" y="1524"/>
                  </a:lnTo>
                  <a:lnTo>
                    <a:pt x="99059" y="42672"/>
                  </a:lnTo>
                  <a:lnTo>
                    <a:pt x="97535" y="42672"/>
                  </a:lnTo>
                  <a:lnTo>
                    <a:pt x="97535" y="1524"/>
                  </a:lnTo>
                  <a:lnTo>
                    <a:pt x="73151" y="1524"/>
                  </a:lnTo>
                  <a:lnTo>
                    <a:pt x="73151" y="42672"/>
                  </a:lnTo>
                  <a:lnTo>
                    <a:pt x="70103" y="42672"/>
                  </a:lnTo>
                  <a:lnTo>
                    <a:pt x="70103" y="1524"/>
                  </a:lnTo>
                  <a:lnTo>
                    <a:pt x="45719" y="1524"/>
                  </a:lnTo>
                  <a:lnTo>
                    <a:pt x="45719" y="42672"/>
                  </a:lnTo>
                  <a:lnTo>
                    <a:pt x="44195" y="42672"/>
                  </a:lnTo>
                  <a:lnTo>
                    <a:pt x="44195" y="1524"/>
                  </a:lnTo>
                  <a:lnTo>
                    <a:pt x="19811" y="1524"/>
                  </a:lnTo>
                  <a:lnTo>
                    <a:pt x="19811" y="28956"/>
                  </a:lnTo>
                  <a:lnTo>
                    <a:pt x="16763" y="28956"/>
                  </a:lnTo>
                  <a:lnTo>
                    <a:pt x="16763" y="1524"/>
                  </a:lnTo>
                  <a:lnTo>
                    <a:pt x="4571" y="1524"/>
                  </a:lnTo>
                  <a:lnTo>
                    <a:pt x="4571" y="42672"/>
                  </a:lnTo>
                  <a:lnTo>
                    <a:pt x="0" y="42672"/>
                  </a:lnTo>
                  <a:close/>
                </a:path>
                <a:path w="158750" h="43179">
                  <a:moveTo>
                    <a:pt x="126491" y="28956"/>
                  </a:moveTo>
                  <a:lnTo>
                    <a:pt x="126491" y="21336"/>
                  </a:lnTo>
                  <a:lnTo>
                    <a:pt x="155447" y="21336"/>
                  </a:lnTo>
                  <a:lnTo>
                    <a:pt x="155447" y="42672"/>
                  </a:lnTo>
                  <a:lnTo>
                    <a:pt x="131063" y="42672"/>
                  </a:lnTo>
                  <a:lnTo>
                    <a:pt x="131063" y="36576"/>
                  </a:lnTo>
                  <a:lnTo>
                    <a:pt x="126491" y="28956"/>
                  </a:lnTo>
                  <a:close/>
                </a:path>
                <a:path w="158750" h="43179">
                  <a:moveTo>
                    <a:pt x="99059" y="42672"/>
                  </a:moveTo>
                  <a:lnTo>
                    <a:pt x="99059" y="21336"/>
                  </a:lnTo>
                  <a:lnTo>
                    <a:pt x="121919" y="21336"/>
                  </a:lnTo>
                  <a:lnTo>
                    <a:pt x="121919" y="28956"/>
                  </a:lnTo>
                  <a:lnTo>
                    <a:pt x="109727" y="28956"/>
                  </a:lnTo>
                  <a:lnTo>
                    <a:pt x="105155" y="36576"/>
                  </a:lnTo>
                  <a:lnTo>
                    <a:pt x="105155" y="42672"/>
                  </a:lnTo>
                  <a:lnTo>
                    <a:pt x="99059" y="42672"/>
                  </a:lnTo>
                  <a:close/>
                </a:path>
                <a:path w="158750" h="43179">
                  <a:moveTo>
                    <a:pt x="73151" y="42672"/>
                  </a:moveTo>
                  <a:lnTo>
                    <a:pt x="73151" y="41148"/>
                  </a:lnTo>
                  <a:lnTo>
                    <a:pt x="97535" y="41148"/>
                  </a:lnTo>
                  <a:lnTo>
                    <a:pt x="97535" y="42672"/>
                  </a:lnTo>
                  <a:lnTo>
                    <a:pt x="73151" y="42672"/>
                  </a:lnTo>
                  <a:close/>
                </a:path>
                <a:path w="158750" h="43179">
                  <a:moveTo>
                    <a:pt x="45719" y="42672"/>
                  </a:moveTo>
                  <a:lnTo>
                    <a:pt x="45719" y="21336"/>
                  </a:lnTo>
                  <a:lnTo>
                    <a:pt x="70103" y="21336"/>
                  </a:lnTo>
                  <a:lnTo>
                    <a:pt x="70103" y="42672"/>
                  </a:lnTo>
                  <a:lnTo>
                    <a:pt x="45719" y="42672"/>
                  </a:lnTo>
                  <a:close/>
                </a:path>
                <a:path w="158750" h="43179">
                  <a:moveTo>
                    <a:pt x="19811" y="28956"/>
                  </a:moveTo>
                  <a:lnTo>
                    <a:pt x="19811" y="21336"/>
                  </a:lnTo>
                  <a:lnTo>
                    <a:pt x="44195" y="21336"/>
                  </a:lnTo>
                  <a:lnTo>
                    <a:pt x="44195" y="42672"/>
                  </a:lnTo>
                  <a:lnTo>
                    <a:pt x="38099" y="42672"/>
                  </a:lnTo>
                  <a:lnTo>
                    <a:pt x="38099" y="36576"/>
                  </a:lnTo>
                  <a:lnTo>
                    <a:pt x="33527" y="28956"/>
                  </a:lnTo>
                  <a:lnTo>
                    <a:pt x="19811" y="28956"/>
                  </a:lnTo>
                  <a:close/>
                </a:path>
                <a:path w="158750" h="43179">
                  <a:moveTo>
                    <a:pt x="4571" y="42672"/>
                  </a:moveTo>
                  <a:lnTo>
                    <a:pt x="4571" y="21336"/>
                  </a:lnTo>
                  <a:lnTo>
                    <a:pt x="16763" y="21336"/>
                  </a:lnTo>
                  <a:lnTo>
                    <a:pt x="16763" y="28956"/>
                  </a:lnTo>
                  <a:lnTo>
                    <a:pt x="12191" y="36576"/>
                  </a:lnTo>
                  <a:lnTo>
                    <a:pt x="12191" y="42672"/>
                  </a:lnTo>
                  <a:lnTo>
                    <a:pt x="4571" y="42672"/>
                  </a:lnTo>
                  <a:close/>
                </a:path>
              </a:pathLst>
            </a:custGeom>
            <a:solidFill>
              <a:srgbClr val="0090DA"/>
            </a:solidFill>
          </p:spPr>
          <p:txBody>
            <a:bodyPr wrap="square" lIns="0" tIns="0" rIns="0" bIns="0" rtlCol="0"/>
            <a:lstStyle/>
            <a:p>
              <a:endParaRPr/>
            </a:p>
          </p:txBody>
        </p:sp>
        <p:sp>
          <p:nvSpPr>
            <p:cNvPr id="159" name="object 142"/>
            <p:cNvSpPr/>
            <p:nvPr/>
          </p:nvSpPr>
          <p:spPr>
            <a:xfrm>
              <a:off x="2368678" y="3347744"/>
              <a:ext cx="20320" cy="35560"/>
            </a:xfrm>
            <a:custGeom>
              <a:avLst/>
              <a:gdLst/>
              <a:ahLst/>
              <a:cxnLst/>
              <a:rect l="l" t="t" r="r" b="b"/>
              <a:pathLst>
                <a:path w="20319" h="35560">
                  <a:moveTo>
                    <a:pt x="0" y="35051"/>
                  </a:moveTo>
                  <a:lnTo>
                    <a:pt x="0" y="0"/>
                  </a:lnTo>
                  <a:lnTo>
                    <a:pt x="9143" y="0"/>
                  </a:lnTo>
                  <a:lnTo>
                    <a:pt x="9143" y="35051"/>
                  </a:lnTo>
                  <a:lnTo>
                    <a:pt x="0" y="35051"/>
                  </a:lnTo>
                  <a:close/>
                </a:path>
                <a:path w="20319" h="35560">
                  <a:moveTo>
                    <a:pt x="10667" y="35051"/>
                  </a:moveTo>
                  <a:lnTo>
                    <a:pt x="10667" y="0"/>
                  </a:lnTo>
                  <a:lnTo>
                    <a:pt x="19812" y="0"/>
                  </a:lnTo>
                  <a:lnTo>
                    <a:pt x="19812" y="35051"/>
                  </a:lnTo>
                  <a:lnTo>
                    <a:pt x="10667" y="35051"/>
                  </a:lnTo>
                  <a:close/>
                </a:path>
              </a:pathLst>
            </a:custGeom>
            <a:solidFill>
              <a:srgbClr val="0090DA"/>
            </a:solidFill>
          </p:spPr>
          <p:txBody>
            <a:bodyPr wrap="square" lIns="0" tIns="0" rIns="0" bIns="0" rtlCol="0"/>
            <a:lstStyle/>
            <a:p>
              <a:endParaRPr/>
            </a:p>
          </p:txBody>
        </p:sp>
        <p:sp>
          <p:nvSpPr>
            <p:cNvPr id="160" name="object 143"/>
            <p:cNvSpPr/>
            <p:nvPr/>
          </p:nvSpPr>
          <p:spPr>
            <a:xfrm>
              <a:off x="3108611" y="3265449"/>
              <a:ext cx="269240" cy="274320"/>
            </a:xfrm>
            <a:custGeom>
              <a:avLst/>
              <a:gdLst/>
              <a:ahLst/>
              <a:cxnLst/>
              <a:rect l="l" t="t" r="r" b="b"/>
              <a:pathLst>
                <a:path w="269239" h="274320">
                  <a:moveTo>
                    <a:pt x="0" y="158459"/>
                  </a:moveTo>
                  <a:lnTo>
                    <a:pt x="0" y="116531"/>
                  </a:lnTo>
                  <a:lnTo>
                    <a:pt x="12435" y="75846"/>
                  </a:lnTo>
                  <a:lnTo>
                    <a:pt x="37307" y="39624"/>
                  </a:lnTo>
                  <a:lnTo>
                    <a:pt x="81503" y="10096"/>
                  </a:lnTo>
                  <a:lnTo>
                    <a:pt x="134843" y="0"/>
                  </a:lnTo>
                  <a:lnTo>
                    <a:pt x="160108" y="2547"/>
                  </a:lnTo>
                  <a:lnTo>
                    <a:pt x="208352" y="22502"/>
                  </a:lnTo>
                  <a:lnTo>
                    <a:pt x="255666" y="75846"/>
                  </a:lnTo>
                  <a:lnTo>
                    <a:pt x="268833" y="116531"/>
                  </a:lnTo>
                  <a:lnTo>
                    <a:pt x="268833" y="158459"/>
                  </a:lnTo>
                  <a:lnTo>
                    <a:pt x="255666" y="198412"/>
                  </a:lnTo>
                  <a:lnTo>
                    <a:pt x="251048" y="204507"/>
                  </a:lnTo>
                  <a:lnTo>
                    <a:pt x="251048" y="137731"/>
                  </a:lnTo>
                  <a:lnTo>
                    <a:pt x="247905" y="110132"/>
                  </a:lnTo>
                  <a:lnTo>
                    <a:pt x="238475" y="83820"/>
                  </a:lnTo>
                  <a:lnTo>
                    <a:pt x="206471" y="106680"/>
                  </a:lnTo>
                  <a:lnTo>
                    <a:pt x="206471" y="251570"/>
                  </a:lnTo>
                  <a:lnTo>
                    <a:pt x="194279" y="258305"/>
                  </a:lnTo>
                  <a:lnTo>
                    <a:pt x="194279" y="138684"/>
                  </a:lnTo>
                  <a:lnTo>
                    <a:pt x="193374" y="125730"/>
                  </a:lnTo>
                  <a:lnTo>
                    <a:pt x="190469" y="113919"/>
                  </a:lnTo>
                  <a:lnTo>
                    <a:pt x="186659" y="105669"/>
                  </a:lnTo>
                  <a:lnTo>
                    <a:pt x="186659" y="32004"/>
                  </a:lnTo>
                  <a:lnTo>
                    <a:pt x="174491" y="26241"/>
                  </a:lnTo>
                  <a:lnTo>
                    <a:pt x="161323" y="22479"/>
                  </a:lnTo>
                  <a:lnTo>
                    <a:pt x="147868" y="20431"/>
                  </a:lnTo>
                  <a:lnTo>
                    <a:pt x="134843" y="19812"/>
                  </a:lnTo>
                  <a:lnTo>
                    <a:pt x="120270" y="20431"/>
                  </a:lnTo>
                  <a:lnTo>
                    <a:pt x="106268" y="22479"/>
                  </a:lnTo>
                  <a:lnTo>
                    <a:pt x="92838" y="26241"/>
                  </a:lnTo>
                  <a:lnTo>
                    <a:pt x="79979" y="32004"/>
                  </a:lnTo>
                  <a:lnTo>
                    <a:pt x="79979" y="108034"/>
                  </a:lnTo>
                  <a:lnTo>
                    <a:pt x="76931" y="112776"/>
                  </a:lnTo>
                  <a:lnTo>
                    <a:pt x="72359" y="136398"/>
                  </a:lnTo>
                  <a:lnTo>
                    <a:pt x="72359" y="258405"/>
                  </a:lnTo>
                  <a:lnTo>
                    <a:pt x="60167" y="251663"/>
                  </a:lnTo>
                  <a:lnTo>
                    <a:pt x="60167" y="106680"/>
                  </a:lnTo>
                  <a:lnTo>
                    <a:pt x="28163" y="83820"/>
                  </a:lnTo>
                  <a:lnTo>
                    <a:pt x="18781" y="110132"/>
                  </a:lnTo>
                  <a:lnTo>
                    <a:pt x="15971" y="137731"/>
                  </a:lnTo>
                  <a:lnTo>
                    <a:pt x="15971" y="203353"/>
                  </a:lnTo>
                  <a:lnTo>
                    <a:pt x="12435" y="198412"/>
                  </a:lnTo>
                  <a:lnTo>
                    <a:pt x="0" y="158459"/>
                  </a:lnTo>
                  <a:close/>
                </a:path>
                <a:path w="269239" h="274320">
                  <a:moveTo>
                    <a:pt x="206471" y="251570"/>
                  </a:moveTo>
                  <a:lnTo>
                    <a:pt x="206471" y="167640"/>
                  </a:lnTo>
                  <a:lnTo>
                    <a:pt x="238475" y="190500"/>
                  </a:lnTo>
                  <a:lnTo>
                    <a:pt x="247905" y="165044"/>
                  </a:lnTo>
                  <a:lnTo>
                    <a:pt x="251048" y="137731"/>
                  </a:lnTo>
                  <a:lnTo>
                    <a:pt x="251048" y="204507"/>
                  </a:lnTo>
                  <a:lnTo>
                    <a:pt x="229331" y="233172"/>
                  </a:lnTo>
                  <a:lnTo>
                    <a:pt x="208352" y="250531"/>
                  </a:lnTo>
                  <a:lnTo>
                    <a:pt x="206471" y="251570"/>
                  </a:lnTo>
                  <a:close/>
                </a:path>
                <a:path w="269239" h="274320">
                  <a:moveTo>
                    <a:pt x="206471" y="167640"/>
                  </a:moveTo>
                  <a:lnTo>
                    <a:pt x="206471" y="106680"/>
                  </a:lnTo>
                  <a:lnTo>
                    <a:pt x="209995" y="113823"/>
                  </a:lnTo>
                  <a:lnTo>
                    <a:pt x="211805" y="121539"/>
                  </a:lnTo>
                  <a:lnTo>
                    <a:pt x="212472" y="129825"/>
                  </a:lnTo>
                  <a:lnTo>
                    <a:pt x="212567" y="138684"/>
                  </a:lnTo>
                  <a:lnTo>
                    <a:pt x="212472" y="145137"/>
                  </a:lnTo>
                  <a:lnTo>
                    <a:pt x="211805" y="152590"/>
                  </a:lnTo>
                  <a:lnTo>
                    <a:pt x="209995" y="160329"/>
                  </a:lnTo>
                  <a:lnTo>
                    <a:pt x="206471" y="167640"/>
                  </a:lnTo>
                  <a:close/>
                </a:path>
                <a:path w="269239" h="274320">
                  <a:moveTo>
                    <a:pt x="72359" y="258405"/>
                  </a:moveTo>
                  <a:lnTo>
                    <a:pt x="72359" y="136398"/>
                  </a:lnTo>
                  <a:lnTo>
                    <a:pt x="76931" y="160020"/>
                  </a:lnTo>
                  <a:lnTo>
                    <a:pt x="90647" y="181356"/>
                  </a:lnTo>
                  <a:lnTo>
                    <a:pt x="100124" y="189118"/>
                  </a:lnTo>
                  <a:lnTo>
                    <a:pt x="110459" y="194309"/>
                  </a:lnTo>
                  <a:lnTo>
                    <a:pt x="121937" y="197215"/>
                  </a:lnTo>
                  <a:lnTo>
                    <a:pt x="134843" y="198119"/>
                  </a:lnTo>
                  <a:lnTo>
                    <a:pt x="145582" y="197215"/>
                  </a:lnTo>
                  <a:lnTo>
                    <a:pt x="185278" y="172116"/>
                  </a:lnTo>
                  <a:lnTo>
                    <a:pt x="194279" y="138684"/>
                  </a:lnTo>
                  <a:lnTo>
                    <a:pt x="194279" y="258305"/>
                  </a:lnTo>
                  <a:lnTo>
                    <a:pt x="186659" y="262514"/>
                  </a:lnTo>
                  <a:lnTo>
                    <a:pt x="186659" y="242316"/>
                  </a:lnTo>
                  <a:lnTo>
                    <a:pt x="165323" y="210312"/>
                  </a:lnTo>
                  <a:lnTo>
                    <a:pt x="157560" y="212550"/>
                  </a:lnTo>
                  <a:lnTo>
                    <a:pt x="150083" y="214502"/>
                  </a:lnTo>
                  <a:lnTo>
                    <a:pt x="142606" y="215884"/>
                  </a:lnTo>
                  <a:lnTo>
                    <a:pt x="134843" y="216407"/>
                  </a:lnTo>
                  <a:lnTo>
                    <a:pt x="125985" y="215884"/>
                  </a:lnTo>
                  <a:lnTo>
                    <a:pt x="117698" y="214502"/>
                  </a:lnTo>
                  <a:lnTo>
                    <a:pt x="109983" y="212550"/>
                  </a:lnTo>
                  <a:lnTo>
                    <a:pt x="102839" y="210312"/>
                  </a:lnTo>
                  <a:lnTo>
                    <a:pt x="79979" y="242316"/>
                  </a:lnTo>
                  <a:lnTo>
                    <a:pt x="79979" y="262618"/>
                  </a:lnTo>
                  <a:lnTo>
                    <a:pt x="72359" y="258405"/>
                  </a:lnTo>
                  <a:close/>
                </a:path>
                <a:path w="269239" h="274320">
                  <a:moveTo>
                    <a:pt x="79979" y="108034"/>
                  </a:moveTo>
                  <a:lnTo>
                    <a:pt x="79979" y="32004"/>
                  </a:lnTo>
                  <a:lnTo>
                    <a:pt x="102839" y="62484"/>
                  </a:lnTo>
                  <a:lnTo>
                    <a:pt x="110459" y="61034"/>
                  </a:lnTo>
                  <a:lnTo>
                    <a:pt x="117698" y="59626"/>
                  </a:lnTo>
                  <a:lnTo>
                    <a:pt x="125985" y="58412"/>
                  </a:lnTo>
                  <a:lnTo>
                    <a:pt x="134843" y="57912"/>
                  </a:lnTo>
                  <a:lnTo>
                    <a:pt x="142606" y="58412"/>
                  </a:lnTo>
                  <a:lnTo>
                    <a:pt x="150083" y="59626"/>
                  </a:lnTo>
                  <a:lnTo>
                    <a:pt x="157560" y="61126"/>
                  </a:lnTo>
                  <a:lnTo>
                    <a:pt x="165323" y="62484"/>
                  </a:lnTo>
                  <a:lnTo>
                    <a:pt x="186659" y="32004"/>
                  </a:lnTo>
                  <a:lnTo>
                    <a:pt x="186659" y="105669"/>
                  </a:lnTo>
                  <a:lnTo>
                    <a:pt x="185278" y="102679"/>
                  </a:lnTo>
                  <a:lnTo>
                    <a:pt x="177515" y="91440"/>
                  </a:lnTo>
                  <a:lnTo>
                    <a:pt x="167633" y="84320"/>
                  </a:lnTo>
                  <a:lnTo>
                    <a:pt x="156751" y="79057"/>
                  </a:lnTo>
                  <a:lnTo>
                    <a:pt x="145582" y="75795"/>
                  </a:lnTo>
                  <a:lnTo>
                    <a:pt x="134843" y="74676"/>
                  </a:lnTo>
                  <a:lnTo>
                    <a:pt x="121937" y="75795"/>
                  </a:lnTo>
                  <a:lnTo>
                    <a:pt x="110459" y="79057"/>
                  </a:lnTo>
                  <a:lnTo>
                    <a:pt x="100124" y="84320"/>
                  </a:lnTo>
                  <a:lnTo>
                    <a:pt x="90647" y="91440"/>
                  </a:lnTo>
                  <a:lnTo>
                    <a:pt x="79979" y="108034"/>
                  </a:lnTo>
                  <a:close/>
                </a:path>
                <a:path w="269239" h="274320">
                  <a:moveTo>
                    <a:pt x="79979" y="262618"/>
                  </a:moveTo>
                  <a:lnTo>
                    <a:pt x="79979" y="242316"/>
                  </a:lnTo>
                  <a:lnTo>
                    <a:pt x="92838" y="247840"/>
                  </a:lnTo>
                  <a:lnTo>
                    <a:pt x="106268" y="251079"/>
                  </a:lnTo>
                  <a:lnTo>
                    <a:pt x="120270" y="252603"/>
                  </a:lnTo>
                  <a:lnTo>
                    <a:pt x="134843" y="252984"/>
                  </a:lnTo>
                  <a:lnTo>
                    <a:pt x="147868" y="252603"/>
                  </a:lnTo>
                  <a:lnTo>
                    <a:pt x="161323" y="251079"/>
                  </a:lnTo>
                  <a:lnTo>
                    <a:pt x="174491" y="247840"/>
                  </a:lnTo>
                  <a:lnTo>
                    <a:pt x="186659" y="242316"/>
                  </a:lnTo>
                  <a:lnTo>
                    <a:pt x="186659" y="262514"/>
                  </a:lnTo>
                  <a:lnTo>
                    <a:pt x="184945" y="263461"/>
                  </a:lnTo>
                  <a:lnTo>
                    <a:pt x="160108" y="271533"/>
                  </a:lnTo>
                  <a:lnTo>
                    <a:pt x="134843" y="274319"/>
                  </a:lnTo>
                  <a:lnTo>
                    <a:pt x="107173" y="271533"/>
                  </a:lnTo>
                  <a:lnTo>
                    <a:pt x="81503" y="263461"/>
                  </a:lnTo>
                  <a:lnTo>
                    <a:pt x="79979" y="262618"/>
                  </a:lnTo>
                  <a:close/>
                </a:path>
                <a:path w="269239" h="274320">
                  <a:moveTo>
                    <a:pt x="54071" y="138684"/>
                  </a:moveTo>
                  <a:lnTo>
                    <a:pt x="54595" y="129825"/>
                  </a:lnTo>
                  <a:lnTo>
                    <a:pt x="55976" y="121539"/>
                  </a:lnTo>
                  <a:lnTo>
                    <a:pt x="57929" y="113823"/>
                  </a:lnTo>
                  <a:lnTo>
                    <a:pt x="60167" y="106680"/>
                  </a:lnTo>
                  <a:lnTo>
                    <a:pt x="60167" y="167640"/>
                  </a:lnTo>
                  <a:lnTo>
                    <a:pt x="57929" y="160329"/>
                  </a:lnTo>
                  <a:lnTo>
                    <a:pt x="55976" y="152590"/>
                  </a:lnTo>
                  <a:lnTo>
                    <a:pt x="54595" y="145137"/>
                  </a:lnTo>
                  <a:lnTo>
                    <a:pt x="54071" y="138684"/>
                  </a:lnTo>
                  <a:close/>
                </a:path>
                <a:path w="269239" h="274320">
                  <a:moveTo>
                    <a:pt x="15971" y="203353"/>
                  </a:moveTo>
                  <a:lnTo>
                    <a:pt x="15971" y="137731"/>
                  </a:lnTo>
                  <a:lnTo>
                    <a:pt x="20019" y="165044"/>
                  </a:lnTo>
                  <a:lnTo>
                    <a:pt x="31211" y="190500"/>
                  </a:lnTo>
                  <a:lnTo>
                    <a:pt x="60167" y="167640"/>
                  </a:lnTo>
                  <a:lnTo>
                    <a:pt x="60167" y="251663"/>
                  </a:lnTo>
                  <a:lnTo>
                    <a:pt x="58119" y="250531"/>
                  </a:lnTo>
                  <a:lnTo>
                    <a:pt x="37307" y="233172"/>
                  </a:lnTo>
                  <a:lnTo>
                    <a:pt x="15971" y="203353"/>
                  </a:lnTo>
                  <a:close/>
                </a:path>
              </a:pathLst>
            </a:custGeom>
            <a:solidFill>
              <a:srgbClr val="0090DA"/>
            </a:solidFill>
          </p:spPr>
          <p:txBody>
            <a:bodyPr wrap="square" lIns="0" tIns="0" rIns="0" bIns="0" rtlCol="0"/>
            <a:lstStyle/>
            <a:p>
              <a:endParaRPr/>
            </a:p>
          </p:txBody>
        </p:sp>
        <p:sp>
          <p:nvSpPr>
            <p:cNvPr id="161" name="object 144"/>
            <p:cNvSpPr/>
            <p:nvPr/>
          </p:nvSpPr>
          <p:spPr>
            <a:xfrm>
              <a:off x="4045078" y="3260562"/>
              <a:ext cx="134620" cy="283210"/>
            </a:xfrm>
            <a:custGeom>
              <a:avLst/>
              <a:gdLst/>
              <a:ahLst/>
              <a:cxnLst/>
              <a:rect l="l" t="t" r="r" b="b"/>
              <a:pathLst>
                <a:path w="134619" h="283210">
                  <a:moveTo>
                    <a:pt x="0" y="244154"/>
                  </a:moveTo>
                  <a:lnTo>
                    <a:pt x="0" y="49082"/>
                  </a:lnTo>
                  <a:lnTo>
                    <a:pt x="16764" y="26222"/>
                  </a:lnTo>
                  <a:lnTo>
                    <a:pt x="19050" y="16817"/>
                  </a:lnTo>
                  <a:lnTo>
                    <a:pt x="59769" y="0"/>
                  </a:lnTo>
                  <a:lnTo>
                    <a:pt x="74985" y="314"/>
                  </a:lnTo>
                  <a:lnTo>
                    <a:pt x="114038" y="16840"/>
                  </a:lnTo>
                  <a:lnTo>
                    <a:pt x="115824" y="26222"/>
                  </a:lnTo>
                  <a:lnTo>
                    <a:pt x="124467" y="29175"/>
                  </a:lnTo>
                  <a:lnTo>
                    <a:pt x="130111" y="33842"/>
                  </a:lnTo>
                  <a:lnTo>
                    <a:pt x="133183" y="40796"/>
                  </a:lnTo>
                  <a:lnTo>
                    <a:pt x="134112" y="50606"/>
                  </a:lnTo>
                  <a:lnTo>
                    <a:pt x="134112" y="242630"/>
                  </a:lnTo>
                  <a:lnTo>
                    <a:pt x="132730" y="253751"/>
                  </a:lnTo>
                  <a:lnTo>
                    <a:pt x="128778" y="261871"/>
                  </a:lnTo>
                  <a:lnTo>
                    <a:pt x="122539" y="266848"/>
                  </a:lnTo>
                  <a:lnTo>
                    <a:pt x="118872" y="267600"/>
                  </a:lnTo>
                  <a:lnTo>
                    <a:pt x="118872" y="61274"/>
                  </a:lnTo>
                  <a:lnTo>
                    <a:pt x="117538" y="51273"/>
                  </a:lnTo>
                  <a:lnTo>
                    <a:pt x="113919" y="44129"/>
                  </a:lnTo>
                  <a:lnTo>
                    <a:pt x="108585" y="39843"/>
                  </a:lnTo>
                  <a:lnTo>
                    <a:pt x="102108" y="38414"/>
                  </a:lnTo>
                  <a:lnTo>
                    <a:pt x="30480" y="39938"/>
                  </a:lnTo>
                  <a:lnTo>
                    <a:pt x="12192" y="266647"/>
                  </a:lnTo>
                  <a:lnTo>
                    <a:pt x="9644" y="266443"/>
                  </a:lnTo>
                  <a:lnTo>
                    <a:pt x="4381" y="262442"/>
                  </a:lnTo>
                  <a:lnTo>
                    <a:pt x="1119" y="255013"/>
                  </a:lnTo>
                  <a:lnTo>
                    <a:pt x="0" y="244154"/>
                  </a:lnTo>
                  <a:close/>
                </a:path>
                <a:path w="134619" h="283210">
                  <a:moveTo>
                    <a:pt x="12192" y="266647"/>
                  </a:moveTo>
                  <a:lnTo>
                    <a:pt x="12192" y="236534"/>
                  </a:lnTo>
                  <a:lnTo>
                    <a:pt x="13549" y="246298"/>
                  </a:lnTo>
                  <a:lnTo>
                    <a:pt x="17335" y="252917"/>
                  </a:lnTo>
                  <a:lnTo>
                    <a:pt x="23121" y="256680"/>
                  </a:lnTo>
                  <a:lnTo>
                    <a:pt x="30480" y="257870"/>
                  </a:lnTo>
                  <a:lnTo>
                    <a:pt x="103632" y="256346"/>
                  </a:lnTo>
                  <a:lnTo>
                    <a:pt x="109870" y="254703"/>
                  </a:lnTo>
                  <a:lnTo>
                    <a:pt x="114681" y="250060"/>
                  </a:lnTo>
                  <a:lnTo>
                    <a:pt x="117776" y="242845"/>
                  </a:lnTo>
                  <a:lnTo>
                    <a:pt x="118872" y="233486"/>
                  </a:lnTo>
                  <a:lnTo>
                    <a:pt x="118872" y="267600"/>
                  </a:lnTo>
                  <a:lnTo>
                    <a:pt x="114300" y="268538"/>
                  </a:lnTo>
                  <a:lnTo>
                    <a:pt x="114300" y="276158"/>
                  </a:lnTo>
                  <a:lnTo>
                    <a:pt x="105156" y="280730"/>
                  </a:lnTo>
                  <a:lnTo>
                    <a:pt x="94488" y="282254"/>
                  </a:lnTo>
                  <a:lnTo>
                    <a:pt x="89773" y="282469"/>
                  </a:lnTo>
                  <a:lnTo>
                    <a:pt x="77343" y="282826"/>
                  </a:lnTo>
                  <a:lnTo>
                    <a:pt x="59769" y="282897"/>
                  </a:lnTo>
                  <a:lnTo>
                    <a:pt x="39624" y="282254"/>
                  </a:lnTo>
                  <a:lnTo>
                    <a:pt x="30480" y="280516"/>
                  </a:lnTo>
                  <a:lnTo>
                    <a:pt x="23622" y="277492"/>
                  </a:lnTo>
                  <a:lnTo>
                    <a:pt x="19050" y="273039"/>
                  </a:lnTo>
                  <a:lnTo>
                    <a:pt x="16764" y="267014"/>
                  </a:lnTo>
                  <a:lnTo>
                    <a:pt x="12192" y="266647"/>
                  </a:lnTo>
                  <a:close/>
                </a:path>
                <a:path w="134619" h="283210">
                  <a:moveTo>
                    <a:pt x="27432" y="140522"/>
                  </a:moveTo>
                  <a:lnTo>
                    <a:pt x="27432" y="53654"/>
                  </a:lnTo>
                  <a:lnTo>
                    <a:pt x="28956" y="50606"/>
                  </a:lnTo>
                  <a:lnTo>
                    <a:pt x="102108" y="50606"/>
                  </a:lnTo>
                  <a:lnTo>
                    <a:pt x="105156" y="53654"/>
                  </a:lnTo>
                  <a:lnTo>
                    <a:pt x="105156" y="122234"/>
                  </a:lnTo>
                  <a:lnTo>
                    <a:pt x="80772" y="122234"/>
                  </a:lnTo>
                  <a:lnTo>
                    <a:pt x="80772" y="73466"/>
                  </a:lnTo>
                  <a:lnTo>
                    <a:pt x="27432" y="140522"/>
                  </a:lnTo>
                  <a:close/>
                </a:path>
                <a:path w="134619" h="283210">
                  <a:moveTo>
                    <a:pt x="51816" y="242630"/>
                  </a:moveTo>
                  <a:lnTo>
                    <a:pt x="51816" y="221294"/>
                  </a:lnTo>
                  <a:lnTo>
                    <a:pt x="105156" y="135950"/>
                  </a:lnTo>
                  <a:lnTo>
                    <a:pt x="105156" y="242630"/>
                  </a:lnTo>
                  <a:lnTo>
                    <a:pt x="51816" y="242630"/>
                  </a:lnTo>
                  <a:close/>
                </a:path>
                <a:path w="134619" h="283210">
                  <a:moveTo>
                    <a:pt x="68580" y="122234"/>
                  </a:moveTo>
                  <a:lnTo>
                    <a:pt x="80772" y="73466"/>
                  </a:lnTo>
                  <a:lnTo>
                    <a:pt x="80772" y="122234"/>
                  </a:lnTo>
                  <a:lnTo>
                    <a:pt x="68580" y="122234"/>
                  </a:lnTo>
                  <a:close/>
                </a:path>
                <a:path w="134619" h="283210">
                  <a:moveTo>
                    <a:pt x="25908" y="241106"/>
                  </a:moveTo>
                  <a:lnTo>
                    <a:pt x="25908" y="227390"/>
                  </a:lnTo>
                  <a:lnTo>
                    <a:pt x="27432" y="146618"/>
                  </a:lnTo>
                  <a:lnTo>
                    <a:pt x="67056" y="146618"/>
                  </a:lnTo>
                  <a:lnTo>
                    <a:pt x="51816" y="221294"/>
                  </a:lnTo>
                  <a:lnTo>
                    <a:pt x="51816" y="242630"/>
                  </a:lnTo>
                  <a:lnTo>
                    <a:pt x="28956" y="242630"/>
                  </a:lnTo>
                  <a:lnTo>
                    <a:pt x="25908" y="241106"/>
                  </a:lnTo>
                  <a:close/>
                </a:path>
              </a:pathLst>
            </a:custGeom>
            <a:solidFill>
              <a:srgbClr val="0090DA"/>
            </a:solidFill>
          </p:spPr>
          <p:txBody>
            <a:bodyPr wrap="square" lIns="0" tIns="0" rIns="0" bIns="0" rtlCol="0"/>
            <a:lstStyle/>
            <a:p>
              <a:endParaRPr/>
            </a:p>
          </p:txBody>
        </p:sp>
        <p:sp>
          <p:nvSpPr>
            <p:cNvPr id="162" name="object 145"/>
            <p:cNvSpPr/>
            <p:nvPr/>
          </p:nvSpPr>
          <p:spPr>
            <a:xfrm>
              <a:off x="4948175" y="3366033"/>
              <a:ext cx="0" cy="149860"/>
            </a:xfrm>
            <a:custGeom>
              <a:avLst/>
              <a:gdLst/>
              <a:ahLst/>
              <a:cxnLst/>
              <a:rect l="l" t="t" r="r" b="b"/>
              <a:pathLst>
                <a:path h="149860">
                  <a:moveTo>
                    <a:pt x="0" y="0"/>
                  </a:moveTo>
                  <a:lnTo>
                    <a:pt x="0" y="149352"/>
                  </a:lnTo>
                </a:path>
              </a:pathLst>
            </a:custGeom>
            <a:ln w="3810">
              <a:solidFill>
                <a:srgbClr val="0090DA"/>
              </a:solidFill>
            </a:ln>
          </p:spPr>
          <p:txBody>
            <a:bodyPr wrap="square" lIns="0" tIns="0" rIns="0" bIns="0" rtlCol="0"/>
            <a:lstStyle/>
            <a:p>
              <a:endParaRPr/>
            </a:p>
          </p:txBody>
        </p:sp>
        <p:sp>
          <p:nvSpPr>
            <p:cNvPr id="163" name="object 146"/>
            <p:cNvSpPr/>
            <p:nvPr/>
          </p:nvSpPr>
          <p:spPr>
            <a:xfrm>
              <a:off x="4881500" y="3370605"/>
              <a:ext cx="64769" cy="0"/>
            </a:xfrm>
            <a:custGeom>
              <a:avLst/>
              <a:gdLst/>
              <a:ahLst/>
              <a:cxnLst/>
              <a:rect l="l" t="t" r="r" b="b"/>
              <a:pathLst>
                <a:path w="64770">
                  <a:moveTo>
                    <a:pt x="0" y="0"/>
                  </a:moveTo>
                  <a:lnTo>
                    <a:pt x="64770" y="0"/>
                  </a:lnTo>
                </a:path>
              </a:pathLst>
            </a:custGeom>
            <a:ln w="9143">
              <a:solidFill>
                <a:srgbClr val="0090DA"/>
              </a:solidFill>
            </a:ln>
          </p:spPr>
          <p:txBody>
            <a:bodyPr wrap="square" lIns="0" tIns="0" rIns="0" bIns="0" rtlCol="0"/>
            <a:lstStyle/>
            <a:p>
              <a:endParaRPr/>
            </a:p>
          </p:txBody>
        </p:sp>
        <p:sp>
          <p:nvSpPr>
            <p:cNvPr id="164" name="object 147"/>
            <p:cNvSpPr/>
            <p:nvPr/>
          </p:nvSpPr>
          <p:spPr>
            <a:xfrm>
              <a:off x="4920870" y="3385845"/>
              <a:ext cx="25400" cy="12700"/>
            </a:xfrm>
            <a:custGeom>
              <a:avLst/>
              <a:gdLst/>
              <a:ahLst/>
              <a:cxnLst/>
              <a:rect l="l" t="t" r="r" b="b"/>
              <a:pathLst>
                <a:path w="25400" h="12700">
                  <a:moveTo>
                    <a:pt x="0" y="12192"/>
                  </a:moveTo>
                  <a:lnTo>
                    <a:pt x="25400" y="12192"/>
                  </a:lnTo>
                  <a:lnTo>
                    <a:pt x="25400" y="0"/>
                  </a:lnTo>
                  <a:lnTo>
                    <a:pt x="0" y="0"/>
                  </a:lnTo>
                  <a:lnTo>
                    <a:pt x="0" y="12192"/>
                  </a:lnTo>
                  <a:close/>
                </a:path>
              </a:pathLst>
            </a:custGeom>
            <a:solidFill>
              <a:srgbClr val="0090DA"/>
            </a:solidFill>
          </p:spPr>
          <p:txBody>
            <a:bodyPr wrap="square" lIns="0" tIns="0" rIns="0" bIns="0" rtlCol="0"/>
            <a:lstStyle/>
            <a:p>
              <a:endParaRPr/>
            </a:p>
          </p:txBody>
        </p:sp>
        <p:sp>
          <p:nvSpPr>
            <p:cNvPr id="165" name="object 148"/>
            <p:cNvSpPr/>
            <p:nvPr/>
          </p:nvSpPr>
          <p:spPr>
            <a:xfrm>
              <a:off x="4916425" y="3385845"/>
              <a:ext cx="0" cy="117475"/>
            </a:xfrm>
            <a:custGeom>
              <a:avLst/>
              <a:gdLst/>
              <a:ahLst/>
              <a:cxnLst/>
              <a:rect l="l" t="t" r="r" b="b"/>
              <a:pathLst>
                <a:path h="117475">
                  <a:moveTo>
                    <a:pt x="0" y="0"/>
                  </a:moveTo>
                  <a:lnTo>
                    <a:pt x="0" y="117348"/>
                  </a:lnTo>
                </a:path>
              </a:pathLst>
            </a:custGeom>
            <a:ln w="8889">
              <a:solidFill>
                <a:srgbClr val="0090DA"/>
              </a:solidFill>
            </a:ln>
          </p:spPr>
          <p:txBody>
            <a:bodyPr wrap="square" lIns="0" tIns="0" rIns="0" bIns="0" rtlCol="0"/>
            <a:lstStyle/>
            <a:p>
              <a:endParaRPr/>
            </a:p>
          </p:txBody>
        </p:sp>
        <p:sp>
          <p:nvSpPr>
            <p:cNvPr id="166" name="object 149"/>
            <p:cNvSpPr/>
            <p:nvPr/>
          </p:nvSpPr>
          <p:spPr>
            <a:xfrm>
              <a:off x="4887850" y="3385845"/>
              <a:ext cx="24130" cy="12700"/>
            </a:xfrm>
            <a:custGeom>
              <a:avLst/>
              <a:gdLst/>
              <a:ahLst/>
              <a:cxnLst/>
              <a:rect l="l" t="t" r="r" b="b"/>
              <a:pathLst>
                <a:path w="24129" h="12700">
                  <a:moveTo>
                    <a:pt x="0" y="12192"/>
                  </a:moveTo>
                  <a:lnTo>
                    <a:pt x="24130" y="12192"/>
                  </a:lnTo>
                  <a:lnTo>
                    <a:pt x="24130" y="0"/>
                  </a:lnTo>
                  <a:lnTo>
                    <a:pt x="0" y="0"/>
                  </a:lnTo>
                  <a:lnTo>
                    <a:pt x="0" y="12192"/>
                  </a:lnTo>
                  <a:close/>
                </a:path>
              </a:pathLst>
            </a:custGeom>
            <a:solidFill>
              <a:srgbClr val="0090DA"/>
            </a:solidFill>
          </p:spPr>
          <p:txBody>
            <a:bodyPr wrap="square" lIns="0" tIns="0" rIns="0" bIns="0" rtlCol="0"/>
            <a:lstStyle/>
            <a:p>
              <a:endParaRPr/>
            </a:p>
          </p:txBody>
        </p:sp>
        <p:sp>
          <p:nvSpPr>
            <p:cNvPr id="167" name="object 150"/>
            <p:cNvSpPr/>
            <p:nvPr/>
          </p:nvSpPr>
          <p:spPr>
            <a:xfrm>
              <a:off x="4921378" y="3416325"/>
              <a:ext cx="24765" cy="17145"/>
            </a:xfrm>
            <a:custGeom>
              <a:avLst/>
              <a:gdLst/>
              <a:ahLst/>
              <a:cxnLst/>
              <a:rect l="l" t="t" r="r" b="b"/>
              <a:pathLst>
                <a:path w="24764" h="17145">
                  <a:moveTo>
                    <a:pt x="0" y="16764"/>
                  </a:moveTo>
                  <a:lnTo>
                    <a:pt x="24383" y="16764"/>
                  </a:lnTo>
                  <a:lnTo>
                    <a:pt x="24383" y="0"/>
                  </a:lnTo>
                  <a:lnTo>
                    <a:pt x="0" y="0"/>
                  </a:lnTo>
                  <a:lnTo>
                    <a:pt x="0" y="16764"/>
                  </a:lnTo>
                  <a:close/>
                </a:path>
              </a:pathLst>
            </a:custGeom>
            <a:solidFill>
              <a:srgbClr val="0090DA"/>
            </a:solidFill>
          </p:spPr>
          <p:txBody>
            <a:bodyPr wrap="square" lIns="0" tIns="0" rIns="0" bIns="0" rtlCol="0"/>
            <a:lstStyle/>
            <a:p>
              <a:endParaRPr/>
            </a:p>
          </p:txBody>
        </p:sp>
        <p:sp>
          <p:nvSpPr>
            <p:cNvPr id="168" name="object 151"/>
            <p:cNvSpPr/>
            <p:nvPr/>
          </p:nvSpPr>
          <p:spPr>
            <a:xfrm>
              <a:off x="4921378" y="3452901"/>
              <a:ext cx="24765" cy="17145"/>
            </a:xfrm>
            <a:custGeom>
              <a:avLst/>
              <a:gdLst/>
              <a:ahLst/>
              <a:cxnLst/>
              <a:rect l="l" t="t" r="r" b="b"/>
              <a:pathLst>
                <a:path w="24764" h="17145">
                  <a:moveTo>
                    <a:pt x="0" y="16764"/>
                  </a:moveTo>
                  <a:lnTo>
                    <a:pt x="24383" y="16764"/>
                  </a:lnTo>
                  <a:lnTo>
                    <a:pt x="24383" y="0"/>
                  </a:lnTo>
                  <a:lnTo>
                    <a:pt x="0" y="0"/>
                  </a:lnTo>
                  <a:lnTo>
                    <a:pt x="0" y="16764"/>
                  </a:lnTo>
                  <a:close/>
                </a:path>
              </a:pathLst>
            </a:custGeom>
            <a:solidFill>
              <a:srgbClr val="0090DA"/>
            </a:solidFill>
          </p:spPr>
          <p:txBody>
            <a:bodyPr wrap="square" lIns="0" tIns="0" rIns="0" bIns="0" rtlCol="0"/>
            <a:lstStyle/>
            <a:p>
              <a:endParaRPr/>
            </a:p>
          </p:txBody>
        </p:sp>
        <p:sp>
          <p:nvSpPr>
            <p:cNvPr id="169" name="object 152"/>
            <p:cNvSpPr/>
            <p:nvPr/>
          </p:nvSpPr>
          <p:spPr>
            <a:xfrm>
              <a:off x="4933570" y="3489477"/>
              <a:ext cx="12700" cy="26034"/>
            </a:xfrm>
            <a:custGeom>
              <a:avLst/>
              <a:gdLst/>
              <a:ahLst/>
              <a:cxnLst/>
              <a:rect l="l" t="t" r="r" b="b"/>
              <a:pathLst>
                <a:path w="12700" h="26035">
                  <a:moveTo>
                    <a:pt x="0" y="25908"/>
                  </a:moveTo>
                  <a:lnTo>
                    <a:pt x="12700" y="25908"/>
                  </a:lnTo>
                  <a:lnTo>
                    <a:pt x="12700" y="0"/>
                  </a:lnTo>
                  <a:lnTo>
                    <a:pt x="0" y="0"/>
                  </a:lnTo>
                  <a:lnTo>
                    <a:pt x="0" y="25908"/>
                  </a:lnTo>
                  <a:close/>
                </a:path>
              </a:pathLst>
            </a:custGeom>
            <a:solidFill>
              <a:srgbClr val="0090DA"/>
            </a:solidFill>
          </p:spPr>
          <p:txBody>
            <a:bodyPr wrap="square" lIns="0" tIns="0" rIns="0" bIns="0" rtlCol="0"/>
            <a:lstStyle/>
            <a:p>
              <a:endParaRPr/>
            </a:p>
          </p:txBody>
        </p:sp>
        <p:sp>
          <p:nvSpPr>
            <p:cNvPr id="170" name="object 153"/>
            <p:cNvSpPr/>
            <p:nvPr/>
          </p:nvSpPr>
          <p:spPr>
            <a:xfrm>
              <a:off x="4920870" y="3489477"/>
              <a:ext cx="12700" cy="13970"/>
            </a:xfrm>
            <a:custGeom>
              <a:avLst/>
              <a:gdLst/>
              <a:ahLst/>
              <a:cxnLst/>
              <a:rect l="l" t="t" r="r" b="b"/>
              <a:pathLst>
                <a:path w="12700" h="13970">
                  <a:moveTo>
                    <a:pt x="0" y="13716"/>
                  </a:moveTo>
                  <a:lnTo>
                    <a:pt x="12700" y="13716"/>
                  </a:lnTo>
                  <a:lnTo>
                    <a:pt x="12700" y="0"/>
                  </a:lnTo>
                  <a:lnTo>
                    <a:pt x="0" y="0"/>
                  </a:lnTo>
                  <a:lnTo>
                    <a:pt x="0" y="13716"/>
                  </a:lnTo>
                  <a:close/>
                </a:path>
              </a:pathLst>
            </a:custGeom>
            <a:solidFill>
              <a:srgbClr val="0090DA"/>
            </a:solidFill>
          </p:spPr>
          <p:txBody>
            <a:bodyPr wrap="square" lIns="0" tIns="0" rIns="0" bIns="0" rtlCol="0"/>
            <a:lstStyle/>
            <a:p>
              <a:endParaRPr/>
            </a:p>
          </p:txBody>
        </p:sp>
        <p:sp>
          <p:nvSpPr>
            <p:cNvPr id="171" name="object 154"/>
            <p:cNvSpPr/>
            <p:nvPr/>
          </p:nvSpPr>
          <p:spPr>
            <a:xfrm>
              <a:off x="4887850" y="3416325"/>
              <a:ext cx="24765" cy="17145"/>
            </a:xfrm>
            <a:custGeom>
              <a:avLst/>
              <a:gdLst/>
              <a:ahLst/>
              <a:cxnLst/>
              <a:rect l="l" t="t" r="r" b="b"/>
              <a:pathLst>
                <a:path w="24764" h="17145">
                  <a:moveTo>
                    <a:pt x="0" y="16764"/>
                  </a:moveTo>
                  <a:lnTo>
                    <a:pt x="24384" y="16764"/>
                  </a:lnTo>
                  <a:lnTo>
                    <a:pt x="24384" y="0"/>
                  </a:lnTo>
                  <a:lnTo>
                    <a:pt x="0" y="0"/>
                  </a:lnTo>
                  <a:lnTo>
                    <a:pt x="0" y="16764"/>
                  </a:lnTo>
                  <a:close/>
                </a:path>
              </a:pathLst>
            </a:custGeom>
            <a:solidFill>
              <a:srgbClr val="0090DA"/>
            </a:solidFill>
          </p:spPr>
          <p:txBody>
            <a:bodyPr wrap="square" lIns="0" tIns="0" rIns="0" bIns="0" rtlCol="0"/>
            <a:lstStyle/>
            <a:p>
              <a:endParaRPr/>
            </a:p>
          </p:txBody>
        </p:sp>
        <p:sp>
          <p:nvSpPr>
            <p:cNvPr id="172" name="object 155"/>
            <p:cNvSpPr/>
            <p:nvPr/>
          </p:nvSpPr>
          <p:spPr>
            <a:xfrm>
              <a:off x="4887850" y="3452901"/>
              <a:ext cx="24765" cy="17145"/>
            </a:xfrm>
            <a:custGeom>
              <a:avLst/>
              <a:gdLst/>
              <a:ahLst/>
              <a:cxnLst/>
              <a:rect l="l" t="t" r="r" b="b"/>
              <a:pathLst>
                <a:path w="24764" h="17145">
                  <a:moveTo>
                    <a:pt x="0" y="16764"/>
                  </a:moveTo>
                  <a:lnTo>
                    <a:pt x="24384" y="16764"/>
                  </a:lnTo>
                  <a:lnTo>
                    <a:pt x="24384" y="0"/>
                  </a:lnTo>
                  <a:lnTo>
                    <a:pt x="0" y="0"/>
                  </a:lnTo>
                  <a:lnTo>
                    <a:pt x="0" y="16764"/>
                  </a:lnTo>
                  <a:close/>
                </a:path>
              </a:pathLst>
            </a:custGeom>
            <a:solidFill>
              <a:srgbClr val="0090DA"/>
            </a:solidFill>
          </p:spPr>
          <p:txBody>
            <a:bodyPr wrap="square" lIns="0" tIns="0" rIns="0" bIns="0" rtlCol="0"/>
            <a:lstStyle/>
            <a:p>
              <a:endParaRPr/>
            </a:p>
          </p:txBody>
        </p:sp>
        <p:sp>
          <p:nvSpPr>
            <p:cNvPr id="173" name="object 156"/>
            <p:cNvSpPr/>
            <p:nvPr/>
          </p:nvSpPr>
          <p:spPr>
            <a:xfrm>
              <a:off x="4896740" y="3489477"/>
              <a:ext cx="15240" cy="13970"/>
            </a:xfrm>
            <a:custGeom>
              <a:avLst/>
              <a:gdLst/>
              <a:ahLst/>
              <a:cxnLst/>
              <a:rect l="l" t="t" r="r" b="b"/>
              <a:pathLst>
                <a:path w="15239" h="13970">
                  <a:moveTo>
                    <a:pt x="0" y="13716"/>
                  </a:moveTo>
                  <a:lnTo>
                    <a:pt x="15239" y="13716"/>
                  </a:lnTo>
                  <a:lnTo>
                    <a:pt x="15239" y="0"/>
                  </a:lnTo>
                  <a:lnTo>
                    <a:pt x="0" y="0"/>
                  </a:lnTo>
                  <a:lnTo>
                    <a:pt x="0" y="13716"/>
                  </a:lnTo>
                  <a:close/>
                </a:path>
              </a:pathLst>
            </a:custGeom>
            <a:solidFill>
              <a:srgbClr val="0090DA"/>
            </a:solidFill>
          </p:spPr>
          <p:txBody>
            <a:bodyPr wrap="square" lIns="0" tIns="0" rIns="0" bIns="0" rtlCol="0"/>
            <a:lstStyle/>
            <a:p>
              <a:endParaRPr/>
            </a:p>
          </p:txBody>
        </p:sp>
        <p:sp>
          <p:nvSpPr>
            <p:cNvPr id="174" name="object 157"/>
            <p:cNvSpPr/>
            <p:nvPr/>
          </p:nvSpPr>
          <p:spPr>
            <a:xfrm>
              <a:off x="4892295" y="3489477"/>
              <a:ext cx="0" cy="26034"/>
            </a:xfrm>
            <a:custGeom>
              <a:avLst/>
              <a:gdLst/>
              <a:ahLst/>
              <a:cxnLst/>
              <a:rect l="l" t="t" r="r" b="b"/>
              <a:pathLst>
                <a:path h="26035">
                  <a:moveTo>
                    <a:pt x="0" y="0"/>
                  </a:moveTo>
                  <a:lnTo>
                    <a:pt x="0" y="25908"/>
                  </a:lnTo>
                </a:path>
              </a:pathLst>
            </a:custGeom>
            <a:ln w="8890">
              <a:solidFill>
                <a:srgbClr val="0090DA"/>
              </a:solidFill>
            </a:ln>
          </p:spPr>
          <p:txBody>
            <a:bodyPr wrap="square" lIns="0" tIns="0" rIns="0" bIns="0" rtlCol="0"/>
            <a:lstStyle/>
            <a:p>
              <a:endParaRPr/>
            </a:p>
          </p:txBody>
        </p:sp>
        <p:sp>
          <p:nvSpPr>
            <p:cNvPr id="175" name="object 158"/>
            <p:cNvSpPr/>
            <p:nvPr/>
          </p:nvSpPr>
          <p:spPr>
            <a:xfrm>
              <a:off x="4948175" y="3366033"/>
              <a:ext cx="0" cy="149860"/>
            </a:xfrm>
            <a:custGeom>
              <a:avLst/>
              <a:gdLst/>
              <a:ahLst/>
              <a:cxnLst/>
              <a:rect l="l" t="t" r="r" b="b"/>
              <a:pathLst>
                <a:path h="149860">
                  <a:moveTo>
                    <a:pt x="0" y="0"/>
                  </a:moveTo>
                  <a:lnTo>
                    <a:pt x="0" y="149352"/>
                  </a:lnTo>
                </a:path>
              </a:pathLst>
            </a:custGeom>
            <a:ln w="3810">
              <a:solidFill>
                <a:srgbClr val="0090DA"/>
              </a:solidFill>
            </a:ln>
          </p:spPr>
          <p:txBody>
            <a:bodyPr wrap="square" lIns="0" tIns="0" rIns="0" bIns="0" rtlCol="0"/>
            <a:lstStyle/>
            <a:p>
              <a:endParaRPr/>
            </a:p>
          </p:txBody>
        </p:sp>
        <p:sp>
          <p:nvSpPr>
            <p:cNvPr id="176" name="object 159"/>
            <p:cNvSpPr/>
            <p:nvPr/>
          </p:nvSpPr>
          <p:spPr>
            <a:xfrm>
              <a:off x="4881500" y="3370605"/>
              <a:ext cx="64769" cy="0"/>
            </a:xfrm>
            <a:custGeom>
              <a:avLst/>
              <a:gdLst/>
              <a:ahLst/>
              <a:cxnLst/>
              <a:rect l="l" t="t" r="r" b="b"/>
              <a:pathLst>
                <a:path w="64770">
                  <a:moveTo>
                    <a:pt x="0" y="0"/>
                  </a:moveTo>
                  <a:lnTo>
                    <a:pt x="64770" y="0"/>
                  </a:lnTo>
                </a:path>
              </a:pathLst>
            </a:custGeom>
            <a:ln w="9143">
              <a:solidFill>
                <a:srgbClr val="0090DA"/>
              </a:solidFill>
            </a:ln>
          </p:spPr>
          <p:txBody>
            <a:bodyPr wrap="square" lIns="0" tIns="0" rIns="0" bIns="0" rtlCol="0"/>
            <a:lstStyle/>
            <a:p>
              <a:endParaRPr/>
            </a:p>
          </p:txBody>
        </p:sp>
        <p:sp>
          <p:nvSpPr>
            <p:cNvPr id="177" name="object 160"/>
            <p:cNvSpPr/>
            <p:nvPr/>
          </p:nvSpPr>
          <p:spPr>
            <a:xfrm>
              <a:off x="4920870" y="3385845"/>
              <a:ext cx="25400" cy="12700"/>
            </a:xfrm>
            <a:custGeom>
              <a:avLst/>
              <a:gdLst/>
              <a:ahLst/>
              <a:cxnLst/>
              <a:rect l="l" t="t" r="r" b="b"/>
              <a:pathLst>
                <a:path w="25400" h="12700">
                  <a:moveTo>
                    <a:pt x="0" y="12192"/>
                  </a:moveTo>
                  <a:lnTo>
                    <a:pt x="25400" y="12192"/>
                  </a:lnTo>
                  <a:lnTo>
                    <a:pt x="25400" y="0"/>
                  </a:lnTo>
                  <a:lnTo>
                    <a:pt x="0" y="0"/>
                  </a:lnTo>
                  <a:lnTo>
                    <a:pt x="0" y="12192"/>
                  </a:lnTo>
                  <a:close/>
                </a:path>
              </a:pathLst>
            </a:custGeom>
            <a:solidFill>
              <a:srgbClr val="0090DA"/>
            </a:solidFill>
          </p:spPr>
          <p:txBody>
            <a:bodyPr wrap="square" lIns="0" tIns="0" rIns="0" bIns="0" rtlCol="0"/>
            <a:lstStyle/>
            <a:p>
              <a:endParaRPr/>
            </a:p>
          </p:txBody>
        </p:sp>
        <p:sp>
          <p:nvSpPr>
            <p:cNvPr id="178" name="object 161"/>
            <p:cNvSpPr/>
            <p:nvPr/>
          </p:nvSpPr>
          <p:spPr>
            <a:xfrm>
              <a:off x="4916425" y="3385845"/>
              <a:ext cx="0" cy="117475"/>
            </a:xfrm>
            <a:custGeom>
              <a:avLst/>
              <a:gdLst/>
              <a:ahLst/>
              <a:cxnLst/>
              <a:rect l="l" t="t" r="r" b="b"/>
              <a:pathLst>
                <a:path h="117475">
                  <a:moveTo>
                    <a:pt x="0" y="0"/>
                  </a:moveTo>
                  <a:lnTo>
                    <a:pt x="0" y="117348"/>
                  </a:lnTo>
                </a:path>
              </a:pathLst>
            </a:custGeom>
            <a:ln w="8889">
              <a:solidFill>
                <a:srgbClr val="0090DA"/>
              </a:solidFill>
            </a:ln>
          </p:spPr>
          <p:txBody>
            <a:bodyPr wrap="square" lIns="0" tIns="0" rIns="0" bIns="0" rtlCol="0"/>
            <a:lstStyle/>
            <a:p>
              <a:endParaRPr/>
            </a:p>
          </p:txBody>
        </p:sp>
        <p:sp>
          <p:nvSpPr>
            <p:cNvPr id="179" name="object 162"/>
            <p:cNvSpPr/>
            <p:nvPr/>
          </p:nvSpPr>
          <p:spPr>
            <a:xfrm>
              <a:off x="4887850" y="3385845"/>
              <a:ext cx="24130" cy="12700"/>
            </a:xfrm>
            <a:custGeom>
              <a:avLst/>
              <a:gdLst/>
              <a:ahLst/>
              <a:cxnLst/>
              <a:rect l="l" t="t" r="r" b="b"/>
              <a:pathLst>
                <a:path w="24129" h="12700">
                  <a:moveTo>
                    <a:pt x="0" y="12192"/>
                  </a:moveTo>
                  <a:lnTo>
                    <a:pt x="24130" y="12192"/>
                  </a:lnTo>
                  <a:lnTo>
                    <a:pt x="24130" y="0"/>
                  </a:lnTo>
                  <a:lnTo>
                    <a:pt x="0" y="0"/>
                  </a:lnTo>
                  <a:lnTo>
                    <a:pt x="0" y="12192"/>
                  </a:lnTo>
                  <a:close/>
                </a:path>
              </a:pathLst>
            </a:custGeom>
            <a:solidFill>
              <a:srgbClr val="0090DA"/>
            </a:solidFill>
          </p:spPr>
          <p:txBody>
            <a:bodyPr wrap="square" lIns="0" tIns="0" rIns="0" bIns="0" rtlCol="0"/>
            <a:lstStyle/>
            <a:p>
              <a:endParaRPr/>
            </a:p>
          </p:txBody>
        </p:sp>
        <p:sp>
          <p:nvSpPr>
            <p:cNvPr id="180" name="object 163"/>
            <p:cNvSpPr/>
            <p:nvPr/>
          </p:nvSpPr>
          <p:spPr>
            <a:xfrm>
              <a:off x="4884675" y="3332505"/>
              <a:ext cx="0" cy="182880"/>
            </a:xfrm>
            <a:custGeom>
              <a:avLst/>
              <a:gdLst/>
              <a:ahLst/>
              <a:cxnLst/>
              <a:rect l="l" t="t" r="r" b="b"/>
              <a:pathLst>
                <a:path h="182879">
                  <a:moveTo>
                    <a:pt x="0" y="0"/>
                  </a:moveTo>
                  <a:lnTo>
                    <a:pt x="0" y="182880"/>
                  </a:lnTo>
                </a:path>
              </a:pathLst>
            </a:custGeom>
            <a:ln w="6350">
              <a:solidFill>
                <a:srgbClr val="0090DA"/>
              </a:solidFill>
            </a:ln>
          </p:spPr>
          <p:txBody>
            <a:bodyPr wrap="square" lIns="0" tIns="0" rIns="0" bIns="0" rtlCol="0"/>
            <a:lstStyle/>
            <a:p>
              <a:endParaRPr/>
            </a:p>
          </p:txBody>
        </p:sp>
        <p:sp>
          <p:nvSpPr>
            <p:cNvPr id="181" name="object 164"/>
            <p:cNvSpPr/>
            <p:nvPr/>
          </p:nvSpPr>
          <p:spPr>
            <a:xfrm>
              <a:off x="4921378" y="3416325"/>
              <a:ext cx="24765" cy="17145"/>
            </a:xfrm>
            <a:custGeom>
              <a:avLst/>
              <a:gdLst/>
              <a:ahLst/>
              <a:cxnLst/>
              <a:rect l="l" t="t" r="r" b="b"/>
              <a:pathLst>
                <a:path w="24764" h="17145">
                  <a:moveTo>
                    <a:pt x="0" y="16764"/>
                  </a:moveTo>
                  <a:lnTo>
                    <a:pt x="24383" y="16764"/>
                  </a:lnTo>
                  <a:lnTo>
                    <a:pt x="24383" y="0"/>
                  </a:lnTo>
                  <a:lnTo>
                    <a:pt x="0" y="0"/>
                  </a:lnTo>
                  <a:lnTo>
                    <a:pt x="0" y="16764"/>
                  </a:lnTo>
                  <a:close/>
                </a:path>
              </a:pathLst>
            </a:custGeom>
            <a:solidFill>
              <a:srgbClr val="0090DA"/>
            </a:solidFill>
          </p:spPr>
          <p:txBody>
            <a:bodyPr wrap="square" lIns="0" tIns="0" rIns="0" bIns="0" rtlCol="0"/>
            <a:lstStyle/>
            <a:p>
              <a:endParaRPr/>
            </a:p>
          </p:txBody>
        </p:sp>
        <p:sp>
          <p:nvSpPr>
            <p:cNvPr id="182" name="object 165"/>
            <p:cNvSpPr/>
            <p:nvPr/>
          </p:nvSpPr>
          <p:spPr>
            <a:xfrm>
              <a:off x="4921378" y="3452901"/>
              <a:ext cx="24765" cy="17145"/>
            </a:xfrm>
            <a:custGeom>
              <a:avLst/>
              <a:gdLst/>
              <a:ahLst/>
              <a:cxnLst/>
              <a:rect l="l" t="t" r="r" b="b"/>
              <a:pathLst>
                <a:path w="24764" h="17145">
                  <a:moveTo>
                    <a:pt x="0" y="16764"/>
                  </a:moveTo>
                  <a:lnTo>
                    <a:pt x="24383" y="16764"/>
                  </a:lnTo>
                  <a:lnTo>
                    <a:pt x="24383" y="0"/>
                  </a:lnTo>
                  <a:lnTo>
                    <a:pt x="0" y="0"/>
                  </a:lnTo>
                  <a:lnTo>
                    <a:pt x="0" y="16764"/>
                  </a:lnTo>
                  <a:close/>
                </a:path>
              </a:pathLst>
            </a:custGeom>
            <a:solidFill>
              <a:srgbClr val="0090DA"/>
            </a:solidFill>
          </p:spPr>
          <p:txBody>
            <a:bodyPr wrap="square" lIns="0" tIns="0" rIns="0" bIns="0" rtlCol="0"/>
            <a:lstStyle/>
            <a:p>
              <a:endParaRPr/>
            </a:p>
          </p:txBody>
        </p:sp>
        <p:sp>
          <p:nvSpPr>
            <p:cNvPr id="183" name="object 166"/>
            <p:cNvSpPr/>
            <p:nvPr/>
          </p:nvSpPr>
          <p:spPr>
            <a:xfrm>
              <a:off x="4933570" y="3489477"/>
              <a:ext cx="12700" cy="26034"/>
            </a:xfrm>
            <a:custGeom>
              <a:avLst/>
              <a:gdLst/>
              <a:ahLst/>
              <a:cxnLst/>
              <a:rect l="l" t="t" r="r" b="b"/>
              <a:pathLst>
                <a:path w="12700" h="26035">
                  <a:moveTo>
                    <a:pt x="0" y="25908"/>
                  </a:moveTo>
                  <a:lnTo>
                    <a:pt x="12700" y="25908"/>
                  </a:lnTo>
                  <a:lnTo>
                    <a:pt x="12700" y="0"/>
                  </a:lnTo>
                  <a:lnTo>
                    <a:pt x="0" y="0"/>
                  </a:lnTo>
                  <a:lnTo>
                    <a:pt x="0" y="25908"/>
                  </a:lnTo>
                  <a:close/>
                </a:path>
              </a:pathLst>
            </a:custGeom>
            <a:solidFill>
              <a:srgbClr val="0090DA"/>
            </a:solidFill>
          </p:spPr>
          <p:txBody>
            <a:bodyPr wrap="square" lIns="0" tIns="0" rIns="0" bIns="0" rtlCol="0"/>
            <a:lstStyle/>
            <a:p>
              <a:endParaRPr/>
            </a:p>
          </p:txBody>
        </p:sp>
        <p:sp>
          <p:nvSpPr>
            <p:cNvPr id="184" name="object 167"/>
            <p:cNvSpPr/>
            <p:nvPr/>
          </p:nvSpPr>
          <p:spPr>
            <a:xfrm>
              <a:off x="4920870" y="3489477"/>
              <a:ext cx="12700" cy="13970"/>
            </a:xfrm>
            <a:custGeom>
              <a:avLst/>
              <a:gdLst/>
              <a:ahLst/>
              <a:cxnLst/>
              <a:rect l="l" t="t" r="r" b="b"/>
              <a:pathLst>
                <a:path w="12700" h="13970">
                  <a:moveTo>
                    <a:pt x="0" y="13716"/>
                  </a:moveTo>
                  <a:lnTo>
                    <a:pt x="12700" y="13716"/>
                  </a:lnTo>
                  <a:lnTo>
                    <a:pt x="12700" y="0"/>
                  </a:lnTo>
                  <a:lnTo>
                    <a:pt x="0" y="0"/>
                  </a:lnTo>
                  <a:lnTo>
                    <a:pt x="0" y="13716"/>
                  </a:lnTo>
                  <a:close/>
                </a:path>
              </a:pathLst>
            </a:custGeom>
            <a:solidFill>
              <a:srgbClr val="0090DA"/>
            </a:solidFill>
          </p:spPr>
          <p:txBody>
            <a:bodyPr wrap="square" lIns="0" tIns="0" rIns="0" bIns="0" rtlCol="0"/>
            <a:lstStyle/>
            <a:p>
              <a:endParaRPr/>
            </a:p>
          </p:txBody>
        </p:sp>
        <p:sp>
          <p:nvSpPr>
            <p:cNvPr id="185" name="object 168"/>
            <p:cNvSpPr/>
            <p:nvPr/>
          </p:nvSpPr>
          <p:spPr>
            <a:xfrm>
              <a:off x="4887850" y="3416325"/>
              <a:ext cx="24765" cy="17145"/>
            </a:xfrm>
            <a:custGeom>
              <a:avLst/>
              <a:gdLst/>
              <a:ahLst/>
              <a:cxnLst/>
              <a:rect l="l" t="t" r="r" b="b"/>
              <a:pathLst>
                <a:path w="24764" h="17145">
                  <a:moveTo>
                    <a:pt x="0" y="16764"/>
                  </a:moveTo>
                  <a:lnTo>
                    <a:pt x="24384" y="16764"/>
                  </a:lnTo>
                  <a:lnTo>
                    <a:pt x="24384" y="0"/>
                  </a:lnTo>
                  <a:lnTo>
                    <a:pt x="0" y="0"/>
                  </a:lnTo>
                  <a:lnTo>
                    <a:pt x="0" y="16764"/>
                  </a:lnTo>
                  <a:close/>
                </a:path>
              </a:pathLst>
            </a:custGeom>
            <a:solidFill>
              <a:srgbClr val="0090DA"/>
            </a:solidFill>
          </p:spPr>
          <p:txBody>
            <a:bodyPr wrap="square" lIns="0" tIns="0" rIns="0" bIns="0" rtlCol="0"/>
            <a:lstStyle/>
            <a:p>
              <a:endParaRPr/>
            </a:p>
          </p:txBody>
        </p:sp>
        <p:sp>
          <p:nvSpPr>
            <p:cNvPr id="186" name="object 169"/>
            <p:cNvSpPr/>
            <p:nvPr/>
          </p:nvSpPr>
          <p:spPr>
            <a:xfrm>
              <a:off x="4887850" y="3452901"/>
              <a:ext cx="24765" cy="17145"/>
            </a:xfrm>
            <a:custGeom>
              <a:avLst/>
              <a:gdLst/>
              <a:ahLst/>
              <a:cxnLst/>
              <a:rect l="l" t="t" r="r" b="b"/>
              <a:pathLst>
                <a:path w="24764" h="17145">
                  <a:moveTo>
                    <a:pt x="0" y="16764"/>
                  </a:moveTo>
                  <a:lnTo>
                    <a:pt x="24384" y="16764"/>
                  </a:lnTo>
                  <a:lnTo>
                    <a:pt x="24384" y="0"/>
                  </a:lnTo>
                  <a:lnTo>
                    <a:pt x="0" y="0"/>
                  </a:lnTo>
                  <a:lnTo>
                    <a:pt x="0" y="16764"/>
                  </a:lnTo>
                  <a:close/>
                </a:path>
              </a:pathLst>
            </a:custGeom>
            <a:solidFill>
              <a:srgbClr val="0090DA"/>
            </a:solidFill>
          </p:spPr>
          <p:txBody>
            <a:bodyPr wrap="square" lIns="0" tIns="0" rIns="0" bIns="0" rtlCol="0"/>
            <a:lstStyle/>
            <a:p>
              <a:endParaRPr/>
            </a:p>
          </p:txBody>
        </p:sp>
        <p:sp>
          <p:nvSpPr>
            <p:cNvPr id="187" name="object 170"/>
            <p:cNvSpPr/>
            <p:nvPr/>
          </p:nvSpPr>
          <p:spPr>
            <a:xfrm>
              <a:off x="4896740" y="3489477"/>
              <a:ext cx="15240" cy="13970"/>
            </a:xfrm>
            <a:custGeom>
              <a:avLst/>
              <a:gdLst/>
              <a:ahLst/>
              <a:cxnLst/>
              <a:rect l="l" t="t" r="r" b="b"/>
              <a:pathLst>
                <a:path w="15239" h="13970">
                  <a:moveTo>
                    <a:pt x="0" y="13716"/>
                  </a:moveTo>
                  <a:lnTo>
                    <a:pt x="15239" y="13716"/>
                  </a:lnTo>
                  <a:lnTo>
                    <a:pt x="15239" y="0"/>
                  </a:lnTo>
                  <a:lnTo>
                    <a:pt x="0" y="0"/>
                  </a:lnTo>
                  <a:lnTo>
                    <a:pt x="0" y="13716"/>
                  </a:lnTo>
                  <a:close/>
                </a:path>
              </a:pathLst>
            </a:custGeom>
            <a:solidFill>
              <a:srgbClr val="0090DA"/>
            </a:solidFill>
          </p:spPr>
          <p:txBody>
            <a:bodyPr wrap="square" lIns="0" tIns="0" rIns="0" bIns="0" rtlCol="0"/>
            <a:lstStyle/>
            <a:p>
              <a:endParaRPr/>
            </a:p>
          </p:txBody>
        </p:sp>
        <p:sp>
          <p:nvSpPr>
            <p:cNvPr id="188" name="object 171"/>
            <p:cNvSpPr/>
            <p:nvPr/>
          </p:nvSpPr>
          <p:spPr>
            <a:xfrm>
              <a:off x="4858894" y="3523767"/>
              <a:ext cx="116205" cy="0"/>
            </a:xfrm>
            <a:custGeom>
              <a:avLst/>
              <a:gdLst/>
              <a:ahLst/>
              <a:cxnLst/>
              <a:rect l="l" t="t" r="r" b="b"/>
              <a:pathLst>
                <a:path w="116204">
                  <a:moveTo>
                    <a:pt x="0" y="0"/>
                  </a:moveTo>
                  <a:lnTo>
                    <a:pt x="115823" y="0"/>
                  </a:lnTo>
                </a:path>
              </a:pathLst>
            </a:custGeom>
            <a:ln w="16763">
              <a:solidFill>
                <a:srgbClr val="0090DA"/>
              </a:solidFill>
            </a:ln>
          </p:spPr>
          <p:txBody>
            <a:bodyPr wrap="square" lIns="0" tIns="0" rIns="0" bIns="0" rtlCol="0"/>
            <a:lstStyle/>
            <a:p>
              <a:endParaRPr/>
            </a:p>
          </p:txBody>
        </p:sp>
        <p:sp>
          <p:nvSpPr>
            <p:cNvPr id="189" name="object 172"/>
            <p:cNvSpPr/>
            <p:nvPr/>
          </p:nvSpPr>
          <p:spPr>
            <a:xfrm>
              <a:off x="5060951" y="3283737"/>
              <a:ext cx="0" cy="248920"/>
            </a:xfrm>
            <a:custGeom>
              <a:avLst/>
              <a:gdLst/>
              <a:ahLst/>
              <a:cxnLst/>
              <a:rect l="l" t="t" r="r" b="b"/>
              <a:pathLst>
                <a:path h="248920">
                  <a:moveTo>
                    <a:pt x="0" y="0"/>
                  </a:moveTo>
                  <a:lnTo>
                    <a:pt x="0" y="248412"/>
                  </a:lnTo>
                </a:path>
              </a:pathLst>
            </a:custGeom>
            <a:ln w="11429">
              <a:solidFill>
                <a:srgbClr val="0090DA"/>
              </a:solidFill>
            </a:ln>
          </p:spPr>
          <p:txBody>
            <a:bodyPr wrap="square" lIns="0" tIns="0" rIns="0" bIns="0" rtlCol="0"/>
            <a:lstStyle/>
            <a:p>
              <a:endParaRPr/>
            </a:p>
          </p:txBody>
        </p:sp>
        <p:sp>
          <p:nvSpPr>
            <p:cNvPr id="190" name="object 173"/>
            <p:cNvSpPr/>
            <p:nvPr/>
          </p:nvSpPr>
          <p:spPr>
            <a:xfrm>
              <a:off x="5053966" y="3289833"/>
              <a:ext cx="1270" cy="0"/>
            </a:xfrm>
            <a:custGeom>
              <a:avLst/>
              <a:gdLst/>
              <a:ahLst/>
              <a:cxnLst/>
              <a:rect l="l" t="t" r="r" b="b"/>
              <a:pathLst>
                <a:path w="1270">
                  <a:moveTo>
                    <a:pt x="0" y="0"/>
                  </a:moveTo>
                  <a:lnTo>
                    <a:pt x="1270" y="0"/>
                  </a:lnTo>
                </a:path>
              </a:pathLst>
            </a:custGeom>
            <a:ln w="12192">
              <a:solidFill>
                <a:srgbClr val="0090DA"/>
              </a:solidFill>
            </a:ln>
          </p:spPr>
          <p:txBody>
            <a:bodyPr wrap="square" lIns="0" tIns="0" rIns="0" bIns="0" rtlCol="0"/>
            <a:lstStyle/>
            <a:p>
              <a:endParaRPr/>
            </a:p>
          </p:txBody>
        </p:sp>
        <p:sp>
          <p:nvSpPr>
            <p:cNvPr id="191" name="object 174"/>
            <p:cNvSpPr/>
            <p:nvPr/>
          </p:nvSpPr>
          <p:spPr>
            <a:xfrm>
              <a:off x="5020946" y="3284499"/>
              <a:ext cx="33020" cy="0"/>
            </a:xfrm>
            <a:custGeom>
              <a:avLst/>
              <a:gdLst/>
              <a:ahLst/>
              <a:cxnLst/>
              <a:rect l="l" t="t" r="r" b="b"/>
              <a:pathLst>
                <a:path w="33020">
                  <a:moveTo>
                    <a:pt x="0" y="0"/>
                  </a:moveTo>
                  <a:lnTo>
                    <a:pt x="33020" y="0"/>
                  </a:lnTo>
                </a:path>
              </a:pathLst>
            </a:custGeom>
            <a:ln w="22860">
              <a:solidFill>
                <a:srgbClr val="0090DA"/>
              </a:solidFill>
            </a:ln>
          </p:spPr>
          <p:txBody>
            <a:bodyPr wrap="square" lIns="0" tIns="0" rIns="0" bIns="0" rtlCol="0"/>
            <a:lstStyle/>
            <a:p>
              <a:endParaRPr/>
            </a:p>
          </p:txBody>
        </p:sp>
        <p:sp>
          <p:nvSpPr>
            <p:cNvPr id="192" name="object 175"/>
            <p:cNvSpPr/>
            <p:nvPr/>
          </p:nvSpPr>
          <p:spPr>
            <a:xfrm>
              <a:off x="5017136" y="3273069"/>
              <a:ext cx="0" cy="239395"/>
            </a:xfrm>
            <a:custGeom>
              <a:avLst/>
              <a:gdLst/>
              <a:ahLst/>
              <a:cxnLst/>
              <a:rect l="l" t="t" r="r" b="b"/>
              <a:pathLst>
                <a:path h="239395">
                  <a:moveTo>
                    <a:pt x="0" y="0"/>
                  </a:moveTo>
                  <a:lnTo>
                    <a:pt x="0" y="239268"/>
                  </a:lnTo>
                </a:path>
              </a:pathLst>
            </a:custGeom>
            <a:ln w="7619">
              <a:solidFill>
                <a:srgbClr val="0090DA"/>
              </a:solidFill>
            </a:ln>
          </p:spPr>
          <p:txBody>
            <a:bodyPr wrap="square" lIns="0" tIns="0" rIns="0" bIns="0" rtlCol="0"/>
            <a:lstStyle/>
            <a:p>
              <a:endParaRPr/>
            </a:p>
          </p:txBody>
        </p:sp>
        <p:sp>
          <p:nvSpPr>
            <p:cNvPr id="193" name="object 176"/>
            <p:cNvSpPr/>
            <p:nvPr/>
          </p:nvSpPr>
          <p:spPr>
            <a:xfrm>
              <a:off x="4976496" y="3284499"/>
              <a:ext cx="36830" cy="0"/>
            </a:xfrm>
            <a:custGeom>
              <a:avLst/>
              <a:gdLst/>
              <a:ahLst/>
              <a:cxnLst/>
              <a:rect l="l" t="t" r="r" b="b"/>
              <a:pathLst>
                <a:path w="36829">
                  <a:moveTo>
                    <a:pt x="0" y="0"/>
                  </a:moveTo>
                  <a:lnTo>
                    <a:pt x="36830" y="0"/>
                  </a:lnTo>
                </a:path>
              </a:pathLst>
            </a:custGeom>
            <a:ln w="22860">
              <a:solidFill>
                <a:srgbClr val="0090DA"/>
              </a:solidFill>
            </a:ln>
          </p:spPr>
          <p:txBody>
            <a:bodyPr wrap="square" lIns="0" tIns="0" rIns="0" bIns="0" rtlCol="0"/>
            <a:lstStyle/>
            <a:p>
              <a:endParaRPr/>
            </a:p>
          </p:txBody>
        </p:sp>
        <p:sp>
          <p:nvSpPr>
            <p:cNvPr id="194" name="object 177"/>
            <p:cNvSpPr/>
            <p:nvPr/>
          </p:nvSpPr>
          <p:spPr>
            <a:xfrm>
              <a:off x="5054601" y="3306597"/>
              <a:ext cx="0" cy="226060"/>
            </a:xfrm>
            <a:custGeom>
              <a:avLst/>
              <a:gdLst/>
              <a:ahLst/>
              <a:cxnLst/>
              <a:rect l="l" t="t" r="r" b="b"/>
              <a:pathLst>
                <a:path h="226060">
                  <a:moveTo>
                    <a:pt x="0" y="0"/>
                  </a:moveTo>
                  <a:lnTo>
                    <a:pt x="0" y="225552"/>
                  </a:lnTo>
                </a:path>
              </a:pathLst>
            </a:custGeom>
            <a:ln w="3175">
              <a:solidFill>
                <a:srgbClr val="0090DA"/>
              </a:solidFill>
            </a:ln>
          </p:spPr>
          <p:txBody>
            <a:bodyPr wrap="square" lIns="0" tIns="0" rIns="0" bIns="0" rtlCol="0"/>
            <a:lstStyle/>
            <a:p>
              <a:endParaRPr/>
            </a:p>
          </p:txBody>
        </p:sp>
        <p:sp>
          <p:nvSpPr>
            <p:cNvPr id="195" name="object 178"/>
            <p:cNvSpPr/>
            <p:nvPr/>
          </p:nvSpPr>
          <p:spPr>
            <a:xfrm>
              <a:off x="5020946" y="3313455"/>
              <a:ext cx="33020" cy="0"/>
            </a:xfrm>
            <a:custGeom>
              <a:avLst/>
              <a:gdLst/>
              <a:ahLst/>
              <a:cxnLst/>
              <a:rect l="l" t="t" r="r" b="b"/>
              <a:pathLst>
                <a:path w="33020">
                  <a:moveTo>
                    <a:pt x="0" y="0"/>
                  </a:moveTo>
                  <a:lnTo>
                    <a:pt x="33020" y="0"/>
                  </a:lnTo>
                </a:path>
              </a:pathLst>
            </a:custGeom>
            <a:ln w="13716">
              <a:solidFill>
                <a:srgbClr val="0090DA"/>
              </a:solidFill>
            </a:ln>
          </p:spPr>
          <p:txBody>
            <a:bodyPr wrap="square" lIns="0" tIns="0" rIns="0" bIns="0" rtlCol="0"/>
            <a:lstStyle/>
            <a:p>
              <a:endParaRPr/>
            </a:p>
          </p:txBody>
        </p:sp>
        <p:sp>
          <p:nvSpPr>
            <p:cNvPr id="196" name="object 179"/>
            <p:cNvSpPr/>
            <p:nvPr/>
          </p:nvSpPr>
          <p:spPr>
            <a:xfrm>
              <a:off x="5020438" y="3358413"/>
              <a:ext cx="33655" cy="0"/>
            </a:xfrm>
            <a:custGeom>
              <a:avLst/>
              <a:gdLst/>
              <a:ahLst/>
              <a:cxnLst/>
              <a:rect l="l" t="t" r="r" b="b"/>
              <a:pathLst>
                <a:path w="33654">
                  <a:moveTo>
                    <a:pt x="0" y="0"/>
                  </a:moveTo>
                  <a:lnTo>
                    <a:pt x="33527" y="0"/>
                  </a:lnTo>
                </a:path>
              </a:pathLst>
            </a:custGeom>
            <a:ln w="6096">
              <a:solidFill>
                <a:srgbClr val="0090DA"/>
              </a:solidFill>
            </a:ln>
          </p:spPr>
          <p:txBody>
            <a:bodyPr wrap="square" lIns="0" tIns="0" rIns="0" bIns="0" rtlCol="0"/>
            <a:lstStyle/>
            <a:p>
              <a:endParaRPr/>
            </a:p>
          </p:txBody>
        </p:sp>
        <p:sp>
          <p:nvSpPr>
            <p:cNvPr id="197" name="object 180"/>
            <p:cNvSpPr/>
            <p:nvPr/>
          </p:nvSpPr>
          <p:spPr>
            <a:xfrm>
              <a:off x="5020438" y="3401085"/>
              <a:ext cx="33655" cy="0"/>
            </a:xfrm>
            <a:custGeom>
              <a:avLst/>
              <a:gdLst/>
              <a:ahLst/>
              <a:cxnLst/>
              <a:rect l="l" t="t" r="r" b="b"/>
              <a:pathLst>
                <a:path w="33654">
                  <a:moveTo>
                    <a:pt x="0" y="0"/>
                  </a:moveTo>
                  <a:lnTo>
                    <a:pt x="33527" y="0"/>
                  </a:lnTo>
                </a:path>
              </a:pathLst>
            </a:custGeom>
            <a:ln w="6095">
              <a:solidFill>
                <a:srgbClr val="0090DA"/>
              </a:solidFill>
            </a:ln>
          </p:spPr>
          <p:txBody>
            <a:bodyPr wrap="square" lIns="0" tIns="0" rIns="0" bIns="0" rtlCol="0"/>
            <a:lstStyle/>
            <a:p>
              <a:endParaRPr/>
            </a:p>
          </p:txBody>
        </p:sp>
        <p:sp>
          <p:nvSpPr>
            <p:cNvPr id="198" name="object 181"/>
            <p:cNvSpPr/>
            <p:nvPr/>
          </p:nvSpPr>
          <p:spPr>
            <a:xfrm>
              <a:off x="5020438" y="3445281"/>
              <a:ext cx="33655" cy="0"/>
            </a:xfrm>
            <a:custGeom>
              <a:avLst/>
              <a:gdLst/>
              <a:ahLst/>
              <a:cxnLst/>
              <a:rect l="l" t="t" r="r" b="b"/>
              <a:pathLst>
                <a:path w="33654">
                  <a:moveTo>
                    <a:pt x="0" y="0"/>
                  </a:moveTo>
                  <a:lnTo>
                    <a:pt x="33527" y="0"/>
                  </a:lnTo>
                </a:path>
              </a:pathLst>
            </a:custGeom>
            <a:ln w="9143">
              <a:solidFill>
                <a:srgbClr val="0090DA"/>
              </a:solidFill>
            </a:ln>
          </p:spPr>
          <p:txBody>
            <a:bodyPr wrap="square" lIns="0" tIns="0" rIns="0" bIns="0" rtlCol="0"/>
            <a:lstStyle/>
            <a:p>
              <a:endParaRPr/>
            </a:p>
          </p:txBody>
        </p:sp>
        <p:sp>
          <p:nvSpPr>
            <p:cNvPr id="199" name="object 182"/>
            <p:cNvSpPr/>
            <p:nvPr/>
          </p:nvSpPr>
          <p:spPr>
            <a:xfrm>
              <a:off x="5020438" y="3497858"/>
              <a:ext cx="33655" cy="0"/>
            </a:xfrm>
            <a:custGeom>
              <a:avLst/>
              <a:gdLst/>
              <a:ahLst/>
              <a:cxnLst/>
              <a:rect l="l" t="t" r="r" b="b"/>
              <a:pathLst>
                <a:path w="33654">
                  <a:moveTo>
                    <a:pt x="0" y="0"/>
                  </a:moveTo>
                  <a:lnTo>
                    <a:pt x="33527" y="0"/>
                  </a:lnTo>
                </a:path>
              </a:pathLst>
            </a:custGeom>
            <a:ln w="28956">
              <a:solidFill>
                <a:srgbClr val="0090DA"/>
              </a:solidFill>
            </a:ln>
          </p:spPr>
          <p:txBody>
            <a:bodyPr wrap="square" lIns="0" tIns="0" rIns="0" bIns="0" rtlCol="0"/>
            <a:lstStyle/>
            <a:p>
              <a:endParaRPr/>
            </a:p>
          </p:txBody>
        </p:sp>
        <p:sp>
          <p:nvSpPr>
            <p:cNvPr id="200" name="object 183"/>
            <p:cNvSpPr/>
            <p:nvPr/>
          </p:nvSpPr>
          <p:spPr>
            <a:xfrm>
              <a:off x="5011421" y="3306597"/>
              <a:ext cx="0" cy="55244"/>
            </a:xfrm>
            <a:custGeom>
              <a:avLst/>
              <a:gdLst/>
              <a:ahLst/>
              <a:cxnLst/>
              <a:rect l="l" t="t" r="r" b="b"/>
              <a:pathLst>
                <a:path h="55245">
                  <a:moveTo>
                    <a:pt x="0" y="0"/>
                  </a:moveTo>
                  <a:lnTo>
                    <a:pt x="0" y="54864"/>
                  </a:lnTo>
                </a:path>
              </a:pathLst>
            </a:custGeom>
            <a:ln w="3810">
              <a:solidFill>
                <a:srgbClr val="0090DA"/>
              </a:solidFill>
            </a:ln>
          </p:spPr>
          <p:txBody>
            <a:bodyPr wrap="square" lIns="0" tIns="0" rIns="0" bIns="0" rtlCol="0"/>
            <a:lstStyle/>
            <a:p>
              <a:endParaRPr/>
            </a:p>
          </p:txBody>
        </p:sp>
        <p:sp>
          <p:nvSpPr>
            <p:cNvPr id="201" name="object 184"/>
            <p:cNvSpPr/>
            <p:nvPr/>
          </p:nvSpPr>
          <p:spPr>
            <a:xfrm>
              <a:off x="4976496" y="3313455"/>
              <a:ext cx="33020" cy="0"/>
            </a:xfrm>
            <a:custGeom>
              <a:avLst/>
              <a:gdLst/>
              <a:ahLst/>
              <a:cxnLst/>
              <a:rect l="l" t="t" r="r" b="b"/>
              <a:pathLst>
                <a:path w="33020">
                  <a:moveTo>
                    <a:pt x="0" y="0"/>
                  </a:moveTo>
                  <a:lnTo>
                    <a:pt x="33020" y="0"/>
                  </a:lnTo>
                </a:path>
              </a:pathLst>
            </a:custGeom>
            <a:ln w="13716">
              <a:solidFill>
                <a:srgbClr val="0090DA"/>
              </a:solidFill>
            </a:ln>
          </p:spPr>
          <p:txBody>
            <a:bodyPr wrap="square" lIns="0" tIns="0" rIns="0" bIns="0" rtlCol="0"/>
            <a:lstStyle/>
            <a:p>
              <a:endParaRPr/>
            </a:p>
          </p:txBody>
        </p:sp>
        <p:sp>
          <p:nvSpPr>
            <p:cNvPr id="202" name="object 185"/>
            <p:cNvSpPr/>
            <p:nvPr/>
          </p:nvSpPr>
          <p:spPr>
            <a:xfrm>
              <a:off x="4976242" y="3401085"/>
              <a:ext cx="36830" cy="0"/>
            </a:xfrm>
            <a:custGeom>
              <a:avLst/>
              <a:gdLst/>
              <a:ahLst/>
              <a:cxnLst/>
              <a:rect l="l" t="t" r="r" b="b"/>
              <a:pathLst>
                <a:path w="36829">
                  <a:moveTo>
                    <a:pt x="0" y="0"/>
                  </a:moveTo>
                  <a:lnTo>
                    <a:pt x="36575" y="0"/>
                  </a:lnTo>
                </a:path>
              </a:pathLst>
            </a:custGeom>
            <a:ln w="6095">
              <a:solidFill>
                <a:srgbClr val="0090DA"/>
              </a:solidFill>
            </a:ln>
          </p:spPr>
          <p:txBody>
            <a:bodyPr wrap="square" lIns="0" tIns="0" rIns="0" bIns="0" rtlCol="0"/>
            <a:lstStyle/>
            <a:p>
              <a:endParaRPr/>
            </a:p>
          </p:txBody>
        </p:sp>
        <p:sp>
          <p:nvSpPr>
            <p:cNvPr id="203" name="object 186"/>
            <p:cNvSpPr/>
            <p:nvPr/>
          </p:nvSpPr>
          <p:spPr>
            <a:xfrm>
              <a:off x="4976242" y="3445281"/>
              <a:ext cx="36830" cy="0"/>
            </a:xfrm>
            <a:custGeom>
              <a:avLst/>
              <a:gdLst/>
              <a:ahLst/>
              <a:cxnLst/>
              <a:rect l="l" t="t" r="r" b="b"/>
              <a:pathLst>
                <a:path w="36829">
                  <a:moveTo>
                    <a:pt x="0" y="0"/>
                  </a:moveTo>
                  <a:lnTo>
                    <a:pt x="36575" y="0"/>
                  </a:lnTo>
                </a:path>
              </a:pathLst>
            </a:custGeom>
            <a:ln w="9143">
              <a:solidFill>
                <a:srgbClr val="0090DA"/>
              </a:solidFill>
            </a:ln>
          </p:spPr>
          <p:txBody>
            <a:bodyPr wrap="square" lIns="0" tIns="0" rIns="0" bIns="0" rtlCol="0"/>
            <a:lstStyle/>
            <a:p>
              <a:endParaRPr/>
            </a:p>
          </p:txBody>
        </p:sp>
        <p:sp>
          <p:nvSpPr>
            <p:cNvPr id="204" name="object 187"/>
            <p:cNvSpPr/>
            <p:nvPr/>
          </p:nvSpPr>
          <p:spPr>
            <a:xfrm>
              <a:off x="4980306" y="3497858"/>
              <a:ext cx="33020" cy="0"/>
            </a:xfrm>
            <a:custGeom>
              <a:avLst/>
              <a:gdLst/>
              <a:ahLst/>
              <a:cxnLst/>
              <a:rect l="l" t="t" r="r" b="b"/>
              <a:pathLst>
                <a:path w="33020">
                  <a:moveTo>
                    <a:pt x="0" y="0"/>
                  </a:moveTo>
                  <a:lnTo>
                    <a:pt x="33020" y="0"/>
                  </a:lnTo>
                </a:path>
              </a:pathLst>
            </a:custGeom>
            <a:ln w="28956">
              <a:solidFill>
                <a:srgbClr val="0090DA"/>
              </a:solidFill>
            </a:ln>
          </p:spPr>
          <p:txBody>
            <a:bodyPr wrap="square" lIns="0" tIns="0" rIns="0" bIns="0" rtlCol="0"/>
            <a:lstStyle/>
            <a:p>
              <a:endParaRPr/>
            </a:p>
          </p:txBody>
        </p:sp>
        <p:sp>
          <p:nvSpPr>
            <p:cNvPr id="205" name="object 188"/>
            <p:cNvSpPr/>
            <p:nvPr/>
          </p:nvSpPr>
          <p:spPr>
            <a:xfrm>
              <a:off x="4976496" y="3507764"/>
              <a:ext cx="3810" cy="0"/>
            </a:xfrm>
            <a:custGeom>
              <a:avLst/>
              <a:gdLst/>
              <a:ahLst/>
              <a:cxnLst/>
              <a:rect l="l" t="t" r="r" b="b"/>
              <a:pathLst>
                <a:path w="3810">
                  <a:moveTo>
                    <a:pt x="0" y="0"/>
                  </a:moveTo>
                  <a:lnTo>
                    <a:pt x="3810" y="0"/>
                  </a:lnTo>
                </a:path>
              </a:pathLst>
            </a:custGeom>
            <a:ln w="48768">
              <a:solidFill>
                <a:srgbClr val="0090DA"/>
              </a:solidFill>
            </a:ln>
          </p:spPr>
          <p:txBody>
            <a:bodyPr wrap="square" lIns="0" tIns="0" rIns="0" bIns="0" rtlCol="0"/>
            <a:lstStyle/>
            <a:p>
              <a:endParaRPr/>
            </a:p>
          </p:txBody>
        </p:sp>
        <p:sp>
          <p:nvSpPr>
            <p:cNvPr id="206" name="object 189"/>
            <p:cNvSpPr/>
            <p:nvPr/>
          </p:nvSpPr>
          <p:spPr>
            <a:xfrm>
              <a:off x="4970146" y="3283737"/>
              <a:ext cx="0" cy="248920"/>
            </a:xfrm>
            <a:custGeom>
              <a:avLst/>
              <a:gdLst/>
              <a:ahLst/>
              <a:cxnLst/>
              <a:rect l="l" t="t" r="r" b="b"/>
              <a:pathLst>
                <a:path h="248920">
                  <a:moveTo>
                    <a:pt x="0" y="0"/>
                  </a:moveTo>
                  <a:lnTo>
                    <a:pt x="0" y="248412"/>
                  </a:lnTo>
                </a:path>
              </a:pathLst>
            </a:custGeom>
            <a:ln w="12700">
              <a:solidFill>
                <a:srgbClr val="0090DA"/>
              </a:solidFill>
            </a:ln>
          </p:spPr>
          <p:txBody>
            <a:bodyPr wrap="square" lIns="0" tIns="0" rIns="0" bIns="0" rtlCol="0"/>
            <a:lstStyle/>
            <a:p>
              <a:endParaRPr/>
            </a:p>
          </p:txBody>
        </p:sp>
        <p:sp>
          <p:nvSpPr>
            <p:cNvPr id="207" name="object 190"/>
            <p:cNvSpPr/>
            <p:nvPr/>
          </p:nvSpPr>
          <p:spPr>
            <a:xfrm>
              <a:off x="4976242" y="3358413"/>
              <a:ext cx="33655" cy="0"/>
            </a:xfrm>
            <a:custGeom>
              <a:avLst/>
              <a:gdLst/>
              <a:ahLst/>
              <a:cxnLst/>
              <a:rect l="l" t="t" r="r" b="b"/>
              <a:pathLst>
                <a:path w="33654">
                  <a:moveTo>
                    <a:pt x="0" y="0"/>
                  </a:moveTo>
                  <a:lnTo>
                    <a:pt x="33527" y="0"/>
                  </a:lnTo>
                </a:path>
              </a:pathLst>
            </a:custGeom>
            <a:ln w="6096">
              <a:solidFill>
                <a:srgbClr val="0090DA"/>
              </a:solidFill>
            </a:ln>
          </p:spPr>
          <p:txBody>
            <a:bodyPr wrap="square" lIns="0" tIns="0" rIns="0" bIns="0" rtlCol="0"/>
            <a:lstStyle/>
            <a:p>
              <a:endParaRPr/>
            </a:p>
          </p:txBody>
        </p:sp>
        <p:sp>
          <p:nvSpPr>
            <p:cNvPr id="208" name="object 191"/>
            <p:cNvSpPr/>
            <p:nvPr/>
          </p:nvSpPr>
          <p:spPr>
            <a:xfrm>
              <a:off x="5135246" y="3431564"/>
              <a:ext cx="16510" cy="100965"/>
            </a:xfrm>
            <a:custGeom>
              <a:avLst/>
              <a:gdLst/>
              <a:ahLst/>
              <a:cxnLst/>
              <a:rect l="l" t="t" r="r" b="b"/>
              <a:pathLst>
                <a:path w="16510" h="100964">
                  <a:moveTo>
                    <a:pt x="0" y="100583"/>
                  </a:moveTo>
                  <a:lnTo>
                    <a:pt x="16509" y="100583"/>
                  </a:lnTo>
                  <a:lnTo>
                    <a:pt x="16509" y="0"/>
                  </a:lnTo>
                  <a:lnTo>
                    <a:pt x="0" y="0"/>
                  </a:lnTo>
                  <a:lnTo>
                    <a:pt x="0" y="100583"/>
                  </a:lnTo>
                  <a:close/>
                </a:path>
              </a:pathLst>
            </a:custGeom>
            <a:solidFill>
              <a:srgbClr val="0090DA"/>
            </a:solidFill>
          </p:spPr>
          <p:txBody>
            <a:bodyPr wrap="square" lIns="0" tIns="0" rIns="0" bIns="0" rtlCol="0"/>
            <a:lstStyle/>
            <a:p>
              <a:endParaRPr/>
            </a:p>
          </p:txBody>
        </p:sp>
        <p:sp>
          <p:nvSpPr>
            <p:cNvPr id="209" name="object 192"/>
            <p:cNvSpPr/>
            <p:nvPr/>
          </p:nvSpPr>
          <p:spPr>
            <a:xfrm>
              <a:off x="5121276" y="3437661"/>
              <a:ext cx="13970" cy="94615"/>
            </a:xfrm>
            <a:custGeom>
              <a:avLst/>
              <a:gdLst/>
              <a:ahLst/>
              <a:cxnLst/>
              <a:rect l="l" t="t" r="r" b="b"/>
              <a:pathLst>
                <a:path w="13970" h="94614">
                  <a:moveTo>
                    <a:pt x="0" y="94487"/>
                  </a:moveTo>
                  <a:lnTo>
                    <a:pt x="13969" y="94487"/>
                  </a:lnTo>
                  <a:lnTo>
                    <a:pt x="13969" y="0"/>
                  </a:lnTo>
                  <a:lnTo>
                    <a:pt x="0" y="0"/>
                  </a:lnTo>
                  <a:lnTo>
                    <a:pt x="0" y="94487"/>
                  </a:lnTo>
                  <a:close/>
                </a:path>
              </a:pathLst>
            </a:custGeom>
            <a:solidFill>
              <a:srgbClr val="0090DA"/>
            </a:solidFill>
          </p:spPr>
          <p:txBody>
            <a:bodyPr wrap="square" lIns="0" tIns="0" rIns="0" bIns="0" rtlCol="0"/>
            <a:lstStyle/>
            <a:p>
              <a:endParaRPr/>
            </a:p>
          </p:txBody>
        </p:sp>
        <p:sp>
          <p:nvSpPr>
            <p:cNvPr id="210" name="object 193"/>
            <p:cNvSpPr/>
            <p:nvPr/>
          </p:nvSpPr>
          <p:spPr>
            <a:xfrm>
              <a:off x="5106671" y="3366032"/>
              <a:ext cx="0" cy="166370"/>
            </a:xfrm>
            <a:custGeom>
              <a:avLst/>
              <a:gdLst/>
              <a:ahLst/>
              <a:cxnLst/>
              <a:rect l="l" t="t" r="r" b="b"/>
              <a:pathLst>
                <a:path h="166370">
                  <a:moveTo>
                    <a:pt x="0" y="0"/>
                  </a:moveTo>
                  <a:lnTo>
                    <a:pt x="0" y="166115"/>
                  </a:lnTo>
                </a:path>
              </a:pathLst>
            </a:custGeom>
            <a:ln w="29210">
              <a:solidFill>
                <a:srgbClr val="0090DA"/>
              </a:solidFill>
            </a:ln>
          </p:spPr>
          <p:txBody>
            <a:bodyPr wrap="square" lIns="0" tIns="0" rIns="0" bIns="0" rtlCol="0"/>
            <a:lstStyle/>
            <a:p>
              <a:endParaRPr/>
            </a:p>
          </p:txBody>
        </p:sp>
        <p:sp>
          <p:nvSpPr>
            <p:cNvPr id="211" name="object 194"/>
            <p:cNvSpPr/>
            <p:nvPr/>
          </p:nvSpPr>
          <p:spPr>
            <a:xfrm>
              <a:off x="5083811" y="3332505"/>
              <a:ext cx="0" cy="200025"/>
            </a:xfrm>
            <a:custGeom>
              <a:avLst/>
              <a:gdLst/>
              <a:ahLst/>
              <a:cxnLst/>
              <a:rect l="l" t="t" r="r" b="b"/>
              <a:pathLst>
                <a:path h="200025">
                  <a:moveTo>
                    <a:pt x="0" y="0"/>
                  </a:moveTo>
                  <a:lnTo>
                    <a:pt x="0" y="199643"/>
                  </a:lnTo>
                </a:path>
              </a:pathLst>
            </a:custGeom>
            <a:ln w="16510">
              <a:solidFill>
                <a:srgbClr val="0090DA"/>
              </a:solidFill>
            </a:ln>
          </p:spPr>
          <p:txBody>
            <a:bodyPr wrap="square" lIns="0" tIns="0" rIns="0" bIns="0" rtlCol="0"/>
            <a:lstStyle/>
            <a:p>
              <a:endParaRPr/>
            </a:p>
          </p:txBody>
        </p:sp>
        <p:sp>
          <p:nvSpPr>
            <p:cNvPr id="212" name="object 195"/>
            <p:cNvSpPr/>
            <p:nvPr/>
          </p:nvSpPr>
          <p:spPr>
            <a:xfrm>
              <a:off x="4875150" y="3332505"/>
              <a:ext cx="0" cy="182880"/>
            </a:xfrm>
            <a:custGeom>
              <a:avLst/>
              <a:gdLst/>
              <a:ahLst/>
              <a:cxnLst/>
              <a:rect l="l" t="t" r="r" b="b"/>
              <a:pathLst>
                <a:path h="182879">
                  <a:moveTo>
                    <a:pt x="0" y="0"/>
                  </a:moveTo>
                  <a:lnTo>
                    <a:pt x="0" y="182880"/>
                  </a:lnTo>
                </a:path>
              </a:pathLst>
            </a:custGeom>
            <a:ln w="15240">
              <a:solidFill>
                <a:srgbClr val="0090DA"/>
              </a:solidFill>
            </a:ln>
          </p:spPr>
          <p:txBody>
            <a:bodyPr wrap="square" lIns="0" tIns="0" rIns="0" bIns="0" rtlCol="0"/>
            <a:lstStyle/>
            <a:p>
              <a:endParaRPr/>
            </a:p>
          </p:txBody>
        </p:sp>
        <p:sp>
          <p:nvSpPr>
            <p:cNvPr id="213" name="object 196"/>
            <p:cNvSpPr/>
            <p:nvPr/>
          </p:nvSpPr>
          <p:spPr>
            <a:xfrm>
              <a:off x="4863085" y="3366032"/>
              <a:ext cx="0" cy="149860"/>
            </a:xfrm>
            <a:custGeom>
              <a:avLst/>
              <a:gdLst/>
              <a:ahLst/>
              <a:cxnLst/>
              <a:rect l="l" t="t" r="r" b="b"/>
              <a:pathLst>
                <a:path h="149860">
                  <a:moveTo>
                    <a:pt x="0" y="0"/>
                  </a:moveTo>
                  <a:lnTo>
                    <a:pt x="0" y="149352"/>
                  </a:lnTo>
                </a:path>
              </a:pathLst>
            </a:custGeom>
            <a:ln w="8889">
              <a:solidFill>
                <a:srgbClr val="0090DA"/>
              </a:solidFill>
            </a:ln>
          </p:spPr>
          <p:txBody>
            <a:bodyPr wrap="square" lIns="0" tIns="0" rIns="0" bIns="0" rtlCol="0"/>
            <a:lstStyle/>
            <a:p>
              <a:endParaRPr/>
            </a:p>
          </p:txBody>
        </p:sp>
        <p:sp>
          <p:nvSpPr>
            <p:cNvPr id="214" name="object 197"/>
            <p:cNvSpPr/>
            <p:nvPr/>
          </p:nvSpPr>
          <p:spPr>
            <a:xfrm>
              <a:off x="4850385" y="3366032"/>
              <a:ext cx="0" cy="166370"/>
            </a:xfrm>
            <a:custGeom>
              <a:avLst/>
              <a:gdLst/>
              <a:ahLst/>
              <a:cxnLst/>
              <a:rect l="l" t="t" r="r" b="b"/>
              <a:pathLst>
                <a:path h="166370">
                  <a:moveTo>
                    <a:pt x="0" y="0"/>
                  </a:moveTo>
                  <a:lnTo>
                    <a:pt x="0" y="166115"/>
                  </a:lnTo>
                </a:path>
              </a:pathLst>
            </a:custGeom>
            <a:ln w="16510">
              <a:solidFill>
                <a:srgbClr val="0090DA"/>
              </a:solidFill>
            </a:ln>
          </p:spPr>
          <p:txBody>
            <a:bodyPr wrap="square" lIns="0" tIns="0" rIns="0" bIns="0" rtlCol="0"/>
            <a:lstStyle/>
            <a:p>
              <a:endParaRPr/>
            </a:p>
          </p:txBody>
        </p:sp>
        <p:sp>
          <p:nvSpPr>
            <p:cNvPr id="215" name="object 198"/>
            <p:cNvSpPr/>
            <p:nvPr/>
          </p:nvSpPr>
          <p:spPr>
            <a:xfrm>
              <a:off x="4829430" y="3437661"/>
              <a:ext cx="12700" cy="94615"/>
            </a:xfrm>
            <a:custGeom>
              <a:avLst/>
              <a:gdLst/>
              <a:ahLst/>
              <a:cxnLst/>
              <a:rect l="l" t="t" r="r" b="b"/>
              <a:pathLst>
                <a:path w="12700" h="94614">
                  <a:moveTo>
                    <a:pt x="0" y="94487"/>
                  </a:moveTo>
                  <a:lnTo>
                    <a:pt x="12700" y="94487"/>
                  </a:lnTo>
                  <a:lnTo>
                    <a:pt x="12700" y="0"/>
                  </a:lnTo>
                  <a:lnTo>
                    <a:pt x="0" y="0"/>
                  </a:lnTo>
                  <a:lnTo>
                    <a:pt x="0" y="94487"/>
                  </a:lnTo>
                  <a:close/>
                </a:path>
              </a:pathLst>
            </a:custGeom>
            <a:solidFill>
              <a:srgbClr val="0090DA"/>
            </a:solidFill>
          </p:spPr>
          <p:txBody>
            <a:bodyPr wrap="square" lIns="0" tIns="0" rIns="0" bIns="0" rtlCol="0"/>
            <a:lstStyle/>
            <a:p>
              <a:endParaRPr/>
            </a:p>
          </p:txBody>
        </p:sp>
        <p:sp>
          <p:nvSpPr>
            <p:cNvPr id="216" name="object 199"/>
            <p:cNvSpPr/>
            <p:nvPr/>
          </p:nvSpPr>
          <p:spPr>
            <a:xfrm>
              <a:off x="4809110" y="3431564"/>
              <a:ext cx="20320" cy="100965"/>
            </a:xfrm>
            <a:custGeom>
              <a:avLst/>
              <a:gdLst/>
              <a:ahLst/>
              <a:cxnLst/>
              <a:rect l="l" t="t" r="r" b="b"/>
              <a:pathLst>
                <a:path w="20320" h="100964">
                  <a:moveTo>
                    <a:pt x="0" y="100583"/>
                  </a:moveTo>
                  <a:lnTo>
                    <a:pt x="20319" y="100583"/>
                  </a:lnTo>
                  <a:lnTo>
                    <a:pt x="20319" y="0"/>
                  </a:lnTo>
                  <a:lnTo>
                    <a:pt x="0" y="0"/>
                  </a:lnTo>
                  <a:lnTo>
                    <a:pt x="0" y="100583"/>
                  </a:lnTo>
                  <a:close/>
                </a:path>
              </a:pathLst>
            </a:custGeom>
            <a:solidFill>
              <a:srgbClr val="0090DA"/>
            </a:solidFill>
          </p:spPr>
          <p:txBody>
            <a:bodyPr wrap="square" lIns="0" tIns="0" rIns="0" bIns="0" rtlCol="0"/>
            <a:lstStyle/>
            <a:p>
              <a:endParaRPr/>
            </a:p>
          </p:txBody>
        </p:sp>
        <p:sp>
          <p:nvSpPr>
            <p:cNvPr id="217" name="object 200"/>
            <p:cNvSpPr/>
            <p:nvPr/>
          </p:nvSpPr>
          <p:spPr>
            <a:xfrm>
              <a:off x="4858894" y="3523767"/>
              <a:ext cx="29209" cy="0"/>
            </a:xfrm>
            <a:custGeom>
              <a:avLst/>
              <a:gdLst/>
              <a:ahLst/>
              <a:cxnLst/>
              <a:rect l="l" t="t" r="r" b="b"/>
              <a:pathLst>
                <a:path w="29210">
                  <a:moveTo>
                    <a:pt x="0" y="0"/>
                  </a:moveTo>
                  <a:lnTo>
                    <a:pt x="28955" y="0"/>
                  </a:lnTo>
                </a:path>
              </a:pathLst>
            </a:custGeom>
            <a:ln w="16763">
              <a:solidFill>
                <a:srgbClr val="0090DA"/>
              </a:solidFill>
            </a:ln>
          </p:spPr>
          <p:txBody>
            <a:bodyPr wrap="square" lIns="0" tIns="0" rIns="0" bIns="0" rtlCol="0"/>
            <a:lstStyle/>
            <a:p>
              <a:endParaRPr/>
            </a:p>
          </p:txBody>
        </p:sp>
        <p:sp>
          <p:nvSpPr>
            <p:cNvPr id="218" name="object 201"/>
            <p:cNvSpPr/>
            <p:nvPr/>
          </p:nvSpPr>
          <p:spPr>
            <a:xfrm>
              <a:off x="6629782" y="3344697"/>
              <a:ext cx="90170" cy="90170"/>
            </a:xfrm>
            <a:custGeom>
              <a:avLst/>
              <a:gdLst/>
              <a:ahLst/>
              <a:cxnLst/>
              <a:rect l="l" t="t" r="r" b="b"/>
              <a:pathLst>
                <a:path w="90170" h="90170">
                  <a:moveTo>
                    <a:pt x="0" y="45719"/>
                  </a:moveTo>
                  <a:lnTo>
                    <a:pt x="3500" y="28289"/>
                  </a:lnTo>
                  <a:lnTo>
                    <a:pt x="13144" y="13716"/>
                  </a:lnTo>
                  <a:lnTo>
                    <a:pt x="27646" y="3714"/>
                  </a:lnTo>
                  <a:lnTo>
                    <a:pt x="45720" y="0"/>
                  </a:lnTo>
                  <a:lnTo>
                    <a:pt x="45720" y="45719"/>
                  </a:lnTo>
                  <a:lnTo>
                    <a:pt x="89916" y="45719"/>
                  </a:lnTo>
                  <a:lnTo>
                    <a:pt x="86439" y="62269"/>
                  </a:lnTo>
                  <a:lnTo>
                    <a:pt x="76962" y="76390"/>
                  </a:lnTo>
                  <a:lnTo>
                    <a:pt x="62912" y="86225"/>
                  </a:lnTo>
                  <a:lnTo>
                    <a:pt x="45720" y="89916"/>
                  </a:lnTo>
                  <a:lnTo>
                    <a:pt x="27646" y="86225"/>
                  </a:lnTo>
                  <a:lnTo>
                    <a:pt x="13144" y="76390"/>
                  </a:lnTo>
                  <a:lnTo>
                    <a:pt x="3500" y="62269"/>
                  </a:lnTo>
                  <a:lnTo>
                    <a:pt x="0" y="45719"/>
                  </a:lnTo>
                  <a:close/>
                </a:path>
              </a:pathLst>
            </a:custGeom>
            <a:solidFill>
              <a:srgbClr val="0090DA"/>
            </a:solidFill>
          </p:spPr>
          <p:txBody>
            <a:bodyPr wrap="square" lIns="0" tIns="0" rIns="0" bIns="0" rtlCol="0"/>
            <a:lstStyle/>
            <a:p>
              <a:endParaRPr/>
            </a:p>
          </p:txBody>
        </p:sp>
        <p:sp>
          <p:nvSpPr>
            <p:cNvPr id="219" name="object 202"/>
            <p:cNvSpPr/>
            <p:nvPr/>
          </p:nvSpPr>
          <p:spPr>
            <a:xfrm>
              <a:off x="6678550" y="3341649"/>
              <a:ext cx="33655" cy="44450"/>
            </a:xfrm>
            <a:custGeom>
              <a:avLst/>
              <a:gdLst/>
              <a:ahLst/>
              <a:cxnLst/>
              <a:rect l="l" t="t" r="r" b="b"/>
              <a:pathLst>
                <a:path w="33654" h="44450">
                  <a:moveTo>
                    <a:pt x="0" y="44196"/>
                  </a:moveTo>
                  <a:lnTo>
                    <a:pt x="0" y="0"/>
                  </a:lnTo>
                  <a:lnTo>
                    <a:pt x="9096" y="619"/>
                  </a:lnTo>
                  <a:lnTo>
                    <a:pt x="17907" y="2667"/>
                  </a:lnTo>
                  <a:lnTo>
                    <a:pt x="26146" y="6429"/>
                  </a:lnTo>
                  <a:lnTo>
                    <a:pt x="33528" y="12191"/>
                  </a:lnTo>
                  <a:lnTo>
                    <a:pt x="0" y="44196"/>
                  </a:lnTo>
                  <a:close/>
                </a:path>
              </a:pathLst>
            </a:custGeom>
            <a:solidFill>
              <a:srgbClr val="0090DA"/>
            </a:solidFill>
          </p:spPr>
          <p:txBody>
            <a:bodyPr wrap="square" lIns="0" tIns="0" rIns="0" bIns="0" rtlCol="0"/>
            <a:lstStyle/>
            <a:p>
              <a:endParaRPr/>
            </a:p>
          </p:txBody>
        </p:sp>
        <p:sp>
          <p:nvSpPr>
            <p:cNvPr id="220" name="object 203"/>
            <p:cNvSpPr/>
            <p:nvPr/>
          </p:nvSpPr>
          <p:spPr>
            <a:xfrm>
              <a:off x="6683122" y="3353841"/>
              <a:ext cx="44450" cy="32384"/>
            </a:xfrm>
            <a:custGeom>
              <a:avLst/>
              <a:gdLst/>
              <a:ahLst/>
              <a:cxnLst/>
              <a:rect l="l" t="t" r="r" b="b"/>
              <a:pathLst>
                <a:path w="44450" h="32385">
                  <a:moveTo>
                    <a:pt x="0" y="32004"/>
                  </a:moveTo>
                  <a:lnTo>
                    <a:pt x="32004" y="0"/>
                  </a:lnTo>
                  <a:lnTo>
                    <a:pt x="37124" y="6500"/>
                  </a:lnTo>
                  <a:lnTo>
                    <a:pt x="40957" y="14287"/>
                  </a:lnTo>
                  <a:lnTo>
                    <a:pt x="43362" y="22931"/>
                  </a:lnTo>
                  <a:lnTo>
                    <a:pt x="44196" y="32004"/>
                  </a:lnTo>
                  <a:lnTo>
                    <a:pt x="0" y="32004"/>
                  </a:lnTo>
                  <a:close/>
                </a:path>
              </a:pathLst>
            </a:custGeom>
            <a:solidFill>
              <a:srgbClr val="0090DA"/>
            </a:solidFill>
          </p:spPr>
          <p:txBody>
            <a:bodyPr wrap="square" lIns="0" tIns="0" rIns="0" bIns="0" rtlCol="0"/>
            <a:lstStyle/>
            <a:p>
              <a:endParaRPr/>
            </a:p>
          </p:txBody>
        </p:sp>
        <p:sp>
          <p:nvSpPr>
            <p:cNvPr id="221" name="object 204"/>
            <p:cNvSpPr/>
            <p:nvPr/>
          </p:nvSpPr>
          <p:spPr>
            <a:xfrm>
              <a:off x="6581014" y="3248685"/>
              <a:ext cx="273050" cy="56515"/>
            </a:xfrm>
            <a:custGeom>
              <a:avLst/>
              <a:gdLst/>
              <a:ahLst/>
              <a:cxnLst/>
              <a:rect l="l" t="t" r="r" b="b"/>
              <a:pathLst>
                <a:path w="273050" h="56514">
                  <a:moveTo>
                    <a:pt x="0" y="56388"/>
                  </a:moveTo>
                  <a:lnTo>
                    <a:pt x="0" y="19812"/>
                  </a:lnTo>
                  <a:lnTo>
                    <a:pt x="131063" y="19812"/>
                  </a:lnTo>
                  <a:lnTo>
                    <a:pt x="131063" y="4572"/>
                  </a:lnTo>
                  <a:lnTo>
                    <a:pt x="134111" y="0"/>
                  </a:lnTo>
                  <a:lnTo>
                    <a:pt x="143255" y="0"/>
                  </a:lnTo>
                  <a:lnTo>
                    <a:pt x="143255" y="19812"/>
                  </a:lnTo>
                  <a:lnTo>
                    <a:pt x="272795" y="19812"/>
                  </a:lnTo>
                  <a:lnTo>
                    <a:pt x="272795" y="56388"/>
                  </a:lnTo>
                  <a:lnTo>
                    <a:pt x="0" y="56388"/>
                  </a:lnTo>
                  <a:close/>
                </a:path>
              </a:pathLst>
            </a:custGeom>
            <a:solidFill>
              <a:srgbClr val="0090DA"/>
            </a:solidFill>
          </p:spPr>
          <p:txBody>
            <a:bodyPr wrap="square" lIns="0" tIns="0" rIns="0" bIns="0" rtlCol="0"/>
            <a:lstStyle/>
            <a:p>
              <a:endParaRPr/>
            </a:p>
          </p:txBody>
        </p:sp>
        <p:sp>
          <p:nvSpPr>
            <p:cNvPr id="222" name="object 205"/>
            <p:cNvSpPr/>
            <p:nvPr/>
          </p:nvSpPr>
          <p:spPr>
            <a:xfrm>
              <a:off x="6825108" y="3317264"/>
              <a:ext cx="0" cy="149860"/>
            </a:xfrm>
            <a:custGeom>
              <a:avLst/>
              <a:gdLst/>
              <a:ahLst/>
              <a:cxnLst/>
              <a:rect l="l" t="t" r="r" b="b"/>
              <a:pathLst>
                <a:path h="149860">
                  <a:moveTo>
                    <a:pt x="0" y="0"/>
                  </a:moveTo>
                  <a:lnTo>
                    <a:pt x="0" y="149351"/>
                  </a:lnTo>
                </a:path>
              </a:pathLst>
            </a:custGeom>
            <a:ln w="17779">
              <a:solidFill>
                <a:srgbClr val="0090DA"/>
              </a:solidFill>
            </a:ln>
          </p:spPr>
          <p:txBody>
            <a:bodyPr wrap="square" lIns="0" tIns="0" rIns="0" bIns="0" rtlCol="0"/>
            <a:lstStyle/>
            <a:p>
              <a:endParaRPr/>
            </a:p>
          </p:txBody>
        </p:sp>
        <p:sp>
          <p:nvSpPr>
            <p:cNvPr id="223" name="object 206"/>
            <p:cNvSpPr/>
            <p:nvPr/>
          </p:nvSpPr>
          <p:spPr>
            <a:xfrm>
              <a:off x="6618098" y="3321074"/>
              <a:ext cx="198120" cy="0"/>
            </a:xfrm>
            <a:custGeom>
              <a:avLst/>
              <a:gdLst/>
              <a:ahLst/>
              <a:cxnLst/>
              <a:rect l="l" t="t" r="r" b="b"/>
              <a:pathLst>
                <a:path w="198120">
                  <a:moveTo>
                    <a:pt x="0" y="0"/>
                  </a:moveTo>
                  <a:lnTo>
                    <a:pt x="198120" y="0"/>
                  </a:lnTo>
                </a:path>
              </a:pathLst>
            </a:custGeom>
            <a:ln w="7619">
              <a:solidFill>
                <a:srgbClr val="0090DA"/>
              </a:solidFill>
            </a:ln>
          </p:spPr>
          <p:txBody>
            <a:bodyPr wrap="square" lIns="0" tIns="0" rIns="0" bIns="0" rtlCol="0"/>
            <a:lstStyle/>
            <a:p>
              <a:endParaRPr/>
            </a:p>
          </p:txBody>
        </p:sp>
        <p:sp>
          <p:nvSpPr>
            <p:cNvPr id="224" name="object 207"/>
            <p:cNvSpPr/>
            <p:nvPr/>
          </p:nvSpPr>
          <p:spPr>
            <a:xfrm>
              <a:off x="6611748" y="3317264"/>
              <a:ext cx="0" cy="149860"/>
            </a:xfrm>
            <a:custGeom>
              <a:avLst/>
              <a:gdLst/>
              <a:ahLst/>
              <a:cxnLst/>
              <a:rect l="l" t="t" r="r" b="b"/>
              <a:pathLst>
                <a:path h="149860">
                  <a:moveTo>
                    <a:pt x="0" y="0"/>
                  </a:moveTo>
                  <a:lnTo>
                    <a:pt x="0" y="149351"/>
                  </a:lnTo>
                </a:path>
              </a:pathLst>
            </a:custGeom>
            <a:ln w="12700">
              <a:solidFill>
                <a:srgbClr val="0090DA"/>
              </a:solidFill>
            </a:ln>
          </p:spPr>
          <p:txBody>
            <a:bodyPr wrap="square" lIns="0" tIns="0" rIns="0" bIns="0" rtlCol="0"/>
            <a:lstStyle/>
            <a:p>
              <a:endParaRPr/>
            </a:p>
          </p:txBody>
        </p:sp>
        <p:sp>
          <p:nvSpPr>
            <p:cNvPr id="225" name="object 208"/>
            <p:cNvSpPr/>
            <p:nvPr/>
          </p:nvSpPr>
          <p:spPr>
            <a:xfrm>
              <a:off x="6732398" y="3460520"/>
              <a:ext cx="83820" cy="0"/>
            </a:xfrm>
            <a:custGeom>
              <a:avLst/>
              <a:gdLst/>
              <a:ahLst/>
              <a:cxnLst/>
              <a:rect l="l" t="t" r="r" b="b"/>
              <a:pathLst>
                <a:path w="83820">
                  <a:moveTo>
                    <a:pt x="0" y="0"/>
                  </a:moveTo>
                  <a:lnTo>
                    <a:pt x="83820" y="0"/>
                  </a:lnTo>
                </a:path>
              </a:pathLst>
            </a:custGeom>
            <a:ln w="12192">
              <a:solidFill>
                <a:srgbClr val="0090DA"/>
              </a:solidFill>
            </a:ln>
          </p:spPr>
          <p:txBody>
            <a:bodyPr wrap="square" lIns="0" tIns="0" rIns="0" bIns="0" rtlCol="0"/>
            <a:lstStyle/>
            <a:p>
              <a:endParaRPr/>
            </a:p>
          </p:txBody>
        </p:sp>
        <p:sp>
          <p:nvSpPr>
            <p:cNvPr id="226" name="object 209"/>
            <p:cNvSpPr/>
            <p:nvPr/>
          </p:nvSpPr>
          <p:spPr>
            <a:xfrm>
              <a:off x="6717793" y="3454424"/>
              <a:ext cx="0" cy="78105"/>
            </a:xfrm>
            <a:custGeom>
              <a:avLst/>
              <a:gdLst/>
              <a:ahLst/>
              <a:cxnLst/>
              <a:rect l="l" t="t" r="r" b="b"/>
              <a:pathLst>
                <a:path h="78104">
                  <a:moveTo>
                    <a:pt x="0" y="0"/>
                  </a:moveTo>
                  <a:lnTo>
                    <a:pt x="0" y="77723"/>
                  </a:lnTo>
                </a:path>
              </a:pathLst>
            </a:custGeom>
            <a:ln w="29210">
              <a:solidFill>
                <a:srgbClr val="0090DA"/>
              </a:solidFill>
            </a:ln>
          </p:spPr>
          <p:txBody>
            <a:bodyPr wrap="square" lIns="0" tIns="0" rIns="0" bIns="0" rtlCol="0"/>
            <a:lstStyle/>
            <a:p>
              <a:endParaRPr/>
            </a:p>
          </p:txBody>
        </p:sp>
        <p:sp>
          <p:nvSpPr>
            <p:cNvPr id="227" name="object 210"/>
            <p:cNvSpPr/>
            <p:nvPr/>
          </p:nvSpPr>
          <p:spPr>
            <a:xfrm>
              <a:off x="6618098" y="3460520"/>
              <a:ext cx="85090" cy="0"/>
            </a:xfrm>
            <a:custGeom>
              <a:avLst/>
              <a:gdLst/>
              <a:ahLst/>
              <a:cxnLst/>
              <a:rect l="l" t="t" r="r" b="b"/>
              <a:pathLst>
                <a:path w="85089">
                  <a:moveTo>
                    <a:pt x="0" y="0"/>
                  </a:moveTo>
                  <a:lnTo>
                    <a:pt x="85089" y="0"/>
                  </a:lnTo>
                </a:path>
              </a:pathLst>
            </a:custGeom>
            <a:ln w="12192">
              <a:solidFill>
                <a:srgbClr val="0090DA"/>
              </a:solidFill>
            </a:ln>
          </p:spPr>
          <p:txBody>
            <a:bodyPr wrap="square" lIns="0" tIns="0" rIns="0" bIns="0" rtlCol="0"/>
            <a:lstStyle/>
            <a:p>
              <a:endParaRPr/>
            </a:p>
          </p:txBody>
        </p:sp>
        <p:sp>
          <p:nvSpPr>
            <p:cNvPr id="228" name="object 211"/>
            <p:cNvSpPr/>
            <p:nvPr/>
          </p:nvSpPr>
          <p:spPr>
            <a:xfrm>
              <a:off x="6768466" y="3532148"/>
              <a:ext cx="15240" cy="0"/>
            </a:xfrm>
            <a:custGeom>
              <a:avLst/>
              <a:gdLst/>
              <a:ahLst/>
              <a:cxnLst/>
              <a:rect l="l" t="t" r="r" b="b"/>
              <a:pathLst>
                <a:path w="15239">
                  <a:moveTo>
                    <a:pt x="0" y="0"/>
                  </a:moveTo>
                  <a:lnTo>
                    <a:pt x="15239" y="0"/>
                  </a:lnTo>
                </a:path>
              </a:pathLst>
            </a:custGeom>
            <a:ln w="48768">
              <a:solidFill>
                <a:srgbClr val="0090DA"/>
              </a:solidFill>
            </a:ln>
          </p:spPr>
          <p:txBody>
            <a:bodyPr wrap="square" lIns="0" tIns="0" rIns="0" bIns="0" rtlCol="0"/>
            <a:lstStyle/>
            <a:p>
              <a:endParaRPr/>
            </a:p>
          </p:txBody>
        </p:sp>
        <p:sp>
          <p:nvSpPr>
            <p:cNvPr id="229" name="object 212"/>
            <p:cNvSpPr/>
            <p:nvPr/>
          </p:nvSpPr>
          <p:spPr>
            <a:xfrm>
              <a:off x="6731890" y="3523767"/>
              <a:ext cx="36830" cy="0"/>
            </a:xfrm>
            <a:custGeom>
              <a:avLst/>
              <a:gdLst/>
              <a:ahLst/>
              <a:cxnLst/>
              <a:rect l="l" t="t" r="r" b="b"/>
              <a:pathLst>
                <a:path w="36829">
                  <a:moveTo>
                    <a:pt x="0" y="0"/>
                  </a:moveTo>
                  <a:lnTo>
                    <a:pt x="36576" y="0"/>
                  </a:lnTo>
                </a:path>
              </a:pathLst>
            </a:custGeom>
            <a:ln w="16763">
              <a:solidFill>
                <a:srgbClr val="0090DA"/>
              </a:solidFill>
            </a:ln>
          </p:spPr>
          <p:txBody>
            <a:bodyPr wrap="square" lIns="0" tIns="0" rIns="0" bIns="0" rtlCol="0"/>
            <a:lstStyle/>
            <a:p>
              <a:endParaRPr/>
            </a:p>
          </p:txBody>
        </p:sp>
        <p:sp>
          <p:nvSpPr>
            <p:cNvPr id="230" name="object 213"/>
            <p:cNvSpPr/>
            <p:nvPr/>
          </p:nvSpPr>
          <p:spPr>
            <a:xfrm>
              <a:off x="6666358" y="3523767"/>
              <a:ext cx="36830" cy="0"/>
            </a:xfrm>
            <a:custGeom>
              <a:avLst/>
              <a:gdLst/>
              <a:ahLst/>
              <a:cxnLst/>
              <a:rect l="l" t="t" r="r" b="b"/>
              <a:pathLst>
                <a:path w="36829">
                  <a:moveTo>
                    <a:pt x="0" y="0"/>
                  </a:moveTo>
                  <a:lnTo>
                    <a:pt x="36575" y="0"/>
                  </a:lnTo>
                </a:path>
              </a:pathLst>
            </a:custGeom>
            <a:ln w="16763">
              <a:solidFill>
                <a:srgbClr val="0090DA"/>
              </a:solidFill>
            </a:ln>
          </p:spPr>
          <p:txBody>
            <a:bodyPr wrap="square" lIns="0" tIns="0" rIns="0" bIns="0" rtlCol="0"/>
            <a:lstStyle/>
            <a:p>
              <a:endParaRPr/>
            </a:p>
          </p:txBody>
        </p:sp>
        <p:sp>
          <p:nvSpPr>
            <p:cNvPr id="231" name="object 214"/>
            <p:cNvSpPr/>
            <p:nvPr/>
          </p:nvSpPr>
          <p:spPr>
            <a:xfrm>
              <a:off x="6654166" y="3532148"/>
              <a:ext cx="12700" cy="0"/>
            </a:xfrm>
            <a:custGeom>
              <a:avLst/>
              <a:gdLst/>
              <a:ahLst/>
              <a:cxnLst/>
              <a:rect l="l" t="t" r="r" b="b"/>
              <a:pathLst>
                <a:path w="12700">
                  <a:moveTo>
                    <a:pt x="0" y="0"/>
                  </a:moveTo>
                  <a:lnTo>
                    <a:pt x="12192" y="0"/>
                  </a:lnTo>
                </a:path>
              </a:pathLst>
            </a:custGeom>
            <a:ln w="48768">
              <a:solidFill>
                <a:srgbClr val="0090DA"/>
              </a:solidFill>
            </a:ln>
          </p:spPr>
          <p:txBody>
            <a:bodyPr wrap="square" lIns="0" tIns="0" rIns="0" bIns="0" rtlCol="0"/>
            <a:lstStyle/>
            <a:p>
              <a:endParaRPr/>
            </a:p>
          </p:txBody>
        </p:sp>
        <p:sp>
          <p:nvSpPr>
            <p:cNvPr id="232" name="object 215"/>
            <p:cNvSpPr/>
            <p:nvPr/>
          </p:nvSpPr>
          <p:spPr>
            <a:xfrm>
              <a:off x="6750178" y="3356888"/>
              <a:ext cx="52069" cy="58419"/>
            </a:xfrm>
            <a:custGeom>
              <a:avLst/>
              <a:gdLst/>
              <a:ahLst/>
              <a:cxnLst/>
              <a:rect l="l" t="t" r="r" b="b"/>
              <a:pathLst>
                <a:path w="52070" h="58420">
                  <a:moveTo>
                    <a:pt x="0" y="18288"/>
                  </a:moveTo>
                  <a:lnTo>
                    <a:pt x="0" y="10667"/>
                  </a:lnTo>
                  <a:lnTo>
                    <a:pt x="51816" y="10667"/>
                  </a:lnTo>
                  <a:lnTo>
                    <a:pt x="51816" y="18288"/>
                  </a:lnTo>
                  <a:lnTo>
                    <a:pt x="0" y="18288"/>
                  </a:lnTo>
                  <a:close/>
                </a:path>
                <a:path w="52070" h="58420">
                  <a:moveTo>
                    <a:pt x="0" y="6096"/>
                  </a:moveTo>
                  <a:lnTo>
                    <a:pt x="0" y="0"/>
                  </a:lnTo>
                  <a:lnTo>
                    <a:pt x="51816" y="0"/>
                  </a:lnTo>
                  <a:lnTo>
                    <a:pt x="51816" y="6096"/>
                  </a:lnTo>
                  <a:lnTo>
                    <a:pt x="0" y="6096"/>
                  </a:lnTo>
                  <a:close/>
                </a:path>
                <a:path w="52070" h="58420">
                  <a:moveTo>
                    <a:pt x="0" y="33527"/>
                  </a:moveTo>
                  <a:lnTo>
                    <a:pt x="0" y="24383"/>
                  </a:lnTo>
                  <a:lnTo>
                    <a:pt x="51816" y="24383"/>
                  </a:lnTo>
                  <a:lnTo>
                    <a:pt x="51816" y="33527"/>
                  </a:lnTo>
                  <a:lnTo>
                    <a:pt x="0" y="33527"/>
                  </a:lnTo>
                  <a:close/>
                </a:path>
                <a:path w="52070" h="58420">
                  <a:moveTo>
                    <a:pt x="0" y="45719"/>
                  </a:moveTo>
                  <a:lnTo>
                    <a:pt x="0" y="41148"/>
                  </a:lnTo>
                  <a:lnTo>
                    <a:pt x="51816" y="41148"/>
                  </a:lnTo>
                  <a:lnTo>
                    <a:pt x="51816" y="45719"/>
                  </a:lnTo>
                  <a:lnTo>
                    <a:pt x="0" y="45719"/>
                  </a:lnTo>
                  <a:close/>
                </a:path>
                <a:path w="52070" h="58420">
                  <a:moveTo>
                    <a:pt x="0" y="57911"/>
                  </a:moveTo>
                  <a:lnTo>
                    <a:pt x="0" y="51816"/>
                  </a:lnTo>
                  <a:lnTo>
                    <a:pt x="51816" y="51816"/>
                  </a:lnTo>
                  <a:lnTo>
                    <a:pt x="51816" y="57911"/>
                  </a:lnTo>
                  <a:lnTo>
                    <a:pt x="0" y="57911"/>
                  </a:lnTo>
                  <a:close/>
                </a:path>
              </a:pathLst>
            </a:custGeom>
            <a:solidFill>
              <a:srgbClr val="0090DA"/>
            </a:solidFill>
          </p:spPr>
          <p:txBody>
            <a:bodyPr wrap="square" lIns="0" tIns="0" rIns="0" bIns="0" rtlCol="0"/>
            <a:lstStyle/>
            <a:p>
              <a:endParaRPr/>
            </a:p>
          </p:txBody>
        </p:sp>
        <p:sp>
          <p:nvSpPr>
            <p:cNvPr id="233" name="object 216"/>
            <p:cNvSpPr/>
            <p:nvPr/>
          </p:nvSpPr>
          <p:spPr>
            <a:xfrm>
              <a:off x="7626478" y="3347744"/>
              <a:ext cx="131445" cy="173990"/>
            </a:xfrm>
            <a:custGeom>
              <a:avLst/>
              <a:gdLst/>
              <a:ahLst/>
              <a:cxnLst/>
              <a:rect l="l" t="t" r="r" b="b"/>
              <a:pathLst>
                <a:path w="131445" h="173989">
                  <a:moveTo>
                    <a:pt x="0" y="85344"/>
                  </a:moveTo>
                  <a:lnTo>
                    <a:pt x="41148" y="0"/>
                  </a:lnTo>
                  <a:lnTo>
                    <a:pt x="131064" y="173736"/>
                  </a:lnTo>
                  <a:lnTo>
                    <a:pt x="121920" y="173736"/>
                  </a:lnTo>
                  <a:lnTo>
                    <a:pt x="121920" y="167640"/>
                  </a:lnTo>
                  <a:lnTo>
                    <a:pt x="115514" y="156257"/>
                  </a:lnTo>
                  <a:lnTo>
                    <a:pt x="99250" y="129159"/>
                  </a:lnTo>
                  <a:lnTo>
                    <a:pt x="77557" y="96916"/>
                  </a:lnTo>
                  <a:lnTo>
                    <a:pt x="54864" y="70104"/>
                  </a:lnTo>
                  <a:lnTo>
                    <a:pt x="51816" y="76200"/>
                  </a:lnTo>
                  <a:lnTo>
                    <a:pt x="51816" y="97536"/>
                  </a:lnTo>
                  <a:lnTo>
                    <a:pt x="48768" y="97536"/>
                  </a:lnTo>
                  <a:lnTo>
                    <a:pt x="48744" y="95773"/>
                  </a:lnTo>
                  <a:lnTo>
                    <a:pt x="48577" y="90297"/>
                  </a:lnTo>
                  <a:lnTo>
                    <a:pt x="48125" y="80819"/>
                  </a:lnTo>
                  <a:lnTo>
                    <a:pt x="47244" y="67056"/>
                  </a:lnTo>
                  <a:lnTo>
                    <a:pt x="47196" y="52887"/>
                  </a:lnTo>
                  <a:lnTo>
                    <a:pt x="46863" y="44005"/>
                  </a:lnTo>
                  <a:lnTo>
                    <a:pt x="45958" y="39409"/>
                  </a:lnTo>
                  <a:lnTo>
                    <a:pt x="44196" y="38100"/>
                  </a:lnTo>
                  <a:lnTo>
                    <a:pt x="41148" y="38100"/>
                  </a:lnTo>
                  <a:lnTo>
                    <a:pt x="38100" y="62484"/>
                  </a:lnTo>
                  <a:lnTo>
                    <a:pt x="38100" y="73152"/>
                  </a:lnTo>
                  <a:lnTo>
                    <a:pt x="35052" y="73152"/>
                  </a:lnTo>
                  <a:lnTo>
                    <a:pt x="32004" y="70104"/>
                  </a:lnTo>
                  <a:lnTo>
                    <a:pt x="32004" y="59436"/>
                  </a:lnTo>
                  <a:lnTo>
                    <a:pt x="28956" y="56387"/>
                  </a:lnTo>
                  <a:lnTo>
                    <a:pt x="22860" y="56387"/>
                  </a:lnTo>
                  <a:lnTo>
                    <a:pt x="13716" y="76200"/>
                  </a:lnTo>
                  <a:lnTo>
                    <a:pt x="6096" y="97536"/>
                  </a:lnTo>
                  <a:lnTo>
                    <a:pt x="0" y="85344"/>
                  </a:lnTo>
                  <a:close/>
                </a:path>
                <a:path w="131445" h="173989">
                  <a:moveTo>
                    <a:pt x="41148" y="167640"/>
                  </a:moveTo>
                  <a:lnTo>
                    <a:pt x="121920" y="167640"/>
                  </a:lnTo>
                  <a:lnTo>
                    <a:pt x="121920" y="173736"/>
                  </a:lnTo>
                  <a:lnTo>
                    <a:pt x="44196" y="173736"/>
                  </a:lnTo>
                  <a:lnTo>
                    <a:pt x="41148" y="167640"/>
                  </a:lnTo>
                  <a:close/>
                </a:path>
              </a:pathLst>
            </a:custGeom>
            <a:solidFill>
              <a:srgbClr val="0090DA"/>
            </a:solidFill>
          </p:spPr>
          <p:txBody>
            <a:bodyPr wrap="square" lIns="0" tIns="0" rIns="0" bIns="0" rtlCol="0"/>
            <a:lstStyle/>
            <a:p>
              <a:endParaRPr/>
            </a:p>
          </p:txBody>
        </p:sp>
        <p:sp>
          <p:nvSpPr>
            <p:cNvPr id="234" name="object 217"/>
            <p:cNvSpPr/>
            <p:nvPr/>
          </p:nvSpPr>
          <p:spPr>
            <a:xfrm>
              <a:off x="7414642" y="3277641"/>
              <a:ext cx="250190" cy="250190"/>
            </a:xfrm>
            <a:custGeom>
              <a:avLst/>
              <a:gdLst/>
              <a:ahLst/>
              <a:cxnLst/>
              <a:rect l="l" t="t" r="r" b="b"/>
              <a:pathLst>
                <a:path w="250190" h="250189">
                  <a:moveTo>
                    <a:pt x="0" y="249936"/>
                  </a:moveTo>
                  <a:lnTo>
                    <a:pt x="117347" y="0"/>
                  </a:lnTo>
                  <a:lnTo>
                    <a:pt x="202691" y="164592"/>
                  </a:lnTo>
                  <a:lnTo>
                    <a:pt x="208787" y="173736"/>
                  </a:lnTo>
                  <a:lnTo>
                    <a:pt x="246887" y="246888"/>
                  </a:lnTo>
                  <a:lnTo>
                    <a:pt x="249936" y="249936"/>
                  </a:lnTo>
                  <a:lnTo>
                    <a:pt x="236219" y="249936"/>
                  </a:lnTo>
                  <a:lnTo>
                    <a:pt x="236219" y="243840"/>
                  </a:lnTo>
                  <a:lnTo>
                    <a:pt x="202691" y="187452"/>
                  </a:lnTo>
                  <a:lnTo>
                    <a:pt x="199643" y="184404"/>
                  </a:lnTo>
                  <a:lnTo>
                    <a:pt x="199643" y="181356"/>
                  </a:lnTo>
                  <a:lnTo>
                    <a:pt x="196595" y="178308"/>
                  </a:lnTo>
                  <a:lnTo>
                    <a:pt x="183260" y="156757"/>
                  </a:lnTo>
                  <a:lnTo>
                    <a:pt x="168782" y="136207"/>
                  </a:lnTo>
                  <a:lnTo>
                    <a:pt x="153733" y="117657"/>
                  </a:lnTo>
                  <a:lnTo>
                    <a:pt x="138683" y="102108"/>
                  </a:lnTo>
                  <a:lnTo>
                    <a:pt x="136350" y="114014"/>
                  </a:lnTo>
                  <a:lnTo>
                    <a:pt x="133730" y="133350"/>
                  </a:lnTo>
                  <a:lnTo>
                    <a:pt x="130540" y="135540"/>
                  </a:lnTo>
                  <a:lnTo>
                    <a:pt x="126491" y="96012"/>
                  </a:lnTo>
                  <a:lnTo>
                    <a:pt x="123301" y="56935"/>
                  </a:lnTo>
                  <a:lnTo>
                    <a:pt x="119252" y="58864"/>
                  </a:lnTo>
                  <a:lnTo>
                    <a:pt x="115776" y="78224"/>
                  </a:lnTo>
                  <a:lnTo>
                    <a:pt x="114299" y="91440"/>
                  </a:lnTo>
                  <a:lnTo>
                    <a:pt x="113680" y="96393"/>
                  </a:lnTo>
                  <a:lnTo>
                    <a:pt x="111632" y="104775"/>
                  </a:lnTo>
                  <a:lnTo>
                    <a:pt x="107870" y="106870"/>
                  </a:lnTo>
                  <a:lnTo>
                    <a:pt x="102107" y="92964"/>
                  </a:lnTo>
                  <a:lnTo>
                    <a:pt x="98536" y="81510"/>
                  </a:lnTo>
                  <a:lnTo>
                    <a:pt x="90677" y="90487"/>
                  </a:lnTo>
                  <a:lnTo>
                    <a:pt x="82819" y="106037"/>
                  </a:lnTo>
                  <a:lnTo>
                    <a:pt x="79247" y="114300"/>
                  </a:lnTo>
                  <a:lnTo>
                    <a:pt x="10668" y="243840"/>
                  </a:lnTo>
                  <a:lnTo>
                    <a:pt x="10668" y="249936"/>
                  </a:lnTo>
                  <a:lnTo>
                    <a:pt x="0" y="249936"/>
                  </a:lnTo>
                  <a:close/>
                </a:path>
                <a:path w="250190" h="250189">
                  <a:moveTo>
                    <a:pt x="10668" y="249936"/>
                  </a:moveTo>
                  <a:lnTo>
                    <a:pt x="10668" y="243840"/>
                  </a:lnTo>
                  <a:lnTo>
                    <a:pt x="236219" y="243840"/>
                  </a:lnTo>
                  <a:lnTo>
                    <a:pt x="236219" y="249936"/>
                  </a:lnTo>
                  <a:lnTo>
                    <a:pt x="10668" y="249936"/>
                  </a:lnTo>
                  <a:close/>
                </a:path>
              </a:pathLst>
            </a:custGeom>
            <a:solidFill>
              <a:srgbClr val="0090DA"/>
            </a:solidFill>
          </p:spPr>
          <p:txBody>
            <a:bodyPr wrap="square" lIns="0" tIns="0" rIns="0" bIns="0" rtlCol="0"/>
            <a:lstStyle/>
            <a:p>
              <a:endParaRPr/>
            </a:p>
          </p:txBody>
        </p:sp>
        <p:sp>
          <p:nvSpPr>
            <p:cNvPr id="235" name="object 218"/>
            <p:cNvSpPr/>
            <p:nvPr/>
          </p:nvSpPr>
          <p:spPr>
            <a:xfrm>
              <a:off x="8312278" y="3279164"/>
              <a:ext cx="285115" cy="247015"/>
            </a:xfrm>
            <a:custGeom>
              <a:avLst/>
              <a:gdLst/>
              <a:ahLst/>
              <a:cxnLst/>
              <a:rect l="l" t="t" r="r" b="b"/>
              <a:pathLst>
                <a:path w="285115" h="247014">
                  <a:moveTo>
                    <a:pt x="0" y="246888"/>
                  </a:moveTo>
                  <a:lnTo>
                    <a:pt x="0" y="187452"/>
                  </a:lnTo>
                  <a:lnTo>
                    <a:pt x="57912" y="187452"/>
                  </a:lnTo>
                  <a:lnTo>
                    <a:pt x="217931" y="0"/>
                  </a:lnTo>
                  <a:lnTo>
                    <a:pt x="284987" y="0"/>
                  </a:lnTo>
                  <a:lnTo>
                    <a:pt x="284987" y="59436"/>
                  </a:lnTo>
                  <a:lnTo>
                    <a:pt x="227075" y="59436"/>
                  </a:lnTo>
                  <a:lnTo>
                    <a:pt x="170687" y="129493"/>
                  </a:lnTo>
                  <a:lnTo>
                    <a:pt x="170687" y="123444"/>
                  </a:lnTo>
                  <a:lnTo>
                    <a:pt x="167639" y="96012"/>
                  </a:lnTo>
                  <a:lnTo>
                    <a:pt x="164591" y="94488"/>
                  </a:lnTo>
                  <a:lnTo>
                    <a:pt x="140207" y="94488"/>
                  </a:lnTo>
                  <a:lnTo>
                    <a:pt x="140207" y="119210"/>
                  </a:lnTo>
                  <a:lnTo>
                    <a:pt x="114299" y="150876"/>
                  </a:lnTo>
                  <a:lnTo>
                    <a:pt x="114299" y="199551"/>
                  </a:lnTo>
                  <a:lnTo>
                    <a:pt x="76199" y="246888"/>
                  </a:lnTo>
                  <a:lnTo>
                    <a:pt x="0" y="246888"/>
                  </a:lnTo>
                  <a:close/>
                </a:path>
                <a:path w="285115" h="247014">
                  <a:moveTo>
                    <a:pt x="114299" y="199551"/>
                  </a:moveTo>
                  <a:lnTo>
                    <a:pt x="114299" y="150876"/>
                  </a:lnTo>
                  <a:lnTo>
                    <a:pt x="120395" y="152400"/>
                  </a:lnTo>
                  <a:lnTo>
                    <a:pt x="161543" y="105155"/>
                  </a:lnTo>
                  <a:lnTo>
                    <a:pt x="161543" y="123444"/>
                  </a:lnTo>
                  <a:lnTo>
                    <a:pt x="170687" y="123444"/>
                  </a:lnTo>
                  <a:lnTo>
                    <a:pt x="170687" y="129493"/>
                  </a:lnTo>
                  <a:lnTo>
                    <a:pt x="114299" y="199551"/>
                  </a:lnTo>
                  <a:close/>
                </a:path>
                <a:path w="285115" h="247014">
                  <a:moveTo>
                    <a:pt x="140207" y="119210"/>
                  </a:moveTo>
                  <a:lnTo>
                    <a:pt x="140207" y="103632"/>
                  </a:lnTo>
                  <a:lnTo>
                    <a:pt x="155447" y="100584"/>
                  </a:lnTo>
                  <a:lnTo>
                    <a:pt x="140207" y="119210"/>
                  </a:lnTo>
                  <a:close/>
                </a:path>
              </a:pathLst>
            </a:custGeom>
            <a:solidFill>
              <a:srgbClr val="0090DA"/>
            </a:solidFill>
          </p:spPr>
          <p:txBody>
            <a:bodyPr wrap="square" lIns="0" tIns="0" rIns="0" bIns="0" rtlCol="0"/>
            <a:lstStyle/>
            <a:p>
              <a:endParaRPr/>
            </a:p>
          </p:txBody>
        </p:sp>
        <p:sp>
          <p:nvSpPr>
            <p:cNvPr id="236" name="object 219"/>
            <p:cNvSpPr/>
            <p:nvPr/>
          </p:nvSpPr>
          <p:spPr>
            <a:xfrm>
              <a:off x="8368666" y="3298976"/>
              <a:ext cx="60960" cy="60960"/>
            </a:xfrm>
            <a:custGeom>
              <a:avLst/>
              <a:gdLst/>
              <a:ahLst/>
              <a:cxnLst/>
              <a:rect l="l" t="t" r="r" b="b"/>
              <a:pathLst>
                <a:path w="60959" h="60960">
                  <a:moveTo>
                    <a:pt x="0" y="30479"/>
                  </a:moveTo>
                  <a:lnTo>
                    <a:pt x="2405" y="18645"/>
                  </a:lnTo>
                  <a:lnTo>
                    <a:pt x="8953" y="8953"/>
                  </a:lnTo>
                  <a:lnTo>
                    <a:pt x="18645" y="2405"/>
                  </a:lnTo>
                  <a:lnTo>
                    <a:pt x="30480" y="0"/>
                  </a:lnTo>
                  <a:lnTo>
                    <a:pt x="42314" y="2405"/>
                  </a:lnTo>
                  <a:lnTo>
                    <a:pt x="52006" y="8953"/>
                  </a:lnTo>
                  <a:lnTo>
                    <a:pt x="58554" y="18645"/>
                  </a:lnTo>
                  <a:lnTo>
                    <a:pt x="60960" y="30479"/>
                  </a:lnTo>
                  <a:lnTo>
                    <a:pt x="58554" y="42314"/>
                  </a:lnTo>
                  <a:lnTo>
                    <a:pt x="52006" y="52006"/>
                  </a:lnTo>
                  <a:lnTo>
                    <a:pt x="42314" y="58554"/>
                  </a:lnTo>
                  <a:lnTo>
                    <a:pt x="30480" y="60959"/>
                  </a:lnTo>
                  <a:lnTo>
                    <a:pt x="18645" y="58554"/>
                  </a:lnTo>
                  <a:lnTo>
                    <a:pt x="8953" y="52006"/>
                  </a:lnTo>
                  <a:lnTo>
                    <a:pt x="2405" y="42314"/>
                  </a:lnTo>
                  <a:lnTo>
                    <a:pt x="0" y="30479"/>
                  </a:lnTo>
                  <a:close/>
                </a:path>
              </a:pathLst>
            </a:custGeom>
            <a:solidFill>
              <a:srgbClr val="0090DA"/>
            </a:solidFill>
          </p:spPr>
          <p:txBody>
            <a:bodyPr wrap="square" lIns="0" tIns="0" rIns="0" bIns="0" rtlCol="0"/>
            <a:lstStyle/>
            <a:p>
              <a:endParaRPr/>
            </a:p>
          </p:txBody>
        </p:sp>
        <p:sp>
          <p:nvSpPr>
            <p:cNvPr id="237" name="object 220"/>
            <p:cNvSpPr/>
            <p:nvPr/>
          </p:nvSpPr>
          <p:spPr>
            <a:xfrm>
              <a:off x="8374762" y="3359936"/>
              <a:ext cx="48895" cy="125095"/>
            </a:xfrm>
            <a:custGeom>
              <a:avLst/>
              <a:gdLst/>
              <a:ahLst/>
              <a:cxnLst/>
              <a:rect l="l" t="t" r="r" b="b"/>
              <a:pathLst>
                <a:path w="48895" h="125095">
                  <a:moveTo>
                    <a:pt x="0" y="96012"/>
                  </a:moveTo>
                  <a:lnTo>
                    <a:pt x="0" y="30480"/>
                  </a:lnTo>
                  <a:lnTo>
                    <a:pt x="22860" y="0"/>
                  </a:lnTo>
                  <a:lnTo>
                    <a:pt x="33337" y="2190"/>
                  </a:lnTo>
                  <a:lnTo>
                    <a:pt x="41529" y="8382"/>
                  </a:lnTo>
                  <a:lnTo>
                    <a:pt x="46863" y="18002"/>
                  </a:lnTo>
                  <a:lnTo>
                    <a:pt x="48768" y="30480"/>
                  </a:lnTo>
                  <a:lnTo>
                    <a:pt x="48768" y="96012"/>
                  </a:lnTo>
                  <a:lnTo>
                    <a:pt x="46863" y="107608"/>
                  </a:lnTo>
                  <a:lnTo>
                    <a:pt x="41529" y="116776"/>
                  </a:lnTo>
                  <a:lnTo>
                    <a:pt x="33337" y="122801"/>
                  </a:lnTo>
                  <a:lnTo>
                    <a:pt x="22860" y="124968"/>
                  </a:lnTo>
                  <a:lnTo>
                    <a:pt x="14144" y="122801"/>
                  </a:lnTo>
                  <a:lnTo>
                    <a:pt x="6858" y="116776"/>
                  </a:lnTo>
                  <a:lnTo>
                    <a:pt x="1857" y="107608"/>
                  </a:lnTo>
                  <a:lnTo>
                    <a:pt x="0" y="96012"/>
                  </a:lnTo>
                  <a:close/>
                </a:path>
              </a:pathLst>
            </a:custGeom>
            <a:solidFill>
              <a:srgbClr val="0090DA"/>
            </a:solidFill>
          </p:spPr>
          <p:txBody>
            <a:bodyPr wrap="square" lIns="0" tIns="0" rIns="0" bIns="0" rtlCol="0"/>
            <a:lstStyle/>
            <a:p>
              <a:endParaRPr/>
            </a:p>
          </p:txBody>
        </p:sp>
        <p:sp>
          <p:nvSpPr>
            <p:cNvPr id="238" name="object 221"/>
            <p:cNvSpPr/>
            <p:nvPr/>
          </p:nvSpPr>
          <p:spPr>
            <a:xfrm>
              <a:off x="9310498" y="3364508"/>
              <a:ext cx="56515" cy="203200"/>
            </a:xfrm>
            <a:custGeom>
              <a:avLst/>
              <a:gdLst/>
              <a:ahLst/>
              <a:cxnLst/>
              <a:rect l="l" t="t" r="r" b="b"/>
              <a:pathLst>
                <a:path w="56515" h="203200">
                  <a:moveTo>
                    <a:pt x="0" y="202692"/>
                  </a:moveTo>
                  <a:lnTo>
                    <a:pt x="10668" y="10668"/>
                  </a:lnTo>
                  <a:lnTo>
                    <a:pt x="15240" y="7620"/>
                  </a:lnTo>
                  <a:lnTo>
                    <a:pt x="18288" y="4572"/>
                  </a:lnTo>
                  <a:lnTo>
                    <a:pt x="23598" y="6215"/>
                  </a:lnTo>
                  <a:lnTo>
                    <a:pt x="29908" y="6286"/>
                  </a:lnTo>
                  <a:lnTo>
                    <a:pt x="36504" y="4357"/>
                  </a:lnTo>
                  <a:lnTo>
                    <a:pt x="42672" y="0"/>
                  </a:lnTo>
                  <a:lnTo>
                    <a:pt x="45720" y="0"/>
                  </a:lnTo>
                  <a:lnTo>
                    <a:pt x="56388" y="202692"/>
                  </a:lnTo>
                  <a:lnTo>
                    <a:pt x="0" y="202692"/>
                  </a:lnTo>
                  <a:close/>
                </a:path>
              </a:pathLst>
            </a:custGeom>
            <a:solidFill>
              <a:srgbClr val="0090DA"/>
            </a:solidFill>
          </p:spPr>
          <p:txBody>
            <a:bodyPr wrap="square" lIns="0" tIns="0" rIns="0" bIns="0" rtlCol="0"/>
            <a:lstStyle/>
            <a:p>
              <a:endParaRPr/>
            </a:p>
          </p:txBody>
        </p:sp>
        <p:sp>
          <p:nvSpPr>
            <p:cNvPr id="239" name="object 222"/>
            <p:cNvSpPr/>
            <p:nvPr/>
          </p:nvSpPr>
          <p:spPr>
            <a:xfrm>
              <a:off x="9337930" y="3275355"/>
              <a:ext cx="3175" cy="0"/>
            </a:xfrm>
            <a:custGeom>
              <a:avLst/>
              <a:gdLst/>
              <a:ahLst/>
              <a:cxnLst/>
              <a:rect l="l" t="t" r="r" b="b"/>
              <a:pathLst>
                <a:path w="3175">
                  <a:moveTo>
                    <a:pt x="0" y="0"/>
                  </a:moveTo>
                  <a:lnTo>
                    <a:pt x="3047" y="0"/>
                  </a:lnTo>
                </a:path>
              </a:pathLst>
            </a:custGeom>
            <a:ln w="4571">
              <a:solidFill>
                <a:srgbClr val="0090DA"/>
              </a:solidFill>
            </a:ln>
          </p:spPr>
          <p:txBody>
            <a:bodyPr wrap="square" lIns="0" tIns="0" rIns="0" bIns="0" rtlCol="0"/>
            <a:lstStyle/>
            <a:p>
              <a:endParaRPr/>
            </a:p>
          </p:txBody>
        </p:sp>
        <p:sp>
          <p:nvSpPr>
            <p:cNvPr id="240" name="object 223"/>
            <p:cNvSpPr/>
            <p:nvPr/>
          </p:nvSpPr>
          <p:spPr>
            <a:xfrm>
              <a:off x="9385174" y="3381273"/>
              <a:ext cx="3175" cy="0"/>
            </a:xfrm>
            <a:custGeom>
              <a:avLst/>
              <a:gdLst/>
              <a:ahLst/>
              <a:cxnLst/>
              <a:rect l="l" t="t" r="r" b="b"/>
              <a:pathLst>
                <a:path w="3175">
                  <a:moveTo>
                    <a:pt x="0" y="0"/>
                  </a:moveTo>
                  <a:lnTo>
                    <a:pt x="3048" y="0"/>
                  </a:lnTo>
                </a:path>
              </a:pathLst>
            </a:custGeom>
            <a:ln w="3175">
              <a:solidFill>
                <a:srgbClr val="0090DA"/>
              </a:solidFill>
            </a:ln>
          </p:spPr>
          <p:txBody>
            <a:bodyPr wrap="square" lIns="0" tIns="0" rIns="0" bIns="0" rtlCol="0"/>
            <a:lstStyle/>
            <a:p>
              <a:endParaRPr/>
            </a:p>
          </p:txBody>
        </p:sp>
        <p:sp>
          <p:nvSpPr>
            <p:cNvPr id="241" name="object 224"/>
            <p:cNvSpPr/>
            <p:nvPr/>
          </p:nvSpPr>
          <p:spPr>
            <a:xfrm>
              <a:off x="9232774" y="3238017"/>
              <a:ext cx="181610" cy="187960"/>
            </a:xfrm>
            <a:custGeom>
              <a:avLst/>
              <a:gdLst/>
              <a:ahLst/>
              <a:cxnLst/>
              <a:rect l="l" t="t" r="r" b="b"/>
              <a:pathLst>
                <a:path w="181609" h="187960">
                  <a:moveTo>
                    <a:pt x="124968" y="120395"/>
                  </a:moveTo>
                  <a:lnTo>
                    <a:pt x="124968" y="94487"/>
                  </a:lnTo>
                  <a:lnTo>
                    <a:pt x="128016" y="99059"/>
                  </a:lnTo>
                  <a:lnTo>
                    <a:pt x="135636" y="99059"/>
                  </a:lnTo>
                  <a:lnTo>
                    <a:pt x="138684" y="102107"/>
                  </a:lnTo>
                  <a:lnTo>
                    <a:pt x="146304" y="102107"/>
                  </a:lnTo>
                  <a:lnTo>
                    <a:pt x="152900" y="105179"/>
                  </a:lnTo>
                  <a:lnTo>
                    <a:pt x="159067" y="109537"/>
                  </a:lnTo>
                  <a:lnTo>
                    <a:pt x="164949" y="114752"/>
                  </a:lnTo>
                  <a:lnTo>
                    <a:pt x="170688" y="120395"/>
                  </a:lnTo>
                  <a:lnTo>
                    <a:pt x="181356" y="131063"/>
                  </a:lnTo>
                  <a:lnTo>
                    <a:pt x="181284" y="142922"/>
                  </a:lnTo>
                  <a:lnTo>
                    <a:pt x="180784" y="148970"/>
                  </a:lnTo>
                  <a:lnTo>
                    <a:pt x="179427" y="155590"/>
                  </a:lnTo>
                  <a:lnTo>
                    <a:pt x="176784" y="163067"/>
                  </a:lnTo>
                  <a:lnTo>
                    <a:pt x="176784" y="166115"/>
                  </a:lnTo>
                  <a:lnTo>
                    <a:pt x="173736" y="169163"/>
                  </a:lnTo>
                  <a:lnTo>
                    <a:pt x="173736" y="172211"/>
                  </a:lnTo>
                  <a:lnTo>
                    <a:pt x="170688" y="179831"/>
                  </a:lnTo>
                  <a:lnTo>
                    <a:pt x="170688" y="182879"/>
                  </a:lnTo>
                  <a:lnTo>
                    <a:pt x="163068" y="187451"/>
                  </a:lnTo>
                  <a:lnTo>
                    <a:pt x="158115" y="164020"/>
                  </a:lnTo>
                  <a:lnTo>
                    <a:pt x="156210" y="152519"/>
                  </a:lnTo>
                  <a:lnTo>
                    <a:pt x="155448" y="141731"/>
                  </a:lnTo>
                  <a:lnTo>
                    <a:pt x="148851" y="136088"/>
                  </a:lnTo>
                  <a:lnTo>
                    <a:pt x="142684" y="130873"/>
                  </a:lnTo>
                  <a:lnTo>
                    <a:pt x="136802" y="126515"/>
                  </a:lnTo>
                  <a:lnTo>
                    <a:pt x="131064" y="123443"/>
                  </a:lnTo>
                  <a:lnTo>
                    <a:pt x="128016" y="120395"/>
                  </a:lnTo>
                  <a:lnTo>
                    <a:pt x="124968" y="120395"/>
                  </a:lnTo>
                  <a:close/>
                </a:path>
                <a:path w="181609" h="187960">
                  <a:moveTo>
                    <a:pt x="80414" y="43052"/>
                  </a:moveTo>
                  <a:lnTo>
                    <a:pt x="82296" y="35051"/>
                  </a:lnTo>
                  <a:lnTo>
                    <a:pt x="82296" y="24383"/>
                  </a:lnTo>
                  <a:lnTo>
                    <a:pt x="88392" y="16763"/>
                  </a:lnTo>
                  <a:lnTo>
                    <a:pt x="92964" y="13715"/>
                  </a:lnTo>
                  <a:lnTo>
                    <a:pt x="99060" y="6095"/>
                  </a:lnTo>
                  <a:lnTo>
                    <a:pt x="109728" y="6095"/>
                  </a:lnTo>
                  <a:lnTo>
                    <a:pt x="114300" y="3047"/>
                  </a:lnTo>
                  <a:lnTo>
                    <a:pt x="117348" y="3047"/>
                  </a:lnTo>
                  <a:lnTo>
                    <a:pt x="120396" y="0"/>
                  </a:lnTo>
                  <a:lnTo>
                    <a:pt x="138684" y="0"/>
                  </a:lnTo>
                  <a:lnTo>
                    <a:pt x="141732" y="3047"/>
                  </a:lnTo>
                  <a:lnTo>
                    <a:pt x="133254" y="11048"/>
                  </a:lnTo>
                  <a:lnTo>
                    <a:pt x="115085" y="27118"/>
                  </a:lnTo>
                  <a:lnTo>
                    <a:pt x="106680" y="35051"/>
                  </a:lnTo>
                  <a:lnTo>
                    <a:pt x="106680" y="122087"/>
                  </a:lnTo>
                  <a:lnTo>
                    <a:pt x="102179" y="122039"/>
                  </a:lnTo>
                  <a:lnTo>
                    <a:pt x="96012" y="120395"/>
                  </a:lnTo>
                  <a:lnTo>
                    <a:pt x="92964" y="123443"/>
                  </a:lnTo>
                  <a:lnTo>
                    <a:pt x="92964" y="83819"/>
                  </a:lnTo>
                  <a:lnTo>
                    <a:pt x="88392" y="77723"/>
                  </a:lnTo>
                  <a:lnTo>
                    <a:pt x="85344" y="73151"/>
                  </a:lnTo>
                  <a:lnTo>
                    <a:pt x="85344" y="67055"/>
                  </a:lnTo>
                  <a:lnTo>
                    <a:pt x="82938" y="59054"/>
                  </a:lnTo>
                  <a:lnTo>
                    <a:pt x="80962" y="51053"/>
                  </a:lnTo>
                  <a:lnTo>
                    <a:pt x="80414" y="43052"/>
                  </a:lnTo>
                  <a:close/>
                </a:path>
                <a:path w="181609" h="187960">
                  <a:moveTo>
                    <a:pt x="106680" y="122087"/>
                  </a:moveTo>
                  <a:lnTo>
                    <a:pt x="106680" y="80771"/>
                  </a:lnTo>
                  <a:lnTo>
                    <a:pt x="114300" y="80771"/>
                  </a:lnTo>
                  <a:lnTo>
                    <a:pt x="117348" y="83819"/>
                  </a:lnTo>
                  <a:lnTo>
                    <a:pt x="120396" y="88391"/>
                  </a:lnTo>
                  <a:lnTo>
                    <a:pt x="124968" y="91439"/>
                  </a:lnTo>
                  <a:lnTo>
                    <a:pt x="124968" y="115823"/>
                  </a:lnTo>
                  <a:lnTo>
                    <a:pt x="120396" y="115823"/>
                  </a:lnTo>
                  <a:lnTo>
                    <a:pt x="115085" y="120181"/>
                  </a:lnTo>
                  <a:lnTo>
                    <a:pt x="108775" y="122110"/>
                  </a:lnTo>
                  <a:lnTo>
                    <a:pt x="106680" y="122087"/>
                  </a:lnTo>
                  <a:close/>
                </a:path>
                <a:path w="181609" h="187960">
                  <a:moveTo>
                    <a:pt x="106680" y="67055"/>
                  </a:moveTo>
                  <a:lnTo>
                    <a:pt x="106680" y="35051"/>
                  </a:lnTo>
                  <a:lnTo>
                    <a:pt x="107965" y="43052"/>
                  </a:lnTo>
                  <a:lnTo>
                    <a:pt x="107823" y="51053"/>
                  </a:lnTo>
                  <a:lnTo>
                    <a:pt x="107108" y="59054"/>
                  </a:lnTo>
                  <a:lnTo>
                    <a:pt x="106680" y="67055"/>
                  </a:lnTo>
                  <a:close/>
                </a:path>
                <a:path w="181609" h="187960">
                  <a:moveTo>
                    <a:pt x="0" y="112775"/>
                  </a:moveTo>
                  <a:lnTo>
                    <a:pt x="0" y="102107"/>
                  </a:lnTo>
                  <a:lnTo>
                    <a:pt x="11215" y="107537"/>
                  </a:lnTo>
                  <a:lnTo>
                    <a:pt x="22288" y="112394"/>
                  </a:lnTo>
                  <a:lnTo>
                    <a:pt x="33647" y="116681"/>
                  </a:lnTo>
                  <a:lnTo>
                    <a:pt x="45720" y="120395"/>
                  </a:lnTo>
                  <a:lnTo>
                    <a:pt x="51958" y="117228"/>
                  </a:lnTo>
                  <a:lnTo>
                    <a:pt x="59055" y="114490"/>
                  </a:lnTo>
                  <a:lnTo>
                    <a:pt x="66722" y="112037"/>
                  </a:lnTo>
                  <a:lnTo>
                    <a:pt x="74676" y="109727"/>
                  </a:lnTo>
                  <a:lnTo>
                    <a:pt x="77724" y="109727"/>
                  </a:lnTo>
                  <a:lnTo>
                    <a:pt x="82296" y="105155"/>
                  </a:lnTo>
                  <a:lnTo>
                    <a:pt x="85344" y="105155"/>
                  </a:lnTo>
                  <a:lnTo>
                    <a:pt x="85344" y="91439"/>
                  </a:lnTo>
                  <a:lnTo>
                    <a:pt x="92964" y="88391"/>
                  </a:lnTo>
                  <a:lnTo>
                    <a:pt x="92964" y="123443"/>
                  </a:lnTo>
                  <a:lnTo>
                    <a:pt x="88392" y="126491"/>
                  </a:lnTo>
                  <a:lnTo>
                    <a:pt x="82296" y="134111"/>
                  </a:lnTo>
                  <a:lnTo>
                    <a:pt x="76057" y="139041"/>
                  </a:lnTo>
                  <a:lnTo>
                    <a:pt x="68961" y="142684"/>
                  </a:lnTo>
                  <a:lnTo>
                    <a:pt x="61293" y="145470"/>
                  </a:lnTo>
                  <a:lnTo>
                    <a:pt x="53340" y="147827"/>
                  </a:lnTo>
                  <a:lnTo>
                    <a:pt x="42672" y="152399"/>
                  </a:lnTo>
                  <a:lnTo>
                    <a:pt x="10668" y="126491"/>
                  </a:lnTo>
                  <a:lnTo>
                    <a:pt x="10668" y="123443"/>
                  </a:lnTo>
                  <a:lnTo>
                    <a:pt x="7620" y="120395"/>
                  </a:lnTo>
                  <a:lnTo>
                    <a:pt x="4572" y="115823"/>
                  </a:lnTo>
                  <a:lnTo>
                    <a:pt x="0" y="112775"/>
                  </a:lnTo>
                  <a:close/>
                </a:path>
              </a:pathLst>
            </a:custGeom>
            <a:solidFill>
              <a:srgbClr val="0090DA"/>
            </a:solidFill>
          </p:spPr>
          <p:txBody>
            <a:bodyPr wrap="square" lIns="0" tIns="0" rIns="0" bIns="0" rtlCol="0"/>
            <a:lstStyle/>
            <a:p>
              <a:endParaRPr/>
            </a:p>
          </p:txBody>
        </p:sp>
        <p:sp>
          <p:nvSpPr>
            <p:cNvPr id="242" name="object 225"/>
            <p:cNvSpPr/>
            <p:nvPr/>
          </p:nvSpPr>
          <p:spPr>
            <a:xfrm>
              <a:off x="10118218" y="3279164"/>
              <a:ext cx="41275" cy="43180"/>
            </a:xfrm>
            <a:custGeom>
              <a:avLst/>
              <a:gdLst/>
              <a:ahLst/>
              <a:cxnLst/>
              <a:rect l="l" t="t" r="r" b="b"/>
              <a:pathLst>
                <a:path w="41275" h="43179">
                  <a:moveTo>
                    <a:pt x="0" y="21336"/>
                  </a:moveTo>
                  <a:lnTo>
                    <a:pt x="1619" y="13501"/>
                  </a:lnTo>
                  <a:lnTo>
                    <a:pt x="6095" y="6667"/>
                  </a:lnTo>
                  <a:lnTo>
                    <a:pt x="12858" y="1833"/>
                  </a:lnTo>
                  <a:lnTo>
                    <a:pt x="21336" y="0"/>
                  </a:lnTo>
                  <a:lnTo>
                    <a:pt x="28932" y="1833"/>
                  </a:lnTo>
                  <a:lnTo>
                    <a:pt x="35242" y="6667"/>
                  </a:lnTo>
                  <a:lnTo>
                    <a:pt x="39552" y="13501"/>
                  </a:lnTo>
                  <a:lnTo>
                    <a:pt x="41148" y="21336"/>
                  </a:lnTo>
                  <a:lnTo>
                    <a:pt x="39552" y="29813"/>
                  </a:lnTo>
                  <a:lnTo>
                    <a:pt x="35242" y="36576"/>
                  </a:lnTo>
                  <a:lnTo>
                    <a:pt x="28932" y="41052"/>
                  </a:lnTo>
                  <a:lnTo>
                    <a:pt x="21336" y="42672"/>
                  </a:lnTo>
                  <a:lnTo>
                    <a:pt x="12858" y="41052"/>
                  </a:lnTo>
                  <a:lnTo>
                    <a:pt x="6095" y="36576"/>
                  </a:lnTo>
                  <a:lnTo>
                    <a:pt x="1619" y="29813"/>
                  </a:lnTo>
                  <a:lnTo>
                    <a:pt x="0" y="21336"/>
                  </a:lnTo>
                  <a:close/>
                </a:path>
              </a:pathLst>
            </a:custGeom>
            <a:solidFill>
              <a:srgbClr val="0090DA"/>
            </a:solidFill>
          </p:spPr>
          <p:txBody>
            <a:bodyPr wrap="square" lIns="0" tIns="0" rIns="0" bIns="0" rtlCol="0"/>
            <a:lstStyle/>
            <a:p>
              <a:endParaRPr/>
            </a:p>
          </p:txBody>
        </p:sp>
        <p:sp>
          <p:nvSpPr>
            <p:cNvPr id="243" name="object 226"/>
            <p:cNvSpPr/>
            <p:nvPr/>
          </p:nvSpPr>
          <p:spPr>
            <a:xfrm>
              <a:off x="10242170" y="3387369"/>
              <a:ext cx="55880" cy="0"/>
            </a:xfrm>
            <a:custGeom>
              <a:avLst/>
              <a:gdLst/>
              <a:ahLst/>
              <a:cxnLst/>
              <a:rect l="l" t="t" r="r" b="b"/>
              <a:pathLst>
                <a:path w="55879">
                  <a:moveTo>
                    <a:pt x="0" y="0"/>
                  </a:moveTo>
                  <a:lnTo>
                    <a:pt x="55879" y="0"/>
                  </a:lnTo>
                </a:path>
              </a:pathLst>
            </a:custGeom>
            <a:ln w="21336">
              <a:solidFill>
                <a:srgbClr val="0090DA"/>
              </a:solidFill>
            </a:ln>
          </p:spPr>
          <p:txBody>
            <a:bodyPr wrap="square" lIns="0" tIns="0" rIns="0" bIns="0" rtlCol="0"/>
            <a:lstStyle/>
            <a:p>
              <a:endParaRPr/>
            </a:p>
          </p:txBody>
        </p:sp>
        <p:sp>
          <p:nvSpPr>
            <p:cNvPr id="244" name="object 227"/>
            <p:cNvSpPr/>
            <p:nvPr/>
          </p:nvSpPr>
          <p:spPr>
            <a:xfrm>
              <a:off x="10232010" y="3376701"/>
              <a:ext cx="0" cy="147955"/>
            </a:xfrm>
            <a:custGeom>
              <a:avLst/>
              <a:gdLst/>
              <a:ahLst/>
              <a:cxnLst/>
              <a:rect l="l" t="t" r="r" b="b"/>
              <a:pathLst>
                <a:path h="147954">
                  <a:moveTo>
                    <a:pt x="0" y="0"/>
                  </a:moveTo>
                  <a:lnTo>
                    <a:pt x="0" y="147828"/>
                  </a:lnTo>
                </a:path>
              </a:pathLst>
            </a:custGeom>
            <a:ln w="20320">
              <a:solidFill>
                <a:srgbClr val="0090DA"/>
              </a:solidFill>
            </a:ln>
          </p:spPr>
          <p:txBody>
            <a:bodyPr wrap="square" lIns="0" tIns="0" rIns="0" bIns="0" rtlCol="0"/>
            <a:lstStyle/>
            <a:p>
              <a:endParaRPr/>
            </a:p>
          </p:txBody>
        </p:sp>
        <p:sp>
          <p:nvSpPr>
            <p:cNvPr id="245" name="object 228"/>
            <p:cNvSpPr/>
            <p:nvPr/>
          </p:nvSpPr>
          <p:spPr>
            <a:xfrm>
              <a:off x="10165970" y="3387369"/>
              <a:ext cx="55880" cy="0"/>
            </a:xfrm>
            <a:custGeom>
              <a:avLst/>
              <a:gdLst/>
              <a:ahLst/>
              <a:cxnLst/>
              <a:rect l="l" t="t" r="r" b="b"/>
              <a:pathLst>
                <a:path w="55879">
                  <a:moveTo>
                    <a:pt x="0" y="0"/>
                  </a:moveTo>
                  <a:lnTo>
                    <a:pt x="55879" y="0"/>
                  </a:lnTo>
                </a:path>
              </a:pathLst>
            </a:custGeom>
            <a:ln w="21336">
              <a:solidFill>
                <a:srgbClr val="0090DA"/>
              </a:solidFill>
            </a:ln>
          </p:spPr>
          <p:txBody>
            <a:bodyPr wrap="square" lIns="0" tIns="0" rIns="0" bIns="0" rtlCol="0"/>
            <a:lstStyle/>
            <a:p>
              <a:endParaRPr/>
            </a:p>
          </p:txBody>
        </p:sp>
        <p:sp>
          <p:nvSpPr>
            <p:cNvPr id="246" name="object 229"/>
            <p:cNvSpPr/>
            <p:nvPr/>
          </p:nvSpPr>
          <p:spPr>
            <a:xfrm>
              <a:off x="10084690" y="3324885"/>
              <a:ext cx="121920" cy="200025"/>
            </a:xfrm>
            <a:custGeom>
              <a:avLst/>
              <a:gdLst/>
              <a:ahLst/>
              <a:cxnLst/>
              <a:rect l="l" t="t" r="r" b="b"/>
              <a:pathLst>
                <a:path w="121920" h="200025">
                  <a:moveTo>
                    <a:pt x="0" y="111252"/>
                  </a:moveTo>
                  <a:lnTo>
                    <a:pt x="0" y="108204"/>
                  </a:lnTo>
                  <a:lnTo>
                    <a:pt x="36575" y="3048"/>
                  </a:lnTo>
                  <a:lnTo>
                    <a:pt x="36575" y="0"/>
                  </a:lnTo>
                  <a:lnTo>
                    <a:pt x="62483" y="0"/>
                  </a:lnTo>
                  <a:lnTo>
                    <a:pt x="62483" y="19812"/>
                  </a:lnTo>
                  <a:lnTo>
                    <a:pt x="115823" y="19812"/>
                  </a:lnTo>
                  <a:lnTo>
                    <a:pt x="121919" y="25908"/>
                  </a:lnTo>
                  <a:lnTo>
                    <a:pt x="121919" y="41148"/>
                  </a:lnTo>
                  <a:lnTo>
                    <a:pt x="115823" y="47244"/>
                  </a:lnTo>
                  <a:lnTo>
                    <a:pt x="56387" y="47244"/>
                  </a:lnTo>
                  <a:lnTo>
                    <a:pt x="50291" y="85344"/>
                  </a:lnTo>
                  <a:lnTo>
                    <a:pt x="50291" y="111252"/>
                  </a:lnTo>
                  <a:lnTo>
                    <a:pt x="0" y="111252"/>
                  </a:lnTo>
                  <a:close/>
                </a:path>
                <a:path w="121920" h="200025">
                  <a:moveTo>
                    <a:pt x="50291" y="111252"/>
                  </a:moveTo>
                  <a:lnTo>
                    <a:pt x="50291" y="85344"/>
                  </a:lnTo>
                  <a:lnTo>
                    <a:pt x="109727" y="85344"/>
                  </a:lnTo>
                  <a:lnTo>
                    <a:pt x="109727" y="193548"/>
                  </a:lnTo>
                  <a:lnTo>
                    <a:pt x="103631" y="199644"/>
                  </a:lnTo>
                  <a:lnTo>
                    <a:pt x="88391" y="199644"/>
                  </a:lnTo>
                  <a:lnTo>
                    <a:pt x="83819" y="193548"/>
                  </a:lnTo>
                  <a:lnTo>
                    <a:pt x="83819" y="111252"/>
                  </a:lnTo>
                  <a:lnTo>
                    <a:pt x="50291" y="111252"/>
                  </a:lnTo>
                  <a:close/>
                </a:path>
              </a:pathLst>
            </a:custGeom>
            <a:solidFill>
              <a:srgbClr val="0090DA"/>
            </a:solidFill>
          </p:spPr>
          <p:txBody>
            <a:bodyPr wrap="square" lIns="0" tIns="0" rIns="0" bIns="0" rtlCol="0"/>
            <a:lstStyle/>
            <a:p>
              <a:endParaRPr/>
            </a:p>
          </p:txBody>
        </p:sp>
        <p:sp>
          <p:nvSpPr>
            <p:cNvPr id="247" name="object 230"/>
            <p:cNvSpPr/>
            <p:nvPr/>
          </p:nvSpPr>
          <p:spPr>
            <a:xfrm>
              <a:off x="10090786" y="3445280"/>
              <a:ext cx="71755" cy="76200"/>
            </a:xfrm>
            <a:custGeom>
              <a:avLst/>
              <a:gdLst/>
              <a:ahLst/>
              <a:cxnLst/>
              <a:rect l="l" t="t" r="r" b="b"/>
              <a:pathLst>
                <a:path w="71754" h="76200">
                  <a:moveTo>
                    <a:pt x="0" y="9144"/>
                  </a:moveTo>
                  <a:lnTo>
                    <a:pt x="0" y="0"/>
                  </a:lnTo>
                  <a:lnTo>
                    <a:pt x="71627" y="0"/>
                  </a:lnTo>
                  <a:lnTo>
                    <a:pt x="71627" y="9144"/>
                  </a:lnTo>
                  <a:lnTo>
                    <a:pt x="41147" y="9144"/>
                  </a:lnTo>
                  <a:lnTo>
                    <a:pt x="41147" y="76200"/>
                  </a:lnTo>
                  <a:lnTo>
                    <a:pt x="30479" y="76200"/>
                  </a:lnTo>
                  <a:lnTo>
                    <a:pt x="30479" y="9144"/>
                  </a:lnTo>
                  <a:lnTo>
                    <a:pt x="0" y="9144"/>
                  </a:lnTo>
                  <a:close/>
                </a:path>
              </a:pathLst>
            </a:custGeom>
            <a:solidFill>
              <a:srgbClr val="0090DA"/>
            </a:solidFill>
          </p:spPr>
          <p:txBody>
            <a:bodyPr wrap="square" lIns="0" tIns="0" rIns="0" bIns="0" rtlCol="0"/>
            <a:lstStyle/>
            <a:p>
              <a:endParaRPr/>
            </a:p>
          </p:txBody>
        </p:sp>
        <p:sp>
          <p:nvSpPr>
            <p:cNvPr id="248" name="object 231"/>
            <p:cNvSpPr/>
            <p:nvPr/>
          </p:nvSpPr>
          <p:spPr>
            <a:xfrm>
              <a:off x="10215754" y="3359175"/>
              <a:ext cx="62865" cy="0"/>
            </a:xfrm>
            <a:custGeom>
              <a:avLst/>
              <a:gdLst/>
              <a:ahLst/>
              <a:cxnLst/>
              <a:rect l="l" t="t" r="r" b="b"/>
              <a:pathLst>
                <a:path w="62865">
                  <a:moveTo>
                    <a:pt x="0" y="0"/>
                  </a:moveTo>
                  <a:lnTo>
                    <a:pt x="62484" y="0"/>
                  </a:lnTo>
                </a:path>
              </a:pathLst>
            </a:custGeom>
            <a:ln w="19811">
              <a:solidFill>
                <a:srgbClr val="0090DA"/>
              </a:solidFill>
            </a:ln>
          </p:spPr>
          <p:txBody>
            <a:bodyPr wrap="square" lIns="0" tIns="0" rIns="0" bIns="0" rtlCol="0"/>
            <a:lstStyle/>
            <a:p>
              <a:endParaRPr/>
            </a:p>
          </p:txBody>
        </p:sp>
        <p:sp>
          <p:nvSpPr>
            <p:cNvPr id="249" name="object 232"/>
            <p:cNvSpPr/>
            <p:nvPr/>
          </p:nvSpPr>
          <p:spPr>
            <a:xfrm>
              <a:off x="10217278" y="3282212"/>
              <a:ext cx="76200" cy="67310"/>
            </a:xfrm>
            <a:custGeom>
              <a:avLst/>
              <a:gdLst/>
              <a:ahLst/>
              <a:cxnLst/>
              <a:rect l="l" t="t" r="r" b="b"/>
              <a:pathLst>
                <a:path w="76200" h="67310">
                  <a:moveTo>
                    <a:pt x="9144" y="67056"/>
                  </a:moveTo>
                  <a:lnTo>
                    <a:pt x="9144" y="44195"/>
                  </a:lnTo>
                  <a:lnTo>
                    <a:pt x="76200" y="44195"/>
                  </a:lnTo>
                  <a:lnTo>
                    <a:pt x="76200" y="67056"/>
                  </a:lnTo>
                  <a:lnTo>
                    <a:pt x="9144" y="67056"/>
                  </a:lnTo>
                  <a:close/>
                </a:path>
                <a:path w="76200" h="67310">
                  <a:moveTo>
                    <a:pt x="9144" y="42672"/>
                  </a:moveTo>
                  <a:lnTo>
                    <a:pt x="9144" y="24383"/>
                  </a:lnTo>
                  <a:lnTo>
                    <a:pt x="73152" y="24383"/>
                  </a:lnTo>
                  <a:lnTo>
                    <a:pt x="73152" y="42672"/>
                  </a:lnTo>
                  <a:lnTo>
                    <a:pt x="9144" y="42672"/>
                  </a:lnTo>
                  <a:close/>
                </a:path>
                <a:path w="76200" h="67310">
                  <a:moveTo>
                    <a:pt x="0" y="21335"/>
                  </a:moveTo>
                  <a:lnTo>
                    <a:pt x="0" y="0"/>
                  </a:lnTo>
                  <a:lnTo>
                    <a:pt x="64008" y="0"/>
                  </a:lnTo>
                  <a:lnTo>
                    <a:pt x="64008" y="21335"/>
                  </a:lnTo>
                  <a:lnTo>
                    <a:pt x="0" y="21335"/>
                  </a:lnTo>
                  <a:close/>
                </a:path>
              </a:pathLst>
            </a:custGeom>
            <a:solidFill>
              <a:srgbClr val="0090DA"/>
            </a:solidFill>
          </p:spPr>
          <p:txBody>
            <a:bodyPr wrap="square" lIns="0" tIns="0" rIns="0" bIns="0" rtlCol="0"/>
            <a:lstStyle/>
            <a:p>
              <a:endParaRPr/>
            </a:p>
          </p:txBody>
        </p:sp>
        <p:sp>
          <p:nvSpPr>
            <p:cNvPr id="250" name="object 233"/>
            <p:cNvSpPr/>
            <p:nvPr/>
          </p:nvSpPr>
          <p:spPr>
            <a:xfrm>
              <a:off x="1839851" y="2079777"/>
              <a:ext cx="8912860" cy="652780"/>
            </a:xfrm>
            <a:custGeom>
              <a:avLst/>
              <a:gdLst/>
              <a:ahLst/>
              <a:cxnLst/>
              <a:rect l="l" t="t" r="r" b="b"/>
              <a:pathLst>
                <a:path w="8912860" h="652779">
                  <a:moveTo>
                    <a:pt x="8912351" y="0"/>
                  </a:moveTo>
                  <a:lnTo>
                    <a:pt x="8912351" y="652271"/>
                  </a:lnTo>
                  <a:lnTo>
                    <a:pt x="0" y="652271"/>
                  </a:lnTo>
                  <a:lnTo>
                    <a:pt x="0" y="0"/>
                  </a:lnTo>
                  <a:lnTo>
                    <a:pt x="8912351" y="0"/>
                  </a:lnTo>
                  <a:close/>
                </a:path>
              </a:pathLst>
            </a:custGeom>
            <a:solidFill>
              <a:srgbClr val="005DB8"/>
            </a:solidFill>
          </p:spPr>
          <p:txBody>
            <a:bodyPr wrap="square" lIns="0" tIns="0" rIns="0" bIns="0" rtlCol="0"/>
            <a:lstStyle/>
            <a:p>
              <a:endParaRPr/>
            </a:p>
          </p:txBody>
        </p:sp>
        <p:sp>
          <p:nvSpPr>
            <p:cNvPr id="251" name="object 234"/>
            <p:cNvSpPr/>
            <p:nvPr/>
          </p:nvSpPr>
          <p:spPr>
            <a:xfrm>
              <a:off x="10750805" y="2073680"/>
              <a:ext cx="0" cy="664845"/>
            </a:xfrm>
            <a:custGeom>
              <a:avLst/>
              <a:gdLst/>
              <a:ahLst/>
              <a:cxnLst/>
              <a:rect l="l" t="t" r="r" b="b"/>
              <a:pathLst>
                <a:path h="664845">
                  <a:moveTo>
                    <a:pt x="0" y="0"/>
                  </a:moveTo>
                  <a:lnTo>
                    <a:pt x="0" y="664463"/>
                  </a:lnTo>
                </a:path>
              </a:pathLst>
            </a:custGeom>
            <a:ln w="11430">
              <a:solidFill>
                <a:srgbClr val="005DB8"/>
              </a:solidFill>
            </a:ln>
          </p:spPr>
          <p:txBody>
            <a:bodyPr wrap="square" lIns="0" tIns="0" rIns="0" bIns="0" rtlCol="0"/>
            <a:lstStyle/>
            <a:p>
              <a:endParaRPr/>
            </a:p>
          </p:txBody>
        </p:sp>
        <p:sp>
          <p:nvSpPr>
            <p:cNvPr id="252" name="object 235"/>
            <p:cNvSpPr/>
            <p:nvPr/>
          </p:nvSpPr>
          <p:spPr>
            <a:xfrm>
              <a:off x="1846201" y="2073680"/>
              <a:ext cx="8898890" cy="13970"/>
            </a:xfrm>
            <a:custGeom>
              <a:avLst/>
              <a:gdLst/>
              <a:ahLst/>
              <a:cxnLst/>
              <a:rect l="l" t="t" r="r" b="b"/>
              <a:pathLst>
                <a:path w="8898890" h="13969">
                  <a:moveTo>
                    <a:pt x="0" y="13716"/>
                  </a:moveTo>
                  <a:lnTo>
                    <a:pt x="8898890" y="13716"/>
                  </a:lnTo>
                  <a:lnTo>
                    <a:pt x="8898890" y="0"/>
                  </a:lnTo>
                  <a:lnTo>
                    <a:pt x="0" y="0"/>
                  </a:lnTo>
                  <a:lnTo>
                    <a:pt x="0" y="13716"/>
                  </a:lnTo>
                  <a:close/>
                </a:path>
              </a:pathLst>
            </a:custGeom>
            <a:solidFill>
              <a:srgbClr val="005DB8"/>
            </a:solidFill>
          </p:spPr>
          <p:txBody>
            <a:bodyPr wrap="square" lIns="0" tIns="0" rIns="0" bIns="0" rtlCol="0"/>
            <a:lstStyle/>
            <a:p>
              <a:endParaRPr/>
            </a:p>
          </p:txBody>
        </p:sp>
        <p:sp>
          <p:nvSpPr>
            <p:cNvPr id="253" name="object 236"/>
            <p:cNvSpPr/>
            <p:nvPr/>
          </p:nvSpPr>
          <p:spPr>
            <a:xfrm>
              <a:off x="1836676" y="2073680"/>
              <a:ext cx="0" cy="664845"/>
            </a:xfrm>
            <a:custGeom>
              <a:avLst/>
              <a:gdLst/>
              <a:ahLst/>
              <a:cxnLst/>
              <a:rect l="l" t="t" r="r" b="b"/>
              <a:pathLst>
                <a:path h="664845">
                  <a:moveTo>
                    <a:pt x="0" y="0"/>
                  </a:moveTo>
                  <a:lnTo>
                    <a:pt x="0" y="664463"/>
                  </a:lnTo>
                </a:path>
              </a:pathLst>
            </a:custGeom>
            <a:ln w="6350">
              <a:solidFill>
                <a:srgbClr val="005DB8"/>
              </a:solidFill>
            </a:ln>
          </p:spPr>
          <p:txBody>
            <a:bodyPr wrap="square" lIns="0" tIns="0" rIns="0" bIns="0" rtlCol="0"/>
            <a:lstStyle/>
            <a:p>
              <a:endParaRPr/>
            </a:p>
          </p:txBody>
        </p:sp>
        <p:sp>
          <p:nvSpPr>
            <p:cNvPr id="254" name="object 237"/>
            <p:cNvSpPr/>
            <p:nvPr/>
          </p:nvSpPr>
          <p:spPr>
            <a:xfrm>
              <a:off x="1846201" y="2724428"/>
              <a:ext cx="8898890" cy="13970"/>
            </a:xfrm>
            <a:custGeom>
              <a:avLst/>
              <a:gdLst/>
              <a:ahLst/>
              <a:cxnLst/>
              <a:rect l="l" t="t" r="r" b="b"/>
              <a:pathLst>
                <a:path w="8898890" h="13970">
                  <a:moveTo>
                    <a:pt x="0" y="13716"/>
                  </a:moveTo>
                  <a:lnTo>
                    <a:pt x="8898890" y="13716"/>
                  </a:lnTo>
                  <a:lnTo>
                    <a:pt x="8898890" y="0"/>
                  </a:lnTo>
                  <a:lnTo>
                    <a:pt x="0" y="0"/>
                  </a:lnTo>
                  <a:lnTo>
                    <a:pt x="0" y="13716"/>
                  </a:lnTo>
                  <a:close/>
                </a:path>
              </a:pathLst>
            </a:custGeom>
            <a:solidFill>
              <a:srgbClr val="005DB8"/>
            </a:solidFill>
          </p:spPr>
          <p:txBody>
            <a:bodyPr wrap="square" lIns="0" tIns="0" rIns="0" bIns="0" rtlCol="0"/>
            <a:lstStyle/>
            <a:p>
              <a:endParaRPr/>
            </a:p>
          </p:txBody>
        </p:sp>
        <p:sp>
          <p:nvSpPr>
            <p:cNvPr id="255" name="object 238"/>
            <p:cNvSpPr/>
            <p:nvPr/>
          </p:nvSpPr>
          <p:spPr>
            <a:xfrm>
              <a:off x="1843026" y="2073680"/>
              <a:ext cx="0" cy="664845"/>
            </a:xfrm>
            <a:custGeom>
              <a:avLst/>
              <a:gdLst/>
              <a:ahLst/>
              <a:cxnLst/>
              <a:rect l="l" t="t" r="r" b="b"/>
              <a:pathLst>
                <a:path h="664845">
                  <a:moveTo>
                    <a:pt x="0" y="0"/>
                  </a:moveTo>
                  <a:lnTo>
                    <a:pt x="0" y="664463"/>
                  </a:lnTo>
                </a:path>
              </a:pathLst>
            </a:custGeom>
            <a:ln w="6350">
              <a:solidFill>
                <a:srgbClr val="005DB8"/>
              </a:solidFill>
            </a:ln>
          </p:spPr>
          <p:txBody>
            <a:bodyPr wrap="square" lIns="0" tIns="0" rIns="0" bIns="0" rtlCol="0"/>
            <a:lstStyle/>
            <a:p>
              <a:endParaRPr/>
            </a:p>
          </p:txBody>
        </p:sp>
        <p:sp>
          <p:nvSpPr>
            <p:cNvPr id="256" name="object 239"/>
            <p:cNvSpPr txBox="1"/>
            <p:nvPr/>
          </p:nvSpPr>
          <p:spPr>
            <a:xfrm>
              <a:off x="6002947" y="2086937"/>
              <a:ext cx="585470" cy="153888"/>
            </a:xfrm>
            <a:prstGeom prst="rect">
              <a:avLst/>
            </a:prstGeom>
          </p:spPr>
          <p:txBody>
            <a:bodyPr vert="horz" wrap="square" lIns="0" tIns="0" rIns="0" bIns="0" rtlCol="0">
              <a:spAutoFit/>
            </a:bodyPr>
            <a:lstStyle/>
            <a:p>
              <a:pPr marL="12700">
                <a:lnSpc>
                  <a:spcPct val="100000"/>
                </a:lnSpc>
              </a:pPr>
              <a:r>
                <a:rPr sz="1000" spc="80" dirty="0">
                  <a:solidFill>
                    <a:srgbClr val="FFFFFF"/>
                  </a:solidFill>
                  <a:cs typeface="Times New Roman"/>
                </a:rPr>
                <a:t>Channels</a:t>
              </a:r>
              <a:endParaRPr sz="1000">
                <a:cs typeface="Times New Roman"/>
              </a:endParaRPr>
            </a:p>
          </p:txBody>
        </p:sp>
        <p:sp>
          <p:nvSpPr>
            <p:cNvPr id="257" name="object 240"/>
            <p:cNvSpPr/>
            <p:nvPr/>
          </p:nvSpPr>
          <p:spPr>
            <a:xfrm>
              <a:off x="1833754" y="1229385"/>
              <a:ext cx="8910955" cy="821690"/>
            </a:xfrm>
            <a:custGeom>
              <a:avLst/>
              <a:gdLst/>
              <a:ahLst/>
              <a:cxnLst/>
              <a:rect l="l" t="t" r="r" b="b"/>
              <a:pathLst>
                <a:path w="8910955" h="821689">
                  <a:moveTo>
                    <a:pt x="0" y="821435"/>
                  </a:moveTo>
                  <a:lnTo>
                    <a:pt x="0" y="137160"/>
                  </a:lnTo>
                  <a:lnTo>
                    <a:pt x="6949" y="93634"/>
                  </a:lnTo>
                  <a:lnTo>
                    <a:pt x="26334" y="55961"/>
                  </a:lnTo>
                  <a:lnTo>
                    <a:pt x="55961" y="26334"/>
                  </a:lnTo>
                  <a:lnTo>
                    <a:pt x="93634" y="6949"/>
                  </a:lnTo>
                  <a:lnTo>
                    <a:pt x="137159" y="0"/>
                  </a:lnTo>
                  <a:lnTo>
                    <a:pt x="8773667" y="0"/>
                  </a:lnTo>
                  <a:lnTo>
                    <a:pt x="8817193" y="6949"/>
                  </a:lnTo>
                  <a:lnTo>
                    <a:pt x="8854866" y="26334"/>
                  </a:lnTo>
                  <a:lnTo>
                    <a:pt x="8884493" y="55961"/>
                  </a:lnTo>
                  <a:lnTo>
                    <a:pt x="8903878" y="93634"/>
                  </a:lnTo>
                  <a:lnTo>
                    <a:pt x="8910827" y="137160"/>
                  </a:lnTo>
                  <a:lnTo>
                    <a:pt x="8910827" y="821435"/>
                  </a:lnTo>
                  <a:lnTo>
                    <a:pt x="0" y="821435"/>
                  </a:lnTo>
                  <a:close/>
                </a:path>
              </a:pathLst>
            </a:custGeom>
            <a:solidFill>
              <a:srgbClr val="00338C"/>
            </a:solidFill>
          </p:spPr>
          <p:txBody>
            <a:bodyPr wrap="square" lIns="0" tIns="0" rIns="0" bIns="0" rtlCol="0"/>
            <a:lstStyle/>
            <a:p>
              <a:endParaRPr/>
            </a:p>
          </p:txBody>
        </p:sp>
        <p:sp>
          <p:nvSpPr>
            <p:cNvPr id="258" name="object 241"/>
            <p:cNvSpPr/>
            <p:nvPr/>
          </p:nvSpPr>
          <p:spPr>
            <a:xfrm>
              <a:off x="1827658" y="1223288"/>
              <a:ext cx="8923020" cy="833755"/>
            </a:xfrm>
            <a:custGeom>
              <a:avLst/>
              <a:gdLst/>
              <a:ahLst/>
              <a:cxnLst/>
              <a:rect l="l" t="t" r="r" b="b"/>
              <a:pathLst>
                <a:path w="8923020" h="833755">
                  <a:moveTo>
                    <a:pt x="0" y="833627"/>
                  </a:moveTo>
                  <a:lnTo>
                    <a:pt x="0" y="143256"/>
                  </a:lnTo>
                  <a:lnTo>
                    <a:pt x="7290" y="97926"/>
                  </a:lnTo>
                  <a:lnTo>
                    <a:pt x="27602" y="58594"/>
                  </a:lnTo>
                  <a:lnTo>
                    <a:pt x="58594" y="27602"/>
                  </a:lnTo>
                  <a:lnTo>
                    <a:pt x="97926" y="7290"/>
                  </a:lnTo>
                  <a:lnTo>
                    <a:pt x="143256" y="0"/>
                  </a:lnTo>
                  <a:lnTo>
                    <a:pt x="8779763" y="0"/>
                  </a:lnTo>
                  <a:lnTo>
                    <a:pt x="8825093" y="7290"/>
                  </a:lnTo>
                  <a:lnTo>
                    <a:pt x="8864425" y="27602"/>
                  </a:lnTo>
                  <a:lnTo>
                    <a:pt x="8895417" y="58594"/>
                  </a:lnTo>
                  <a:lnTo>
                    <a:pt x="8915729" y="97926"/>
                  </a:lnTo>
                  <a:lnTo>
                    <a:pt x="8923020" y="143255"/>
                  </a:lnTo>
                  <a:lnTo>
                    <a:pt x="8923020" y="833627"/>
                  </a:lnTo>
                  <a:lnTo>
                    <a:pt x="8910827" y="833627"/>
                  </a:lnTo>
                  <a:lnTo>
                    <a:pt x="8910827" y="143255"/>
                  </a:lnTo>
                  <a:lnTo>
                    <a:pt x="8900421" y="92559"/>
                  </a:lnTo>
                  <a:lnTo>
                    <a:pt x="8872156" y="50863"/>
                  </a:lnTo>
                  <a:lnTo>
                    <a:pt x="8830460" y="22598"/>
                  </a:lnTo>
                  <a:lnTo>
                    <a:pt x="8779763" y="12191"/>
                  </a:lnTo>
                  <a:lnTo>
                    <a:pt x="143256" y="12192"/>
                  </a:lnTo>
                  <a:lnTo>
                    <a:pt x="92559" y="22598"/>
                  </a:lnTo>
                  <a:lnTo>
                    <a:pt x="50863" y="50863"/>
                  </a:lnTo>
                  <a:lnTo>
                    <a:pt x="22598" y="92559"/>
                  </a:lnTo>
                  <a:lnTo>
                    <a:pt x="12192" y="143256"/>
                  </a:lnTo>
                  <a:lnTo>
                    <a:pt x="12192" y="833627"/>
                  </a:lnTo>
                  <a:lnTo>
                    <a:pt x="0" y="833627"/>
                  </a:lnTo>
                  <a:close/>
                </a:path>
                <a:path w="8923020" h="833755">
                  <a:moveTo>
                    <a:pt x="12192" y="833627"/>
                  </a:moveTo>
                  <a:lnTo>
                    <a:pt x="12192" y="819912"/>
                  </a:lnTo>
                  <a:lnTo>
                    <a:pt x="8910827" y="819912"/>
                  </a:lnTo>
                  <a:lnTo>
                    <a:pt x="8910827" y="833627"/>
                  </a:lnTo>
                  <a:lnTo>
                    <a:pt x="12192" y="833627"/>
                  </a:lnTo>
                  <a:close/>
                </a:path>
              </a:pathLst>
            </a:custGeom>
            <a:solidFill>
              <a:srgbClr val="00338C"/>
            </a:solidFill>
          </p:spPr>
          <p:txBody>
            <a:bodyPr wrap="square" lIns="0" tIns="0" rIns="0" bIns="0" rtlCol="0"/>
            <a:lstStyle/>
            <a:p>
              <a:endParaRPr/>
            </a:p>
          </p:txBody>
        </p:sp>
        <p:sp>
          <p:nvSpPr>
            <p:cNvPr id="259" name="object 242"/>
            <p:cNvSpPr/>
            <p:nvPr/>
          </p:nvSpPr>
          <p:spPr>
            <a:xfrm>
              <a:off x="2223898" y="734085"/>
              <a:ext cx="8129270" cy="490855"/>
            </a:xfrm>
            <a:custGeom>
              <a:avLst/>
              <a:gdLst/>
              <a:ahLst/>
              <a:cxnLst/>
              <a:rect l="l" t="t" r="r" b="b"/>
              <a:pathLst>
                <a:path w="8129270" h="490855">
                  <a:moveTo>
                    <a:pt x="0" y="490728"/>
                  </a:moveTo>
                  <a:lnTo>
                    <a:pt x="4064507" y="0"/>
                  </a:lnTo>
                  <a:lnTo>
                    <a:pt x="8129016" y="490728"/>
                  </a:lnTo>
                  <a:lnTo>
                    <a:pt x="0" y="490728"/>
                  </a:lnTo>
                  <a:close/>
                </a:path>
              </a:pathLst>
            </a:custGeom>
            <a:solidFill>
              <a:srgbClr val="BFBFBF"/>
            </a:solidFill>
          </p:spPr>
          <p:txBody>
            <a:bodyPr wrap="square" lIns="0" tIns="0" rIns="0" bIns="0" rtlCol="0"/>
            <a:lstStyle/>
            <a:p>
              <a:endParaRPr/>
            </a:p>
          </p:txBody>
        </p:sp>
        <p:sp>
          <p:nvSpPr>
            <p:cNvPr id="260" name="object 243"/>
            <p:cNvSpPr txBox="1"/>
            <p:nvPr/>
          </p:nvSpPr>
          <p:spPr>
            <a:xfrm>
              <a:off x="5193729" y="948491"/>
              <a:ext cx="2189480" cy="521334"/>
            </a:xfrm>
            <a:prstGeom prst="rect">
              <a:avLst/>
            </a:prstGeom>
          </p:spPr>
          <p:txBody>
            <a:bodyPr vert="horz" wrap="square" lIns="0" tIns="0" rIns="0" bIns="0" rtlCol="0">
              <a:spAutoFit/>
            </a:bodyPr>
            <a:lstStyle/>
            <a:p>
              <a:pPr algn="ctr">
                <a:lnSpc>
                  <a:spcPct val="100000"/>
                </a:lnSpc>
              </a:pPr>
              <a:r>
                <a:rPr sz="1000" spc="45" dirty="0">
                  <a:solidFill>
                    <a:schemeClr val="bg1"/>
                  </a:solidFill>
                  <a:cs typeface="Times New Roman"/>
                </a:rPr>
                <a:t>Digital </a:t>
              </a:r>
              <a:r>
                <a:rPr sz="1000" spc="55" dirty="0">
                  <a:solidFill>
                    <a:schemeClr val="bg1"/>
                  </a:solidFill>
                  <a:cs typeface="Times New Roman"/>
                </a:rPr>
                <a:t>city </a:t>
              </a:r>
              <a:r>
                <a:rPr sz="1000" spc="90" dirty="0">
                  <a:solidFill>
                    <a:schemeClr val="bg1"/>
                  </a:solidFill>
                  <a:cs typeface="Times New Roman"/>
                </a:rPr>
                <a:t>eco-system</a:t>
              </a:r>
              <a:r>
                <a:rPr sz="1000" spc="-130" dirty="0">
                  <a:solidFill>
                    <a:schemeClr val="bg1"/>
                  </a:solidFill>
                  <a:cs typeface="Times New Roman"/>
                </a:rPr>
                <a:t> </a:t>
              </a:r>
              <a:r>
                <a:rPr sz="1000" spc="110" dirty="0">
                  <a:solidFill>
                    <a:schemeClr val="bg1"/>
                  </a:solidFill>
                  <a:cs typeface="Times New Roman"/>
                </a:rPr>
                <a:t>components</a:t>
              </a:r>
              <a:endParaRPr sz="1000" dirty="0">
                <a:solidFill>
                  <a:schemeClr val="bg1"/>
                </a:solidFill>
                <a:cs typeface="Times New Roman"/>
              </a:endParaRPr>
            </a:p>
            <a:p>
              <a:pPr>
                <a:lnSpc>
                  <a:spcPct val="100000"/>
                </a:lnSpc>
                <a:spcBef>
                  <a:spcPts val="30"/>
                </a:spcBef>
              </a:pPr>
              <a:endParaRPr sz="1350" dirty="0">
                <a:solidFill>
                  <a:schemeClr val="bg1"/>
                </a:solidFill>
                <a:cs typeface="Times New Roman"/>
              </a:endParaRPr>
            </a:p>
            <a:p>
              <a:pPr algn="ctr">
                <a:lnSpc>
                  <a:spcPct val="100000"/>
                </a:lnSpc>
              </a:pPr>
              <a:r>
                <a:rPr sz="1000" spc="90" dirty="0">
                  <a:solidFill>
                    <a:schemeClr val="bg1"/>
                  </a:solidFill>
                  <a:cs typeface="Times New Roman"/>
                </a:rPr>
                <a:t>Stakeholders</a:t>
              </a:r>
              <a:endParaRPr sz="1000" dirty="0">
                <a:solidFill>
                  <a:schemeClr val="bg1"/>
                </a:solidFill>
                <a:cs typeface="Times New Roman"/>
              </a:endParaRPr>
            </a:p>
          </p:txBody>
        </p:sp>
        <p:sp>
          <p:nvSpPr>
            <p:cNvPr id="261" name="object 244"/>
            <p:cNvSpPr/>
            <p:nvPr/>
          </p:nvSpPr>
          <p:spPr>
            <a:xfrm>
              <a:off x="2060830" y="1515897"/>
              <a:ext cx="8456675" cy="457200"/>
            </a:xfrm>
            <a:prstGeom prst="rect">
              <a:avLst/>
            </a:prstGeom>
            <a:blipFill>
              <a:blip r:embed="rId2" cstate="print"/>
              <a:stretch>
                <a:fillRect/>
              </a:stretch>
            </a:blipFill>
          </p:spPr>
          <p:txBody>
            <a:bodyPr wrap="square" lIns="0" tIns="0" rIns="0" bIns="0" rtlCol="0"/>
            <a:lstStyle/>
            <a:p>
              <a:endParaRPr/>
            </a:p>
          </p:txBody>
        </p:sp>
        <p:sp>
          <p:nvSpPr>
            <p:cNvPr id="262" name="object 245"/>
            <p:cNvSpPr txBox="1"/>
            <p:nvPr/>
          </p:nvSpPr>
          <p:spPr>
            <a:xfrm>
              <a:off x="2526603" y="1635286"/>
              <a:ext cx="408940" cy="246221"/>
            </a:xfrm>
            <a:prstGeom prst="rect">
              <a:avLst/>
            </a:prstGeom>
          </p:spPr>
          <p:txBody>
            <a:bodyPr vert="horz" wrap="square" lIns="0" tIns="0" rIns="0" bIns="0" rtlCol="0">
              <a:spAutoFit/>
            </a:bodyPr>
            <a:lstStyle/>
            <a:p>
              <a:pPr marL="12700" marR="5080">
                <a:lnSpc>
                  <a:spcPct val="100000"/>
                </a:lnSpc>
              </a:pPr>
              <a:r>
                <a:rPr sz="800" spc="30" dirty="0">
                  <a:solidFill>
                    <a:srgbClr val="00338C"/>
                  </a:solidFill>
                  <a:cs typeface="Times New Roman"/>
                </a:rPr>
                <a:t>Local  </a:t>
              </a:r>
              <a:r>
                <a:rPr sz="800" dirty="0">
                  <a:solidFill>
                    <a:srgbClr val="00338C"/>
                  </a:solidFill>
                  <a:cs typeface="Times New Roman"/>
                </a:rPr>
                <a:t>C</a:t>
              </a:r>
              <a:r>
                <a:rPr sz="800" spc="-10" dirty="0">
                  <a:solidFill>
                    <a:srgbClr val="00338C"/>
                  </a:solidFill>
                  <a:cs typeface="Times New Roman"/>
                </a:rPr>
                <a:t>i</a:t>
              </a:r>
              <a:r>
                <a:rPr sz="800" spc="90" dirty="0">
                  <a:solidFill>
                    <a:srgbClr val="00338C"/>
                  </a:solidFill>
                  <a:cs typeface="Times New Roman"/>
                </a:rPr>
                <a:t>t</a:t>
              </a:r>
              <a:r>
                <a:rPr sz="800" spc="-10" dirty="0">
                  <a:solidFill>
                    <a:srgbClr val="00338C"/>
                  </a:solidFill>
                  <a:cs typeface="Times New Roman"/>
                </a:rPr>
                <a:t>i</a:t>
              </a:r>
              <a:r>
                <a:rPr sz="800" spc="35" dirty="0">
                  <a:solidFill>
                    <a:srgbClr val="00338C"/>
                  </a:solidFill>
                  <a:cs typeface="Times New Roman"/>
                </a:rPr>
                <a:t>z</a:t>
              </a:r>
              <a:r>
                <a:rPr sz="800" spc="85" dirty="0">
                  <a:solidFill>
                    <a:srgbClr val="00338C"/>
                  </a:solidFill>
                  <a:cs typeface="Times New Roman"/>
                </a:rPr>
                <a:t>en</a:t>
              </a:r>
              <a:r>
                <a:rPr sz="800" spc="90" dirty="0">
                  <a:solidFill>
                    <a:srgbClr val="00338C"/>
                  </a:solidFill>
                  <a:cs typeface="Times New Roman"/>
                </a:rPr>
                <a:t>s</a:t>
              </a:r>
              <a:endParaRPr sz="800">
                <a:cs typeface="Times New Roman"/>
              </a:endParaRPr>
            </a:p>
          </p:txBody>
        </p:sp>
        <p:sp>
          <p:nvSpPr>
            <p:cNvPr id="263" name="object 246"/>
            <p:cNvSpPr txBox="1"/>
            <p:nvPr/>
          </p:nvSpPr>
          <p:spPr>
            <a:xfrm>
              <a:off x="3739701" y="1617009"/>
              <a:ext cx="454659" cy="246221"/>
            </a:xfrm>
            <a:prstGeom prst="rect">
              <a:avLst/>
            </a:prstGeom>
          </p:spPr>
          <p:txBody>
            <a:bodyPr vert="horz" wrap="square" lIns="0" tIns="0" rIns="0" bIns="0" rtlCol="0">
              <a:spAutoFit/>
            </a:bodyPr>
            <a:lstStyle/>
            <a:p>
              <a:pPr marL="12700" marR="5080">
                <a:lnSpc>
                  <a:spcPct val="100000"/>
                </a:lnSpc>
              </a:pPr>
              <a:r>
                <a:rPr sz="800" spc="5" dirty="0">
                  <a:solidFill>
                    <a:srgbClr val="00338C"/>
                  </a:solidFill>
                  <a:cs typeface="Times New Roman"/>
                </a:rPr>
                <a:t>Civil  </a:t>
              </a:r>
              <a:r>
                <a:rPr sz="800" spc="90" dirty="0">
                  <a:solidFill>
                    <a:srgbClr val="00338C"/>
                  </a:solidFill>
                  <a:cs typeface="Times New Roman"/>
                </a:rPr>
                <a:t>S</a:t>
              </a:r>
              <a:r>
                <a:rPr sz="800" spc="75" dirty="0">
                  <a:solidFill>
                    <a:srgbClr val="00338C"/>
                  </a:solidFill>
                  <a:cs typeface="Times New Roman"/>
                </a:rPr>
                <a:t>e</a:t>
              </a:r>
              <a:r>
                <a:rPr sz="800" spc="45" dirty="0">
                  <a:solidFill>
                    <a:srgbClr val="00338C"/>
                  </a:solidFill>
                  <a:cs typeface="Times New Roman"/>
                </a:rPr>
                <a:t>r</a:t>
              </a:r>
              <a:r>
                <a:rPr sz="800" spc="40" dirty="0">
                  <a:solidFill>
                    <a:srgbClr val="00338C"/>
                  </a:solidFill>
                  <a:cs typeface="Times New Roman"/>
                </a:rPr>
                <a:t>v</a:t>
              </a:r>
              <a:r>
                <a:rPr sz="800" spc="85" dirty="0">
                  <a:solidFill>
                    <a:srgbClr val="00338C"/>
                  </a:solidFill>
                  <a:cs typeface="Times New Roman"/>
                </a:rPr>
                <a:t>an</a:t>
              </a:r>
              <a:r>
                <a:rPr sz="800" spc="90" dirty="0">
                  <a:solidFill>
                    <a:srgbClr val="00338C"/>
                  </a:solidFill>
                  <a:cs typeface="Times New Roman"/>
                </a:rPr>
                <a:t>ts</a:t>
              </a:r>
              <a:endParaRPr sz="800">
                <a:cs typeface="Times New Roman"/>
              </a:endParaRPr>
            </a:p>
          </p:txBody>
        </p:sp>
        <p:sp>
          <p:nvSpPr>
            <p:cNvPr id="264" name="object 247"/>
            <p:cNvSpPr txBox="1"/>
            <p:nvPr/>
          </p:nvSpPr>
          <p:spPr>
            <a:xfrm>
              <a:off x="9806847" y="1677966"/>
              <a:ext cx="419734" cy="123111"/>
            </a:xfrm>
            <a:prstGeom prst="rect">
              <a:avLst/>
            </a:prstGeom>
          </p:spPr>
          <p:txBody>
            <a:bodyPr vert="horz" wrap="square" lIns="0" tIns="0" rIns="0" bIns="0" rtlCol="0">
              <a:spAutoFit/>
            </a:bodyPr>
            <a:lstStyle/>
            <a:p>
              <a:pPr marL="12700">
                <a:lnSpc>
                  <a:spcPct val="100000"/>
                </a:lnSpc>
              </a:pPr>
              <a:r>
                <a:rPr sz="800" spc="55" dirty="0">
                  <a:solidFill>
                    <a:srgbClr val="00338C"/>
                  </a:solidFill>
                  <a:cs typeface="Times New Roman"/>
                </a:rPr>
                <a:t>Tourists</a:t>
              </a:r>
              <a:endParaRPr sz="800">
                <a:cs typeface="Times New Roman"/>
              </a:endParaRPr>
            </a:p>
          </p:txBody>
        </p:sp>
        <p:sp>
          <p:nvSpPr>
            <p:cNvPr id="265" name="object 248"/>
            <p:cNvSpPr txBox="1"/>
            <p:nvPr/>
          </p:nvSpPr>
          <p:spPr>
            <a:xfrm>
              <a:off x="8593648" y="1617009"/>
              <a:ext cx="500380" cy="246221"/>
            </a:xfrm>
            <a:prstGeom prst="rect">
              <a:avLst/>
            </a:prstGeom>
          </p:spPr>
          <p:txBody>
            <a:bodyPr vert="horz" wrap="square" lIns="0" tIns="0" rIns="0" bIns="0" rtlCol="0">
              <a:spAutoFit/>
            </a:bodyPr>
            <a:lstStyle/>
            <a:p>
              <a:pPr marL="12700" marR="5080">
                <a:lnSpc>
                  <a:spcPct val="100000"/>
                </a:lnSpc>
              </a:pPr>
              <a:r>
                <a:rPr sz="800" spc="60" dirty="0">
                  <a:solidFill>
                    <a:srgbClr val="00338C"/>
                  </a:solidFill>
                  <a:cs typeface="Times New Roman"/>
                </a:rPr>
                <a:t>Business  </a:t>
              </a:r>
              <a:r>
                <a:rPr sz="800" spc="-10" dirty="0">
                  <a:solidFill>
                    <a:srgbClr val="00338C"/>
                  </a:solidFill>
                  <a:cs typeface="Times New Roman"/>
                </a:rPr>
                <a:t>T</a:t>
              </a:r>
              <a:r>
                <a:rPr sz="800" spc="50" dirty="0">
                  <a:solidFill>
                    <a:srgbClr val="00338C"/>
                  </a:solidFill>
                  <a:cs typeface="Times New Roman"/>
                </a:rPr>
                <a:t>r</a:t>
              </a:r>
              <a:r>
                <a:rPr sz="800" spc="75" dirty="0">
                  <a:solidFill>
                    <a:srgbClr val="00338C"/>
                  </a:solidFill>
                  <a:cs typeface="Times New Roman"/>
                </a:rPr>
                <a:t>a</a:t>
              </a:r>
              <a:r>
                <a:rPr sz="800" spc="40" dirty="0">
                  <a:solidFill>
                    <a:srgbClr val="00338C"/>
                  </a:solidFill>
                  <a:cs typeface="Times New Roman"/>
                </a:rPr>
                <a:t>v</a:t>
              </a:r>
              <a:r>
                <a:rPr sz="800" spc="85" dirty="0">
                  <a:solidFill>
                    <a:srgbClr val="00338C"/>
                  </a:solidFill>
                  <a:cs typeface="Times New Roman"/>
                </a:rPr>
                <a:t>e</a:t>
              </a:r>
              <a:r>
                <a:rPr sz="800" spc="5" dirty="0">
                  <a:solidFill>
                    <a:srgbClr val="00338C"/>
                  </a:solidFill>
                  <a:cs typeface="Times New Roman"/>
                </a:rPr>
                <a:t>l</a:t>
              </a:r>
              <a:r>
                <a:rPr sz="800" spc="-15" dirty="0">
                  <a:solidFill>
                    <a:srgbClr val="00338C"/>
                  </a:solidFill>
                  <a:cs typeface="Times New Roman"/>
                </a:rPr>
                <a:t>l</a:t>
              </a:r>
              <a:r>
                <a:rPr sz="800" spc="90" dirty="0">
                  <a:solidFill>
                    <a:srgbClr val="00338C"/>
                  </a:solidFill>
                  <a:cs typeface="Times New Roman"/>
                </a:rPr>
                <a:t>e</a:t>
              </a:r>
              <a:r>
                <a:rPr sz="800" spc="50" dirty="0">
                  <a:solidFill>
                    <a:srgbClr val="00338C"/>
                  </a:solidFill>
                  <a:cs typeface="Times New Roman"/>
                </a:rPr>
                <a:t>r</a:t>
              </a:r>
              <a:r>
                <a:rPr sz="800" spc="90" dirty="0">
                  <a:solidFill>
                    <a:srgbClr val="00338C"/>
                  </a:solidFill>
                  <a:cs typeface="Times New Roman"/>
                </a:rPr>
                <a:t>s</a:t>
              </a:r>
              <a:endParaRPr sz="800">
                <a:cs typeface="Times New Roman"/>
              </a:endParaRPr>
            </a:p>
          </p:txBody>
        </p:sp>
        <p:sp>
          <p:nvSpPr>
            <p:cNvPr id="266" name="object 249"/>
            <p:cNvSpPr txBox="1"/>
            <p:nvPr/>
          </p:nvSpPr>
          <p:spPr>
            <a:xfrm>
              <a:off x="7380550" y="1677966"/>
              <a:ext cx="466090" cy="123111"/>
            </a:xfrm>
            <a:prstGeom prst="rect">
              <a:avLst/>
            </a:prstGeom>
          </p:spPr>
          <p:txBody>
            <a:bodyPr vert="horz" wrap="square" lIns="0" tIns="0" rIns="0" bIns="0" rtlCol="0">
              <a:spAutoFit/>
            </a:bodyPr>
            <a:lstStyle/>
            <a:p>
              <a:pPr marL="12700">
                <a:lnSpc>
                  <a:spcPct val="100000"/>
                </a:lnSpc>
              </a:pPr>
              <a:r>
                <a:rPr sz="800" spc="90" dirty="0">
                  <a:solidFill>
                    <a:srgbClr val="00338C"/>
                  </a:solidFill>
                  <a:cs typeface="Times New Roman"/>
                </a:rPr>
                <a:t>S</a:t>
              </a:r>
              <a:r>
                <a:rPr sz="800" spc="80" dirty="0">
                  <a:solidFill>
                    <a:srgbClr val="00338C"/>
                  </a:solidFill>
                  <a:cs typeface="Times New Roman"/>
                </a:rPr>
                <a:t>t</a:t>
              </a:r>
              <a:r>
                <a:rPr sz="800" spc="85" dirty="0">
                  <a:solidFill>
                    <a:srgbClr val="00338C"/>
                  </a:solidFill>
                  <a:cs typeface="Times New Roman"/>
                </a:rPr>
                <a:t>u</a:t>
              </a:r>
              <a:r>
                <a:rPr sz="800" spc="70" dirty="0">
                  <a:solidFill>
                    <a:srgbClr val="00338C"/>
                  </a:solidFill>
                  <a:cs typeface="Times New Roman"/>
                </a:rPr>
                <a:t>d</a:t>
              </a:r>
              <a:r>
                <a:rPr sz="800" spc="90" dirty="0">
                  <a:solidFill>
                    <a:srgbClr val="00338C"/>
                  </a:solidFill>
                  <a:cs typeface="Times New Roman"/>
                </a:rPr>
                <a:t>e</a:t>
              </a:r>
              <a:r>
                <a:rPr sz="800" spc="85" dirty="0">
                  <a:solidFill>
                    <a:srgbClr val="00338C"/>
                  </a:solidFill>
                  <a:cs typeface="Times New Roman"/>
                </a:rPr>
                <a:t>n</a:t>
              </a:r>
              <a:r>
                <a:rPr sz="800" spc="90" dirty="0">
                  <a:solidFill>
                    <a:srgbClr val="00338C"/>
                  </a:solidFill>
                  <a:cs typeface="Times New Roman"/>
                </a:rPr>
                <a:t>ts</a:t>
              </a:r>
              <a:endParaRPr sz="800">
                <a:cs typeface="Times New Roman"/>
              </a:endParaRPr>
            </a:p>
          </p:txBody>
        </p:sp>
        <p:sp>
          <p:nvSpPr>
            <p:cNvPr id="267" name="object 250"/>
            <p:cNvSpPr txBox="1"/>
            <p:nvPr/>
          </p:nvSpPr>
          <p:spPr>
            <a:xfrm>
              <a:off x="6165921" y="1677966"/>
              <a:ext cx="498475" cy="123111"/>
            </a:xfrm>
            <a:prstGeom prst="rect">
              <a:avLst/>
            </a:prstGeom>
          </p:spPr>
          <p:txBody>
            <a:bodyPr vert="horz" wrap="square" lIns="0" tIns="0" rIns="0" bIns="0" rtlCol="0">
              <a:spAutoFit/>
            </a:bodyPr>
            <a:lstStyle/>
            <a:p>
              <a:pPr marL="12700">
                <a:lnSpc>
                  <a:spcPct val="100000"/>
                </a:lnSpc>
              </a:pPr>
              <a:r>
                <a:rPr sz="800" dirty="0">
                  <a:solidFill>
                    <a:srgbClr val="00338C"/>
                  </a:solidFill>
                  <a:cs typeface="Times New Roman"/>
                </a:rPr>
                <a:t>R</a:t>
              </a:r>
              <a:r>
                <a:rPr sz="800" spc="75" dirty="0">
                  <a:solidFill>
                    <a:srgbClr val="00338C"/>
                  </a:solidFill>
                  <a:cs typeface="Times New Roman"/>
                </a:rPr>
                <a:t>e</a:t>
              </a:r>
              <a:r>
                <a:rPr sz="800" spc="80" dirty="0">
                  <a:solidFill>
                    <a:srgbClr val="00338C"/>
                  </a:solidFill>
                  <a:cs typeface="Times New Roman"/>
                </a:rPr>
                <a:t>s</a:t>
              </a:r>
              <a:r>
                <a:rPr sz="800" spc="5" dirty="0">
                  <a:solidFill>
                    <a:srgbClr val="00338C"/>
                  </a:solidFill>
                  <a:cs typeface="Times New Roman"/>
                </a:rPr>
                <a:t>i</a:t>
              </a:r>
              <a:r>
                <a:rPr sz="800" spc="70" dirty="0">
                  <a:solidFill>
                    <a:srgbClr val="00338C"/>
                  </a:solidFill>
                  <a:cs typeface="Times New Roman"/>
                </a:rPr>
                <a:t>d</a:t>
              </a:r>
              <a:r>
                <a:rPr sz="800" spc="85" dirty="0">
                  <a:solidFill>
                    <a:srgbClr val="00338C"/>
                  </a:solidFill>
                  <a:cs typeface="Times New Roman"/>
                </a:rPr>
                <a:t>e</a:t>
              </a:r>
              <a:r>
                <a:rPr sz="800" spc="95" dirty="0">
                  <a:solidFill>
                    <a:srgbClr val="00338C"/>
                  </a:solidFill>
                  <a:cs typeface="Times New Roman"/>
                </a:rPr>
                <a:t>n</a:t>
              </a:r>
              <a:r>
                <a:rPr sz="800" spc="80" dirty="0">
                  <a:solidFill>
                    <a:srgbClr val="00338C"/>
                  </a:solidFill>
                  <a:cs typeface="Times New Roman"/>
                </a:rPr>
                <a:t>t</a:t>
              </a:r>
              <a:r>
                <a:rPr sz="800" spc="90" dirty="0">
                  <a:solidFill>
                    <a:srgbClr val="00338C"/>
                  </a:solidFill>
                  <a:cs typeface="Times New Roman"/>
                </a:rPr>
                <a:t>s</a:t>
              </a:r>
              <a:endParaRPr sz="800">
                <a:cs typeface="Times New Roman"/>
              </a:endParaRPr>
            </a:p>
          </p:txBody>
        </p:sp>
        <p:sp>
          <p:nvSpPr>
            <p:cNvPr id="268" name="object 251"/>
            <p:cNvSpPr txBox="1"/>
            <p:nvPr/>
          </p:nvSpPr>
          <p:spPr>
            <a:xfrm>
              <a:off x="4952799" y="1677966"/>
              <a:ext cx="560070" cy="123111"/>
            </a:xfrm>
            <a:prstGeom prst="rect">
              <a:avLst/>
            </a:prstGeom>
          </p:spPr>
          <p:txBody>
            <a:bodyPr vert="horz" wrap="square" lIns="0" tIns="0" rIns="0" bIns="0" rtlCol="0">
              <a:spAutoFit/>
            </a:bodyPr>
            <a:lstStyle/>
            <a:p>
              <a:pPr marL="12700">
                <a:lnSpc>
                  <a:spcPct val="100000"/>
                </a:lnSpc>
              </a:pPr>
              <a:r>
                <a:rPr sz="800" spc="65" dirty="0">
                  <a:solidFill>
                    <a:srgbClr val="00338C"/>
                  </a:solidFill>
                  <a:cs typeface="Times New Roman"/>
                </a:rPr>
                <a:t>Businesses</a:t>
              </a:r>
              <a:endParaRPr sz="800">
                <a:cs typeface="Times New Roman"/>
              </a:endParaRPr>
            </a:p>
          </p:txBody>
        </p:sp>
        <p:sp>
          <p:nvSpPr>
            <p:cNvPr id="269" name="object 252"/>
            <p:cNvSpPr/>
            <p:nvPr/>
          </p:nvSpPr>
          <p:spPr>
            <a:xfrm>
              <a:off x="9555862" y="2302281"/>
              <a:ext cx="962025" cy="376555"/>
            </a:xfrm>
            <a:custGeom>
              <a:avLst/>
              <a:gdLst/>
              <a:ahLst/>
              <a:cxnLst/>
              <a:rect l="l" t="t" r="r" b="b"/>
              <a:pathLst>
                <a:path w="962025" h="376554">
                  <a:moveTo>
                    <a:pt x="0" y="281939"/>
                  </a:moveTo>
                  <a:lnTo>
                    <a:pt x="0" y="94487"/>
                  </a:lnTo>
                  <a:lnTo>
                    <a:pt x="27813" y="27241"/>
                  </a:lnTo>
                  <a:lnTo>
                    <a:pt x="94487" y="0"/>
                  </a:lnTo>
                  <a:lnTo>
                    <a:pt x="867156" y="0"/>
                  </a:lnTo>
                  <a:lnTo>
                    <a:pt x="903779" y="7262"/>
                  </a:lnTo>
                  <a:lnTo>
                    <a:pt x="933831" y="27241"/>
                  </a:lnTo>
                  <a:lnTo>
                    <a:pt x="954166" y="57221"/>
                  </a:lnTo>
                  <a:lnTo>
                    <a:pt x="961643" y="94487"/>
                  </a:lnTo>
                  <a:lnTo>
                    <a:pt x="961643" y="281939"/>
                  </a:lnTo>
                  <a:lnTo>
                    <a:pt x="933831" y="348615"/>
                  </a:lnTo>
                  <a:lnTo>
                    <a:pt x="867156"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270" name="object 253"/>
            <p:cNvSpPr txBox="1"/>
            <p:nvPr/>
          </p:nvSpPr>
          <p:spPr>
            <a:xfrm>
              <a:off x="9975946" y="2362193"/>
              <a:ext cx="429895" cy="246221"/>
            </a:xfrm>
            <a:prstGeom prst="rect">
              <a:avLst/>
            </a:prstGeom>
          </p:spPr>
          <p:txBody>
            <a:bodyPr vert="horz" wrap="square" lIns="0" tIns="0" rIns="0" bIns="0" rtlCol="0">
              <a:spAutoFit/>
            </a:bodyPr>
            <a:lstStyle/>
            <a:p>
              <a:pPr marL="12700" marR="5080">
                <a:lnSpc>
                  <a:spcPct val="100000"/>
                </a:lnSpc>
              </a:pPr>
              <a:r>
                <a:rPr sz="800" spc="85" dirty="0">
                  <a:solidFill>
                    <a:srgbClr val="005DB8"/>
                  </a:solidFill>
                  <a:cs typeface="Times New Roman"/>
                </a:rPr>
                <a:t>Smart  </a:t>
              </a:r>
              <a:r>
                <a:rPr sz="800" spc="-5" dirty="0">
                  <a:solidFill>
                    <a:srgbClr val="005DB8"/>
                  </a:solidFill>
                  <a:cs typeface="Times New Roman"/>
                </a:rPr>
                <a:t>V</a:t>
              </a:r>
              <a:r>
                <a:rPr sz="800" spc="85" dirty="0">
                  <a:solidFill>
                    <a:srgbClr val="005DB8"/>
                  </a:solidFill>
                  <a:cs typeface="Times New Roman"/>
                </a:rPr>
                <a:t>e</a:t>
              </a:r>
              <a:r>
                <a:rPr sz="800" spc="80" dirty="0">
                  <a:solidFill>
                    <a:srgbClr val="005DB8"/>
                  </a:solidFill>
                  <a:cs typeface="Times New Roman"/>
                </a:rPr>
                <a:t>h</a:t>
              </a:r>
              <a:r>
                <a:rPr sz="800" dirty="0">
                  <a:solidFill>
                    <a:srgbClr val="005DB8"/>
                  </a:solidFill>
                  <a:cs typeface="Times New Roman"/>
                </a:rPr>
                <a:t>i</a:t>
              </a:r>
              <a:r>
                <a:rPr sz="800" spc="35" dirty="0">
                  <a:solidFill>
                    <a:srgbClr val="005DB8"/>
                  </a:solidFill>
                  <a:cs typeface="Times New Roman"/>
                </a:rPr>
                <a:t>c</a:t>
              </a:r>
              <a:r>
                <a:rPr sz="800" spc="-10" dirty="0">
                  <a:solidFill>
                    <a:srgbClr val="005DB8"/>
                  </a:solidFill>
                  <a:cs typeface="Times New Roman"/>
                </a:rPr>
                <a:t>l</a:t>
              </a:r>
              <a:r>
                <a:rPr sz="800" spc="85" dirty="0">
                  <a:solidFill>
                    <a:srgbClr val="005DB8"/>
                  </a:solidFill>
                  <a:cs typeface="Times New Roman"/>
                </a:rPr>
                <a:t>e</a:t>
              </a:r>
              <a:r>
                <a:rPr sz="800" spc="90" dirty="0">
                  <a:solidFill>
                    <a:srgbClr val="005DB8"/>
                  </a:solidFill>
                  <a:cs typeface="Times New Roman"/>
                </a:rPr>
                <a:t>s</a:t>
              </a:r>
              <a:endParaRPr sz="800">
                <a:cs typeface="Times New Roman"/>
              </a:endParaRPr>
            </a:p>
          </p:txBody>
        </p:sp>
        <p:sp>
          <p:nvSpPr>
            <p:cNvPr id="271" name="object 254"/>
            <p:cNvSpPr/>
            <p:nvPr/>
          </p:nvSpPr>
          <p:spPr>
            <a:xfrm>
              <a:off x="9662542" y="2465349"/>
              <a:ext cx="245745" cy="0"/>
            </a:xfrm>
            <a:custGeom>
              <a:avLst/>
              <a:gdLst/>
              <a:ahLst/>
              <a:cxnLst/>
              <a:rect l="l" t="t" r="r" b="b"/>
              <a:pathLst>
                <a:path w="245745">
                  <a:moveTo>
                    <a:pt x="0" y="0"/>
                  </a:moveTo>
                  <a:lnTo>
                    <a:pt x="245363" y="0"/>
                  </a:lnTo>
                </a:path>
              </a:pathLst>
            </a:custGeom>
            <a:ln w="15240">
              <a:solidFill>
                <a:srgbClr val="005DB8"/>
              </a:solidFill>
            </a:ln>
          </p:spPr>
          <p:txBody>
            <a:bodyPr wrap="square" lIns="0" tIns="0" rIns="0" bIns="0" rtlCol="0"/>
            <a:lstStyle/>
            <a:p>
              <a:endParaRPr/>
            </a:p>
          </p:txBody>
        </p:sp>
        <p:sp>
          <p:nvSpPr>
            <p:cNvPr id="272" name="object 255"/>
            <p:cNvSpPr/>
            <p:nvPr/>
          </p:nvSpPr>
          <p:spPr>
            <a:xfrm>
              <a:off x="9674734" y="2482112"/>
              <a:ext cx="64135" cy="27940"/>
            </a:xfrm>
            <a:custGeom>
              <a:avLst/>
              <a:gdLst/>
              <a:ahLst/>
              <a:cxnLst/>
              <a:rect l="l" t="t" r="r" b="b"/>
              <a:pathLst>
                <a:path w="64134" h="27939">
                  <a:moveTo>
                    <a:pt x="0" y="27432"/>
                  </a:moveTo>
                  <a:lnTo>
                    <a:pt x="0" y="0"/>
                  </a:lnTo>
                  <a:lnTo>
                    <a:pt x="64008" y="0"/>
                  </a:lnTo>
                  <a:lnTo>
                    <a:pt x="45719" y="27432"/>
                  </a:lnTo>
                  <a:lnTo>
                    <a:pt x="0" y="27432"/>
                  </a:lnTo>
                  <a:close/>
                </a:path>
              </a:pathLst>
            </a:custGeom>
            <a:solidFill>
              <a:srgbClr val="005DB8"/>
            </a:solidFill>
          </p:spPr>
          <p:txBody>
            <a:bodyPr wrap="square" lIns="0" tIns="0" rIns="0" bIns="0" rtlCol="0"/>
            <a:lstStyle/>
            <a:p>
              <a:endParaRPr/>
            </a:p>
          </p:txBody>
        </p:sp>
        <p:sp>
          <p:nvSpPr>
            <p:cNvPr id="273" name="object 256"/>
            <p:cNvSpPr/>
            <p:nvPr/>
          </p:nvSpPr>
          <p:spPr>
            <a:xfrm>
              <a:off x="9828658" y="2482112"/>
              <a:ext cx="68580" cy="27940"/>
            </a:xfrm>
            <a:custGeom>
              <a:avLst/>
              <a:gdLst/>
              <a:ahLst/>
              <a:cxnLst/>
              <a:rect l="l" t="t" r="r" b="b"/>
              <a:pathLst>
                <a:path w="68579" h="27939">
                  <a:moveTo>
                    <a:pt x="0" y="0"/>
                  </a:moveTo>
                  <a:lnTo>
                    <a:pt x="68580" y="0"/>
                  </a:lnTo>
                  <a:lnTo>
                    <a:pt x="68580" y="27432"/>
                  </a:lnTo>
                  <a:lnTo>
                    <a:pt x="19812" y="27432"/>
                  </a:lnTo>
                  <a:lnTo>
                    <a:pt x="0" y="0"/>
                  </a:lnTo>
                  <a:close/>
                </a:path>
              </a:pathLst>
            </a:custGeom>
            <a:solidFill>
              <a:srgbClr val="005DB8"/>
            </a:solidFill>
          </p:spPr>
          <p:txBody>
            <a:bodyPr wrap="square" lIns="0" tIns="0" rIns="0" bIns="0" rtlCol="0"/>
            <a:lstStyle/>
            <a:p>
              <a:endParaRPr/>
            </a:p>
          </p:txBody>
        </p:sp>
        <p:sp>
          <p:nvSpPr>
            <p:cNvPr id="274" name="object 257"/>
            <p:cNvSpPr/>
            <p:nvPr/>
          </p:nvSpPr>
          <p:spPr>
            <a:xfrm>
              <a:off x="9685402" y="2408960"/>
              <a:ext cx="198120" cy="55244"/>
            </a:xfrm>
            <a:custGeom>
              <a:avLst/>
              <a:gdLst/>
              <a:ahLst/>
              <a:cxnLst/>
              <a:rect l="l" t="t" r="r" b="b"/>
              <a:pathLst>
                <a:path w="198120" h="55245">
                  <a:moveTo>
                    <a:pt x="0" y="54863"/>
                  </a:moveTo>
                  <a:lnTo>
                    <a:pt x="38099" y="0"/>
                  </a:lnTo>
                  <a:lnTo>
                    <a:pt x="163067" y="0"/>
                  </a:lnTo>
                  <a:lnTo>
                    <a:pt x="198119" y="54863"/>
                  </a:lnTo>
                  <a:lnTo>
                    <a:pt x="181355" y="54863"/>
                  </a:lnTo>
                  <a:lnTo>
                    <a:pt x="181355" y="42671"/>
                  </a:lnTo>
                  <a:lnTo>
                    <a:pt x="156971" y="9143"/>
                  </a:lnTo>
                  <a:lnTo>
                    <a:pt x="44195" y="9143"/>
                  </a:lnTo>
                  <a:lnTo>
                    <a:pt x="18287" y="42671"/>
                  </a:lnTo>
                  <a:lnTo>
                    <a:pt x="18287" y="54863"/>
                  </a:lnTo>
                  <a:lnTo>
                    <a:pt x="0" y="54863"/>
                  </a:lnTo>
                  <a:close/>
                </a:path>
                <a:path w="198120" h="55245">
                  <a:moveTo>
                    <a:pt x="18287" y="54863"/>
                  </a:moveTo>
                  <a:lnTo>
                    <a:pt x="18287" y="42671"/>
                  </a:lnTo>
                  <a:lnTo>
                    <a:pt x="181355" y="42671"/>
                  </a:lnTo>
                  <a:lnTo>
                    <a:pt x="181355" y="54863"/>
                  </a:lnTo>
                  <a:lnTo>
                    <a:pt x="18287" y="54863"/>
                  </a:lnTo>
                  <a:close/>
                </a:path>
              </a:pathLst>
            </a:custGeom>
            <a:solidFill>
              <a:srgbClr val="005DB8"/>
            </a:solidFill>
          </p:spPr>
          <p:txBody>
            <a:bodyPr wrap="square" lIns="0" tIns="0" rIns="0" bIns="0" rtlCol="0"/>
            <a:lstStyle/>
            <a:p>
              <a:endParaRPr/>
            </a:p>
          </p:txBody>
        </p:sp>
        <p:sp>
          <p:nvSpPr>
            <p:cNvPr id="275" name="object 258"/>
            <p:cNvSpPr/>
            <p:nvPr/>
          </p:nvSpPr>
          <p:spPr>
            <a:xfrm>
              <a:off x="9907398" y="2468397"/>
              <a:ext cx="0" cy="55244"/>
            </a:xfrm>
            <a:custGeom>
              <a:avLst/>
              <a:gdLst/>
              <a:ahLst/>
              <a:cxnLst/>
              <a:rect l="l" t="t" r="r" b="b"/>
              <a:pathLst>
                <a:path h="55245">
                  <a:moveTo>
                    <a:pt x="0" y="0"/>
                  </a:moveTo>
                  <a:lnTo>
                    <a:pt x="0" y="54863"/>
                  </a:lnTo>
                </a:path>
              </a:pathLst>
            </a:custGeom>
            <a:ln w="10159">
              <a:solidFill>
                <a:srgbClr val="005DB8"/>
              </a:solidFill>
            </a:ln>
          </p:spPr>
          <p:txBody>
            <a:bodyPr wrap="square" lIns="0" tIns="0" rIns="0" bIns="0" rtlCol="0"/>
            <a:lstStyle/>
            <a:p>
              <a:endParaRPr/>
            </a:p>
          </p:txBody>
        </p:sp>
        <p:sp>
          <p:nvSpPr>
            <p:cNvPr id="276" name="object 259"/>
            <p:cNvSpPr/>
            <p:nvPr/>
          </p:nvSpPr>
          <p:spPr>
            <a:xfrm>
              <a:off x="9666098" y="2473730"/>
              <a:ext cx="236220" cy="0"/>
            </a:xfrm>
            <a:custGeom>
              <a:avLst/>
              <a:gdLst/>
              <a:ahLst/>
              <a:cxnLst/>
              <a:rect l="l" t="t" r="r" b="b"/>
              <a:pathLst>
                <a:path w="236220">
                  <a:moveTo>
                    <a:pt x="0" y="0"/>
                  </a:moveTo>
                  <a:lnTo>
                    <a:pt x="236220" y="0"/>
                  </a:lnTo>
                </a:path>
              </a:pathLst>
            </a:custGeom>
            <a:ln w="10667">
              <a:solidFill>
                <a:srgbClr val="005DB8"/>
              </a:solidFill>
            </a:ln>
          </p:spPr>
          <p:txBody>
            <a:bodyPr wrap="square" lIns="0" tIns="0" rIns="0" bIns="0" rtlCol="0"/>
            <a:lstStyle/>
            <a:p>
              <a:endParaRPr/>
            </a:p>
          </p:txBody>
        </p:sp>
        <p:sp>
          <p:nvSpPr>
            <p:cNvPr id="277" name="object 260"/>
            <p:cNvSpPr/>
            <p:nvPr/>
          </p:nvSpPr>
          <p:spPr>
            <a:xfrm>
              <a:off x="9662288" y="2468397"/>
              <a:ext cx="0" cy="55244"/>
            </a:xfrm>
            <a:custGeom>
              <a:avLst/>
              <a:gdLst/>
              <a:ahLst/>
              <a:cxnLst/>
              <a:rect l="l" t="t" r="r" b="b"/>
              <a:pathLst>
                <a:path h="55245">
                  <a:moveTo>
                    <a:pt x="0" y="0"/>
                  </a:moveTo>
                  <a:lnTo>
                    <a:pt x="0" y="54863"/>
                  </a:lnTo>
                </a:path>
              </a:pathLst>
            </a:custGeom>
            <a:ln w="7620">
              <a:solidFill>
                <a:srgbClr val="005DB8"/>
              </a:solidFill>
            </a:ln>
          </p:spPr>
          <p:txBody>
            <a:bodyPr wrap="square" lIns="0" tIns="0" rIns="0" bIns="0" rtlCol="0"/>
            <a:lstStyle/>
            <a:p>
              <a:endParaRPr/>
            </a:p>
          </p:txBody>
        </p:sp>
        <p:sp>
          <p:nvSpPr>
            <p:cNvPr id="278" name="object 261"/>
            <p:cNvSpPr/>
            <p:nvPr/>
          </p:nvSpPr>
          <p:spPr>
            <a:xfrm>
              <a:off x="9665590" y="2517164"/>
              <a:ext cx="236220" cy="0"/>
            </a:xfrm>
            <a:custGeom>
              <a:avLst/>
              <a:gdLst/>
              <a:ahLst/>
              <a:cxnLst/>
              <a:rect l="l" t="t" r="r" b="b"/>
              <a:pathLst>
                <a:path w="236220">
                  <a:moveTo>
                    <a:pt x="0" y="0"/>
                  </a:moveTo>
                  <a:lnTo>
                    <a:pt x="236220" y="0"/>
                  </a:lnTo>
                </a:path>
              </a:pathLst>
            </a:custGeom>
            <a:ln w="12191">
              <a:solidFill>
                <a:srgbClr val="005DB8"/>
              </a:solidFill>
            </a:ln>
          </p:spPr>
          <p:txBody>
            <a:bodyPr wrap="square" lIns="0" tIns="0" rIns="0" bIns="0" rtlCol="0"/>
            <a:lstStyle/>
            <a:p>
              <a:endParaRPr/>
            </a:p>
          </p:txBody>
        </p:sp>
        <p:sp>
          <p:nvSpPr>
            <p:cNvPr id="279" name="object 262"/>
            <p:cNvSpPr/>
            <p:nvPr/>
          </p:nvSpPr>
          <p:spPr>
            <a:xfrm>
              <a:off x="9708262" y="2536976"/>
              <a:ext cx="158750" cy="0"/>
            </a:xfrm>
            <a:custGeom>
              <a:avLst/>
              <a:gdLst/>
              <a:ahLst/>
              <a:cxnLst/>
              <a:rect l="l" t="t" r="r" b="b"/>
              <a:pathLst>
                <a:path w="158750">
                  <a:moveTo>
                    <a:pt x="0" y="0"/>
                  </a:moveTo>
                  <a:lnTo>
                    <a:pt x="158495" y="0"/>
                  </a:lnTo>
                </a:path>
              </a:pathLst>
            </a:custGeom>
            <a:ln w="21336">
              <a:solidFill>
                <a:srgbClr val="005DB8"/>
              </a:solidFill>
            </a:ln>
          </p:spPr>
          <p:txBody>
            <a:bodyPr wrap="square" lIns="0" tIns="0" rIns="0" bIns="0" rtlCol="0"/>
            <a:lstStyle/>
            <a:p>
              <a:endParaRPr/>
            </a:p>
          </p:txBody>
        </p:sp>
        <p:sp>
          <p:nvSpPr>
            <p:cNvPr id="280" name="object 263"/>
            <p:cNvSpPr/>
            <p:nvPr/>
          </p:nvSpPr>
          <p:spPr>
            <a:xfrm>
              <a:off x="9657970" y="2549168"/>
              <a:ext cx="33655" cy="0"/>
            </a:xfrm>
            <a:custGeom>
              <a:avLst/>
              <a:gdLst/>
              <a:ahLst/>
              <a:cxnLst/>
              <a:rect l="l" t="t" r="r" b="b"/>
              <a:pathLst>
                <a:path w="33654">
                  <a:moveTo>
                    <a:pt x="0" y="0"/>
                  </a:moveTo>
                  <a:lnTo>
                    <a:pt x="33528" y="0"/>
                  </a:lnTo>
                </a:path>
              </a:pathLst>
            </a:custGeom>
            <a:ln w="45720">
              <a:solidFill>
                <a:srgbClr val="005DB8"/>
              </a:solidFill>
            </a:ln>
          </p:spPr>
          <p:txBody>
            <a:bodyPr wrap="square" lIns="0" tIns="0" rIns="0" bIns="0" rtlCol="0"/>
            <a:lstStyle/>
            <a:p>
              <a:endParaRPr/>
            </a:p>
          </p:txBody>
        </p:sp>
        <p:sp>
          <p:nvSpPr>
            <p:cNvPr id="281" name="object 264"/>
            <p:cNvSpPr/>
            <p:nvPr/>
          </p:nvSpPr>
          <p:spPr>
            <a:xfrm>
              <a:off x="9878950" y="2552979"/>
              <a:ext cx="35560" cy="0"/>
            </a:xfrm>
            <a:custGeom>
              <a:avLst/>
              <a:gdLst/>
              <a:ahLst/>
              <a:cxnLst/>
              <a:rect l="l" t="t" r="r" b="b"/>
              <a:pathLst>
                <a:path w="35559">
                  <a:moveTo>
                    <a:pt x="0" y="0"/>
                  </a:moveTo>
                  <a:lnTo>
                    <a:pt x="35052" y="0"/>
                  </a:lnTo>
                </a:path>
              </a:pathLst>
            </a:custGeom>
            <a:ln w="44196">
              <a:solidFill>
                <a:srgbClr val="005DB8"/>
              </a:solidFill>
            </a:ln>
          </p:spPr>
          <p:txBody>
            <a:bodyPr wrap="square" lIns="0" tIns="0" rIns="0" bIns="0" rtlCol="0"/>
            <a:lstStyle/>
            <a:p>
              <a:endParaRPr/>
            </a:p>
          </p:txBody>
        </p:sp>
        <p:sp>
          <p:nvSpPr>
            <p:cNvPr id="282" name="object 265"/>
            <p:cNvSpPr/>
            <p:nvPr/>
          </p:nvSpPr>
          <p:spPr>
            <a:xfrm>
              <a:off x="9633586" y="2447061"/>
              <a:ext cx="40005" cy="0"/>
            </a:xfrm>
            <a:custGeom>
              <a:avLst/>
              <a:gdLst/>
              <a:ahLst/>
              <a:cxnLst/>
              <a:rect l="l" t="t" r="r" b="b"/>
              <a:pathLst>
                <a:path w="40004">
                  <a:moveTo>
                    <a:pt x="0" y="0"/>
                  </a:moveTo>
                  <a:lnTo>
                    <a:pt x="39624" y="0"/>
                  </a:lnTo>
                </a:path>
              </a:pathLst>
            </a:custGeom>
            <a:ln w="24383">
              <a:solidFill>
                <a:srgbClr val="005DB8"/>
              </a:solidFill>
            </a:ln>
          </p:spPr>
          <p:txBody>
            <a:bodyPr wrap="square" lIns="0" tIns="0" rIns="0" bIns="0" rtlCol="0"/>
            <a:lstStyle/>
            <a:p>
              <a:endParaRPr/>
            </a:p>
          </p:txBody>
        </p:sp>
        <p:sp>
          <p:nvSpPr>
            <p:cNvPr id="283" name="object 266"/>
            <p:cNvSpPr/>
            <p:nvPr/>
          </p:nvSpPr>
          <p:spPr>
            <a:xfrm>
              <a:off x="9892666" y="2447061"/>
              <a:ext cx="40005" cy="0"/>
            </a:xfrm>
            <a:custGeom>
              <a:avLst/>
              <a:gdLst/>
              <a:ahLst/>
              <a:cxnLst/>
              <a:rect l="l" t="t" r="r" b="b"/>
              <a:pathLst>
                <a:path w="40004">
                  <a:moveTo>
                    <a:pt x="0" y="0"/>
                  </a:moveTo>
                  <a:lnTo>
                    <a:pt x="39624" y="0"/>
                  </a:lnTo>
                </a:path>
              </a:pathLst>
            </a:custGeom>
            <a:ln w="24383">
              <a:solidFill>
                <a:srgbClr val="005DB8"/>
              </a:solidFill>
            </a:ln>
          </p:spPr>
          <p:txBody>
            <a:bodyPr wrap="square" lIns="0" tIns="0" rIns="0" bIns="0" rtlCol="0"/>
            <a:lstStyle/>
            <a:p>
              <a:endParaRPr/>
            </a:p>
          </p:txBody>
        </p:sp>
        <p:sp>
          <p:nvSpPr>
            <p:cNvPr id="284" name="object 267"/>
            <p:cNvSpPr/>
            <p:nvPr/>
          </p:nvSpPr>
          <p:spPr>
            <a:xfrm>
              <a:off x="8484490" y="2302281"/>
              <a:ext cx="960119" cy="376555"/>
            </a:xfrm>
            <a:custGeom>
              <a:avLst/>
              <a:gdLst/>
              <a:ahLst/>
              <a:cxnLst/>
              <a:rect l="l" t="t" r="r" b="b"/>
              <a:pathLst>
                <a:path w="960120" h="376554">
                  <a:moveTo>
                    <a:pt x="0" y="281939"/>
                  </a:moveTo>
                  <a:lnTo>
                    <a:pt x="0" y="94487"/>
                  </a:lnTo>
                  <a:lnTo>
                    <a:pt x="27813" y="27241"/>
                  </a:lnTo>
                  <a:lnTo>
                    <a:pt x="94487" y="0"/>
                  </a:lnTo>
                  <a:lnTo>
                    <a:pt x="865631" y="0"/>
                  </a:lnTo>
                  <a:lnTo>
                    <a:pt x="902898" y="7262"/>
                  </a:lnTo>
                  <a:lnTo>
                    <a:pt x="932878" y="27241"/>
                  </a:lnTo>
                  <a:lnTo>
                    <a:pt x="952857" y="57221"/>
                  </a:lnTo>
                  <a:lnTo>
                    <a:pt x="960120" y="94487"/>
                  </a:lnTo>
                  <a:lnTo>
                    <a:pt x="960120" y="281939"/>
                  </a:lnTo>
                  <a:lnTo>
                    <a:pt x="932878" y="348615"/>
                  </a:lnTo>
                  <a:lnTo>
                    <a:pt x="865631"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285" name="object 268"/>
            <p:cNvSpPr txBox="1"/>
            <p:nvPr/>
          </p:nvSpPr>
          <p:spPr>
            <a:xfrm>
              <a:off x="9038654" y="2423151"/>
              <a:ext cx="154940" cy="123111"/>
            </a:xfrm>
            <a:prstGeom prst="rect">
              <a:avLst/>
            </a:prstGeom>
          </p:spPr>
          <p:txBody>
            <a:bodyPr vert="horz" wrap="square" lIns="0" tIns="0" rIns="0" bIns="0" rtlCol="0">
              <a:spAutoFit/>
            </a:bodyPr>
            <a:lstStyle/>
            <a:p>
              <a:pPr marL="12700">
                <a:lnSpc>
                  <a:spcPct val="100000"/>
                </a:lnSpc>
              </a:pPr>
              <a:r>
                <a:rPr sz="800" spc="35" dirty="0">
                  <a:solidFill>
                    <a:srgbClr val="005DB8"/>
                  </a:solidFill>
                  <a:cs typeface="Times New Roman"/>
                </a:rPr>
                <a:t>P</a:t>
              </a:r>
              <a:r>
                <a:rPr sz="800" dirty="0">
                  <a:solidFill>
                    <a:srgbClr val="005DB8"/>
                  </a:solidFill>
                  <a:cs typeface="Times New Roman"/>
                </a:rPr>
                <a:t>C</a:t>
              </a:r>
              <a:endParaRPr sz="800">
                <a:cs typeface="Times New Roman"/>
              </a:endParaRPr>
            </a:p>
          </p:txBody>
        </p:sp>
        <p:sp>
          <p:nvSpPr>
            <p:cNvPr id="286" name="object 269"/>
            <p:cNvSpPr/>
            <p:nvPr/>
          </p:nvSpPr>
          <p:spPr>
            <a:xfrm>
              <a:off x="8664322" y="2384576"/>
              <a:ext cx="251460" cy="155575"/>
            </a:xfrm>
            <a:custGeom>
              <a:avLst/>
              <a:gdLst/>
              <a:ahLst/>
              <a:cxnLst/>
              <a:rect l="l" t="t" r="r" b="b"/>
              <a:pathLst>
                <a:path w="251459" h="155575">
                  <a:moveTo>
                    <a:pt x="0" y="155448"/>
                  </a:moveTo>
                  <a:lnTo>
                    <a:pt x="0" y="4572"/>
                  </a:lnTo>
                  <a:lnTo>
                    <a:pt x="4571" y="0"/>
                  </a:lnTo>
                  <a:lnTo>
                    <a:pt x="243839" y="0"/>
                  </a:lnTo>
                  <a:lnTo>
                    <a:pt x="251459" y="4571"/>
                  </a:lnTo>
                  <a:lnTo>
                    <a:pt x="251459" y="155448"/>
                  </a:lnTo>
                  <a:lnTo>
                    <a:pt x="233171" y="155448"/>
                  </a:lnTo>
                  <a:lnTo>
                    <a:pt x="233171" y="19812"/>
                  </a:lnTo>
                  <a:lnTo>
                    <a:pt x="19811" y="19812"/>
                  </a:lnTo>
                  <a:lnTo>
                    <a:pt x="19811" y="155448"/>
                  </a:lnTo>
                  <a:lnTo>
                    <a:pt x="0" y="155448"/>
                  </a:lnTo>
                  <a:close/>
                </a:path>
                <a:path w="251459" h="155575">
                  <a:moveTo>
                    <a:pt x="19811" y="155448"/>
                  </a:moveTo>
                  <a:lnTo>
                    <a:pt x="19811" y="135636"/>
                  </a:lnTo>
                  <a:lnTo>
                    <a:pt x="233171" y="135636"/>
                  </a:lnTo>
                  <a:lnTo>
                    <a:pt x="233171" y="155448"/>
                  </a:lnTo>
                  <a:lnTo>
                    <a:pt x="19811" y="155448"/>
                  </a:lnTo>
                  <a:close/>
                </a:path>
              </a:pathLst>
            </a:custGeom>
            <a:solidFill>
              <a:srgbClr val="005DB8"/>
            </a:solidFill>
          </p:spPr>
          <p:txBody>
            <a:bodyPr wrap="square" lIns="0" tIns="0" rIns="0" bIns="0" rtlCol="0"/>
            <a:lstStyle/>
            <a:p>
              <a:endParaRPr/>
            </a:p>
          </p:txBody>
        </p:sp>
        <p:sp>
          <p:nvSpPr>
            <p:cNvPr id="287" name="object 270"/>
            <p:cNvSpPr/>
            <p:nvPr/>
          </p:nvSpPr>
          <p:spPr>
            <a:xfrm>
              <a:off x="8664322" y="2541549"/>
              <a:ext cx="251460" cy="26034"/>
            </a:xfrm>
            <a:custGeom>
              <a:avLst/>
              <a:gdLst/>
              <a:ahLst/>
              <a:cxnLst/>
              <a:rect l="l" t="t" r="r" b="b"/>
              <a:pathLst>
                <a:path w="251459" h="26035">
                  <a:moveTo>
                    <a:pt x="0" y="21336"/>
                  </a:moveTo>
                  <a:lnTo>
                    <a:pt x="0" y="0"/>
                  </a:lnTo>
                  <a:lnTo>
                    <a:pt x="251459" y="0"/>
                  </a:lnTo>
                  <a:lnTo>
                    <a:pt x="251459" y="21336"/>
                  </a:lnTo>
                  <a:lnTo>
                    <a:pt x="243839" y="25908"/>
                  </a:lnTo>
                  <a:lnTo>
                    <a:pt x="4571" y="25908"/>
                  </a:lnTo>
                  <a:lnTo>
                    <a:pt x="0" y="21336"/>
                  </a:lnTo>
                  <a:close/>
                </a:path>
              </a:pathLst>
            </a:custGeom>
            <a:solidFill>
              <a:srgbClr val="005DB8"/>
            </a:solidFill>
          </p:spPr>
          <p:txBody>
            <a:bodyPr wrap="square" lIns="0" tIns="0" rIns="0" bIns="0" rtlCol="0"/>
            <a:lstStyle/>
            <a:p>
              <a:endParaRPr/>
            </a:p>
          </p:txBody>
        </p:sp>
        <p:sp>
          <p:nvSpPr>
            <p:cNvPr id="288" name="object 271"/>
            <p:cNvSpPr/>
            <p:nvPr/>
          </p:nvSpPr>
          <p:spPr>
            <a:xfrm>
              <a:off x="8732902" y="2567456"/>
              <a:ext cx="114300" cy="29209"/>
            </a:xfrm>
            <a:custGeom>
              <a:avLst/>
              <a:gdLst/>
              <a:ahLst/>
              <a:cxnLst/>
              <a:rect l="l" t="t" r="r" b="b"/>
              <a:pathLst>
                <a:path w="114300" h="29210">
                  <a:moveTo>
                    <a:pt x="0" y="28956"/>
                  </a:moveTo>
                  <a:lnTo>
                    <a:pt x="0" y="24384"/>
                  </a:lnTo>
                  <a:lnTo>
                    <a:pt x="3047" y="24384"/>
                  </a:lnTo>
                  <a:lnTo>
                    <a:pt x="9024" y="24812"/>
                  </a:lnTo>
                  <a:lnTo>
                    <a:pt x="17716" y="24384"/>
                  </a:lnTo>
                  <a:lnTo>
                    <a:pt x="25550" y="20526"/>
                  </a:lnTo>
                  <a:lnTo>
                    <a:pt x="28955" y="10668"/>
                  </a:lnTo>
                  <a:lnTo>
                    <a:pt x="28955" y="0"/>
                  </a:lnTo>
                  <a:lnTo>
                    <a:pt x="86867" y="0"/>
                  </a:lnTo>
                  <a:lnTo>
                    <a:pt x="86867" y="10668"/>
                  </a:lnTo>
                  <a:lnTo>
                    <a:pt x="90463" y="20526"/>
                  </a:lnTo>
                  <a:lnTo>
                    <a:pt x="98488" y="24384"/>
                  </a:lnTo>
                  <a:lnTo>
                    <a:pt x="106799" y="24812"/>
                  </a:lnTo>
                  <a:lnTo>
                    <a:pt x="111251" y="24384"/>
                  </a:lnTo>
                  <a:lnTo>
                    <a:pt x="114299" y="24384"/>
                  </a:lnTo>
                  <a:lnTo>
                    <a:pt x="114299" y="28956"/>
                  </a:lnTo>
                  <a:lnTo>
                    <a:pt x="0" y="28956"/>
                  </a:lnTo>
                  <a:close/>
                </a:path>
              </a:pathLst>
            </a:custGeom>
            <a:solidFill>
              <a:srgbClr val="005DB8"/>
            </a:solidFill>
          </p:spPr>
          <p:txBody>
            <a:bodyPr wrap="square" lIns="0" tIns="0" rIns="0" bIns="0" rtlCol="0"/>
            <a:lstStyle/>
            <a:p>
              <a:endParaRPr/>
            </a:p>
          </p:txBody>
        </p:sp>
        <p:sp>
          <p:nvSpPr>
            <p:cNvPr id="289" name="object 272"/>
            <p:cNvSpPr/>
            <p:nvPr/>
          </p:nvSpPr>
          <p:spPr>
            <a:xfrm>
              <a:off x="7414642" y="2302281"/>
              <a:ext cx="960119" cy="376555"/>
            </a:xfrm>
            <a:custGeom>
              <a:avLst/>
              <a:gdLst/>
              <a:ahLst/>
              <a:cxnLst/>
              <a:rect l="l" t="t" r="r" b="b"/>
              <a:pathLst>
                <a:path w="960120" h="376554">
                  <a:moveTo>
                    <a:pt x="0" y="281939"/>
                  </a:moveTo>
                  <a:lnTo>
                    <a:pt x="0" y="94487"/>
                  </a:lnTo>
                  <a:lnTo>
                    <a:pt x="27813" y="27241"/>
                  </a:lnTo>
                  <a:lnTo>
                    <a:pt x="94487" y="0"/>
                  </a:lnTo>
                  <a:lnTo>
                    <a:pt x="865631" y="0"/>
                  </a:lnTo>
                  <a:lnTo>
                    <a:pt x="902898" y="7262"/>
                  </a:lnTo>
                  <a:lnTo>
                    <a:pt x="932878" y="27241"/>
                  </a:lnTo>
                  <a:lnTo>
                    <a:pt x="952857" y="57221"/>
                  </a:lnTo>
                  <a:lnTo>
                    <a:pt x="960120" y="94487"/>
                  </a:lnTo>
                  <a:lnTo>
                    <a:pt x="960120" y="281939"/>
                  </a:lnTo>
                  <a:lnTo>
                    <a:pt x="932878" y="348615"/>
                  </a:lnTo>
                  <a:lnTo>
                    <a:pt x="865631"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290" name="object 273"/>
            <p:cNvSpPr txBox="1"/>
            <p:nvPr/>
          </p:nvSpPr>
          <p:spPr>
            <a:xfrm>
              <a:off x="7834747" y="2362193"/>
              <a:ext cx="419734" cy="246221"/>
            </a:xfrm>
            <a:prstGeom prst="rect">
              <a:avLst/>
            </a:prstGeom>
          </p:spPr>
          <p:txBody>
            <a:bodyPr vert="horz" wrap="square" lIns="0" tIns="0" rIns="0" bIns="0" rtlCol="0">
              <a:spAutoFit/>
            </a:bodyPr>
            <a:lstStyle/>
            <a:p>
              <a:pPr marL="12700" marR="5080">
                <a:lnSpc>
                  <a:spcPct val="100000"/>
                </a:lnSpc>
              </a:pPr>
              <a:r>
                <a:rPr sz="800" spc="35" dirty="0">
                  <a:solidFill>
                    <a:srgbClr val="005DB8"/>
                  </a:solidFill>
                  <a:cs typeface="Times New Roman"/>
                </a:rPr>
                <a:t>Digital  </a:t>
              </a:r>
              <a:r>
                <a:rPr sz="800" spc="90" dirty="0">
                  <a:solidFill>
                    <a:srgbClr val="005DB8"/>
                  </a:solidFill>
                  <a:cs typeface="Times New Roman"/>
                </a:rPr>
                <a:t>S</a:t>
              </a:r>
              <a:r>
                <a:rPr sz="800" spc="-10" dirty="0">
                  <a:solidFill>
                    <a:srgbClr val="005DB8"/>
                  </a:solidFill>
                  <a:cs typeface="Times New Roman"/>
                </a:rPr>
                <a:t>i</a:t>
              </a:r>
              <a:r>
                <a:rPr sz="800" spc="85" dirty="0">
                  <a:solidFill>
                    <a:srgbClr val="005DB8"/>
                  </a:solidFill>
                  <a:cs typeface="Times New Roman"/>
                </a:rPr>
                <a:t>g</a:t>
              </a:r>
              <a:r>
                <a:rPr sz="800" spc="80" dirty="0">
                  <a:solidFill>
                    <a:srgbClr val="005DB8"/>
                  </a:solidFill>
                  <a:cs typeface="Times New Roman"/>
                </a:rPr>
                <a:t>n</a:t>
              </a:r>
              <a:r>
                <a:rPr sz="800" spc="85" dirty="0">
                  <a:solidFill>
                    <a:srgbClr val="005DB8"/>
                  </a:solidFill>
                  <a:cs typeface="Times New Roman"/>
                </a:rPr>
                <a:t>a</a:t>
              </a:r>
              <a:r>
                <a:rPr sz="800" spc="80" dirty="0">
                  <a:solidFill>
                    <a:srgbClr val="005DB8"/>
                  </a:solidFill>
                  <a:cs typeface="Times New Roman"/>
                </a:rPr>
                <a:t>g</a:t>
              </a:r>
              <a:r>
                <a:rPr sz="800" spc="90" dirty="0">
                  <a:solidFill>
                    <a:srgbClr val="005DB8"/>
                  </a:solidFill>
                  <a:cs typeface="Times New Roman"/>
                </a:rPr>
                <a:t>e</a:t>
              </a:r>
              <a:endParaRPr sz="800">
                <a:cs typeface="Times New Roman"/>
              </a:endParaRPr>
            </a:p>
          </p:txBody>
        </p:sp>
        <p:sp>
          <p:nvSpPr>
            <p:cNvPr id="291" name="object 274"/>
            <p:cNvSpPr/>
            <p:nvPr/>
          </p:nvSpPr>
          <p:spPr>
            <a:xfrm>
              <a:off x="7744461" y="2402864"/>
              <a:ext cx="0" cy="175260"/>
            </a:xfrm>
            <a:custGeom>
              <a:avLst/>
              <a:gdLst/>
              <a:ahLst/>
              <a:cxnLst/>
              <a:rect l="l" t="t" r="r" b="b"/>
              <a:pathLst>
                <a:path h="175260">
                  <a:moveTo>
                    <a:pt x="0" y="0"/>
                  </a:moveTo>
                  <a:lnTo>
                    <a:pt x="0" y="175260"/>
                  </a:lnTo>
                </a:path>
              </a:pathLst>
            </a:custGeom>
            <a:ln w="16510">
              <a:solidFill>
                <a:srgbClr val="005DB8"/>
              </a:solidFill>
            </a:ln>
          </p:spPr>
          <p:txBody>
            <a:bodyPr wrap="square" lIns="0" tIns="0" rIns="0" bIns="0" rtlCol="0"/>
            <a:lstStyle/>
            <a:p>
              <a:endParaRPr/>
            </a:p>
          </p:txBody>
        </p:sp>
        <p:sp>
          <p:nvSpPr>
            <p:cNvPr id="292" name="object 275"/>
            <p:cNvSpPr/>
            <p:nvPr/>
          </p:nvSpPr>
          <p:spPr>
            <a:xfrm>
              <a:off x="7705726" y="2419629"/>
              <a:ext cx="30480" cy="0"/>
            </a:xfrm>
            <a:custGeom>
              <a:avLst/>
              <a:gdLst/>
              <a:ahLst/>
              <a:cxnLst/>
              <a:rect l="l" t="t" r="r" b="b"/>
              <a:pathLst>
                <a:path w="30479">
                  <a:moveTo>
                    <a:pt x="0" y="0"/>
                  </a:moveTo>
                  <a:lnTo>
                    <a:pt x="30479" y="0"/>
                  </a:lnTo>
                </a:path>
              </a:pathLst>
            </a:custGeom>
            <a:ln w="33527">
              <a:solidFill>
                <a:srgbClr val="005DB8"/>
              </a:solidFill>
            </a:ln>
          </p:spPr>
          <p:txBody>
            <a:bodyPr wrap="square" lIns="0" tIns="0" rIns="0" bIns="0" rtlCol="0"/>
            <a:lstStyle/>
            <a:p>
              <a:endParaRPr/>
            </a:p>
          </p:txBody>
        </p:sp>
        <p:sp>
          <p:nvSpPr>
            <p:cNvPr id="293" name="object 276"/>
            <p:cNvSpPr/>
            <p:nvPr/>
          </p:nvSpPr>
          <p:spPr>
            <a:xfrm>
              <a:off x="7695566" y="2402864"/>
              <a:ext cx="0" cy="175260"/>
            </a:xfrm>
            <a:custGeom>
              <a:avLst/>
              <a:gdLst/>
              <a:ahLst/>
              <a:cxnLst/>
              <a:rect l="l" t="t" r="r" b="b"/>
              <a:pathLst>
                <a:path h="175260">
                  <a:moveTo>
                    <a:pt x="0" y="0"/>
                  </a:moveTo>
                  <a:lnTo>
                    <a:pt x="0" y="175260"/>
                  </a:lnTo>
                </a:path>
              </a:pathLst>
            </a:custGeom>
            <a:ln w="20320">
              <a:solidFill>
                <a:srgbClr val="005DB8"/>
              </a:solidFill>
            </a:ln>
          </p:spPr>
          <p:txBody>
            <a:bodyPr wrap="square" lIns="0" tIns="0" rIns="0" bIns="0" rtlCol="0"/>
            <a:lstStyle/>
            <a:p>
              <a:endParaRPr/>
            </a:p>
          </p:txBody>
        </p:sp>
        <p:sp>
          <p:nvSpPr>
            <p:cNvPr id="294" name="object 277"/>
            <p:cNvSpPr/>
            <p:nvPr/>
          </p:nvSpPr>
          <p:spPr>
            <a:xfrm>
              <a:off x="7669531" y="2402864"/>
              <a:ext cx="0" cy="70485"/>
            </a:xfrm>
            <a:custGeom>
              <a:avLst/>
              <a:gdLst/>
              <a:ahLst/>
              <a:cxnLst/>
              <a:rect l="l" t="t" r="r" b="b"/>
              <a:pathLst>
                <a:path h="70485">
                  <a:moveTo>
                    <a:pt x="0" y="0"/>
                  </a:moveTo>
                  <a:lnTo>
                    <a:pt x="0" y="70104"/>
                  </a:lnTo>
                </a:path>
              </a:pathLst>
            </a:custGeom>
            <a:ln w="31750">
              <a:solidFill>
                <a:srgbClr val="005DB8"/>
              </a:solidFill>
            </a:ln>
          </p:spPr>
          <p:txBody>
            <a:bodyPr wrap="square" lIns="0" tIns="0" rIns="0" bIns="0" rtlCol="0"/>
            <a:lstStyle/>
            <a:p>
              <a:endParaRPr/>
            </a:p>
          </p:txBody>
        </p:sp>
        <p:sp>
          <p:nvSpPr>
            <p:cNvPr id="295" name="object 278"/>
            <p:cNvSpPr/>
            <p:nvPr/>
          </p:nvSpPr>
          <p:spPr>
            <a:xfrm>
              <a:off x="7645401" y="2402864"/>
              <a:ext cx="0" cy="175260"/>
            </a:xfrm>
            <a:custGeom>
              <a:avLst/>
              <a:gdLst/>
              <a:ahLst/>
              <a:cxnLst/>
              <a:rect l="l" t="t" r="r" b="b"/>
              <a:pathLst>
                <a:path h="175260">
                  <a:moveTo>
                    <a:pt x="0" y="0"/>
                  </a:moveTo>
                  <a:lnTo>
                    <a:pt x="0" y="175260"/>
                  </a:lnTo>
                </a:path>
              </a:pathLst>
            </a:custGeom>
            <a:ln w="16509">
              <a:solidFill>
                <a:srgbClr val="005DB8"/>
              </a:solidFill>
            </a:ln>
          </p:spPr>
          <p:txBody>
            <a:bodyPr wrap="square" lIns="0" tIns="0" rIns="0" bIns="0" rtlCol="0"/>
            <a:lstStyle/>
            <a:p>
              <a:endParaRPr/>
            </a:p>
          </p:txBody>
        </p:sp>
        <p:sp>
          <p:nvSpPr>
            <p:cNvPr id="296" name="object 279"/>
            <p:cNvSpPr/>
            <p:nvPr/>
          </p:nvSpPr>
          <p:spPr>
            <a:xfrm>
              <a:off x="7604126" y="2417342"/>
              <a:ext cx="33020" cy="0"/>
            </a:xfrm>
            <a:custGeom>
              <a:avLst/>
              <a:gdLst/>
              <a:ahLst/>
              <a:cxnLst/>
              <a:rect l="l" t="t" r="r" b="b"/>
              <a:pathLst>
                <a:path w="33020">
                  <a:moveTo>
                    <a:pt x="0" y="0"/>
                  </a:moveTo>
                  <a:lnTo>
                    <a:pt x="33020" y="0"/>
                  </a:lnTo>
                </a:path>
              </a:pathLst>
            </a:custGeom>
            <a:ln w="28956">
              <a:solidFill>
                <a:srgbClr val="005DB8"/>
              </a:solidFill>
            </a:ln>
          </p:spPr>
          <p:txBody>
            <a:bodyPr wrap="square" lIns="0" tIns="0" rIns="0" bIns="0" rtlCol="0"/>
            <a:lstStyle/>
            <a:p>
              <a:endParaRPr/>
            </a:p>
          </p:txBody>
        </p:sp>
        <p:sp>
          <p:nvSpPr>
            <p:cNvPr id="297" name="object 280"/>
            <p:cNvSpPr/>
            <p:nvPr/>
          </p:nvSpPr>
          <p:spPr>
            <a:xfrm>
              <a:off x="7594601" y="2402864"/>
              <a:ext cx="0" cy="175260"/>
            </a:xfrm>
            <a:custGeom>
              <a:avLst/>
              <a:gdLst/>
              <a:ahLst/>
              <a:cxnLst/>
              <a:rect l="l" t="t" r="r" b="b"/>
              <a:pathLst>
                <a:path h="175260">
                  <a:moveTo>
                    <a:pt x="0" y="0"/>
                  </a:moveTo>
                  <a:lnTo>
                    <a:pt x="0" y="175260"/>
                  </a:lnTo>
                </a:path>
              </a:pathLst>
            </a:custGeom>
            <a:ln w="19050">
              <a:solidFill>
                <a:srgbClr val="005DB8"/>
              </a:solidFill>
            </a:ln>
          </p:spPr>
          <p:txBody>
            <a:bodyPr wrap="square" lIns="0" tIns="0" rIns="0" bIns="0" rtlCol="0"/>
            <a:lstStyle/>
            <a:p>
              <a:endParaRPr/>
            </a:p>
          </p:txBody>
        </p:sp>
        <p:sp>
          <p:nvSpPr>
            <p:cNvPr id="298" name="object 281"/>
            <p:cNvSpPr/>
            <p:nvPr/>
          </p:nvSpPr>
          <p:spPr>
            <a:xfrm>
              <a:off x="7552056" y="2428010"/>
              <a:ext cx="33020" cy="0"/>
            </a:xfrm>
            <a:custGeom>
              <a:avLst/>
              <a:gdLst/>
              <a:ahLst/>
              <a:cxnLst/>
              <a:rect l="l" t="t" r="r" b="b"/>
              <a:pathLst>
                <a:path w="33020">
                  <a:moveTo>
                    <a:pt x="0" y="0"/>
                  </a:moveTo>
                  <a:lnTo>
                    <a:pt x="33020" y="0"/>
                  </a:lnTo>
                </a:path>
              </a:pathLst>
            </a:custGeom>
            <a:ln w="50292">
              <a:solidFill>
                <a:srgbClr val="005DB8"/>
              </a:solidFill>
            </a:ln>
          </p:spPr>
          <p:txBody>
            <a:bodyPr wrap="square" lIns="0" tIns="0" rIns="0" bIns="0" rtlCol="0"/>
            <a:lstStyle/>
            <a:p>
              <a:endParaRPr/>
            </a:p>
          </p:txBody>
        </p:sp>
        <p:sp>
          <p:nvSpPr>
            <p:cNvPr id="299" name="object 282"/>
            <p:cNvSpPr/>
            <p:nvPr/>
          </p:nvSpPr>
          <p:spPr>
            <a:xfrm>
              <a:off x="7543801" y="2402864"/>
              <a:ext cx="0" cy="175260"/>
            </a:xfrm>
            <a:custGeom>
              <a:avLst/>
              <a:gdLst/>
              <a:ahLst/>
              <a:cxnLst/>
              <a:rect l="l" t="t" r="r" b="b"/>
              <a:pathLst>
                <a:path h="175260">
                  <a:moveTo>
                    <a:pt x="0" y="0"/>
                  </a:moveTo>
                  <a:lnTo>
                    <a:pt x="0" y="175260"/>
                  </a:lnTo>
                </a:path>
              </a:pathLst>
            </a:custGeom>
            <a:ln w="16509">
              <a:solidFill>
                <a:srgbClr val="005DB8"/>
              </a:solidFill>
            </a:ln>
          </p:spPr>
          <p:txBody>
            <a:bodyPr wrap="square" lIns="0" tIns="0" rIns="0" bIns="0" rtlCol="0"/>
            <a:lstStyle/>
            <a:p>
              <a:endParaRPr/>
            </a:p>
          </p:txBody>
        </p:sp>
        <p:sp>
          <p:nvSpPr>
            <p:cNvPr id="300" name="object 283"/>
            <p:cNvSpPr/>
            <p:nvPr/>
          </p:nvSpPr>
          <p:spPr>
            <a:xfrm>
              <a:off x="7501256" y="2417342"/>
              <a:ext cx="34290" cy="0"/>
            </a:xfrm>
            <a:custGeom>
              <a:avLst/>
              <a:gdLst/>
              <a:ahLst/>
              <a:cxnLst/>
              <a:rect l="l" t="t" r="r" b="b"/>
              <a:pathLst>
                <a:path w="34290">
                  <a:moveTo>
                    <a:pt x="0" y="0"/>
                  </a:moveTo>
                  <a:lnTo>
                    <a:pt x="34290" y="0"/>
                  </a:lnTo>
                </a:path>
              </a:pathLst>
            </a:custGeom>
            <a:ln w="28956">
              <a:solidFill>
                <a:srgbClr val="005DB8"/>
              </a:solidFill>
            </a:ln>
          </p:spPr>
          <p:txBody>
            <a:bodyPr wrap="square" lIns="0" tIns="0" rIns="0" bIns="0" rtlCol="0"/>
            <a:lstStyle/>
            <a:p>
              <a:endParaRPr/>
            </a:p>
          </p:txBody>
        </p:sp>
        <p:sp>
          <p:nvSpPr>
            <p:cNvPr id="301" name="object 284"/>
            <p:cNvSpPr/>
            <p:nvPr/>
          </p:nvSpPr>
          <p:spPr>
            <a:xfrm>
              <a:off x="7493001" y="2402864"/>
              <a:ext cx="0" cy="175260"/>
            </a:xfrm>
            <a:custGeom>
              <a:avLst/>
              <a:gdLst/>
              <a:ahLst/>
              <a:cxnLst/>
              <a:rect l="l" t="t" r="r" b="b"/>
              <a:pathLst>
                <a:path h="175260">
                  <a:moveTo>
                    <a:pt x="0" y="0"/>
                  </a:moveTo>
                  <a:lnTo>
                    <a:pt x="0" y="175260"/>
                  </a:lnTo>
                </a:path>
              </a:pathLst>
            </a:custGeom>
            <a:ln w="16509">
              <a:solidFill>
                <a:srgbClr val="005DB8"/>
              </a:solidFill>
            </a:ln>
          </p:spPr>
          <p:txBody>
            <a:bodyPr wrap="square" lIns="0" tIns="0" rIns="0" bIns="0" rtlCol="0"/>
            <a:lstStyle/>
            <a:p>
              <a:endParaRPr/>
            </a:p>
          </p:txBody>
        </p:sp>
        <p:sp>
          <p:nvSpPr>
            <p:cNvPr id="302" name="object 285"/>
            <p:cNvSpPr/>
            <p:nvPr/>
          </p:nvSpPr>
          <p:spPr>
            <a:xfrm>
              <a:off x="7705726" y="2566694"/>
              <a:ext cx="30480" cy="0"/>
            </a:xfrm>
            <a:custGeom>
              <a:avLst/>
              <a:gdLst/>
              <a:ahLst/>
              <a:cxnLst/>
              <a:rect l="l" t="t" r="r" b="b"/>
              <a:pathLst>
                <a:path w="30479">
                  <a:moveTo>
                    <a:pt x="0" y="0"/>
                  </a:moveTo>
                  <a:lnTo>
                    <a:pt x="30479" y="0"/>
                  </a:lnTo>
                </a:path>
              </a:pathLst>
            </a:custGeom>
            <a:ln w="22860">
              <a:solidFill>
                <a:srgbClr val="005DB8"/>
              </a:solidFill>
            </a:ln>
          </p:spPr>
          <p:txBody>
            <a:bodyPr wrap="square" lIns="0" tIns="0" rIns="0" bIns="0" rtlCol="0"/>
            <a:lstStyle/>
            <a:p>
              <a:endParaRPr/>
            </a:p>
          </p:txBody>
        </p:sp>
        <p:sp>
          <p:nvSpPr>
            <p:cNvPr id="303" name="object 286"/>
            <p:cNvSpPr/>
            <p:nvPr/>
          </p:nvSpPr>
          <p:spPr>
            <a:xfrm>
              <a:off x="7653910" y="2566694"/>
              <a:ext cx="32384" cy="0"/>
            </a:xfrm>
            <a:custGeom>
              <a:avLst/>
              <a:gdLst/>
              <a:ahLst/>
              <a:cxnLst/>
              <a:rect l="l" t="t" r="r" b="b"/>
              <a:pathLst>
                <a:path w="32384">
                  <a:moveTo>
                    <a:pt x="0" y="0"/>
                  </a:moveTo>
                  <a:lnTo>
                    <a:pt x="32004" y="0"/>
                  </a:lnTo>
                </a:path>
              </a:pathLst>
            </a:custGeom>
            <a:ln w="22860">
              <a:solidFill>
                <a:srgbClr val="005DB8"/>
              </a:solidFill>
            </a:ln>
          </p:spPr>
          <p:txBody>
            <a:bodyPr wrap="square" lIns="0" tIns="0" rIns="0" bIns="0" rtlCol="0"/>
            <a:lstStyle/>
            <a:p>
              <a:endParaRPr/>
            </a:p>
          </p:txBody>
        </p:sp>
        <p:sp>
          <p:nvSpPr>
            <p:cNvPr id="304" name="object 287"/>
            <p:cNvSpPr/>
            <p:nvPr/>
          </p:nvSpPr>
          <p:spPr>
            <a:xfrm>
              <a:off x="7603618" y="2566694"/>
              <a:ext cx="33655" cy="0"/>
            </a:xfrm>
            <a:custGeom>
              <a:avLst/>
              <a:gdLst/>
              <a:ahLst/>
              <a:cxnLst/>
              <a:rect l="l" t="t" r="r" b="b"/>
              <a:pathLst>
                <a:path w="33654">
                  <a:moveTo>
                    <a:pt x="0" y="0"/>
                  </a:moveTo>
                  <a:lnTo>
                    <a:pt x="33527" y="0"/>
                  </a:lnTo>
                </a:path>
              </a:pathLst>
            </a:custGeom>
            <a:ln w="22860">
              <a:solidFill>
                <a:srgbClr val="005DB8"/>
              </a:solidFill>
            </a:ln>
          </p:spPr>
          <p:txBody>
            <a:bodyPr wrap="square" lIns="0" tIns="0" rIns="0" bIns="0" rtlCol="0"/>
            <a:lstStyle/>
            <a:p>
              <a:endParaRPr/>
            </a:p>
          </p:txBody>
        </p:sp>
        <p:sp>
          <p:nvSpPr>
            <p:cNvPr id="305" name="object 288"/>
            <p:cNvSpPr/>
            <p:nvPr/>
          </p:nvSpPr>
          <p:spPr>
            <a:xfrm>
              <a:off x="7551802" y="2566694"/>
              <a:ext cx="33655" cy="0"/>
            </a:xfrm>
            <a:custGeom>
              <a:avLst/>
              <a:gdLst/>
              <a:ahLst/>
              <a:cxnLst/>
              <a:rect l="l" t="t" r="r" b="b"/>
              <a:pathLst>
                <a:path w="33654">
                  <a:moveTo>
                    <a:pt x="0" y="0"/>
                  </a:moveTo>
                  <a:lnTo>
                    <a:pt x="33527" y="0"/>
                  </a:lnTo>
                </a:path>
              </a:pathLst>
            </a:custGeom>
            <a:ln w="22860">
              <a:solidFill>
                <a:srgbClr val="005DB8"/>
              </a:solidFill>
            </a:ln>
          </p:spPr>
          <p:txBody>
            <a:bodyPr wrap="square" lIns="0" tIns="0" rIns="0" bIns="0" rtlCol="0"/>
            <a:lstStyle/>
            <a:p>
              <a:endParaRPr/>
            </a:p>
          </p:txBody>
        </p:sp>
        <p:sp>
          <p:nvSpPr>
            <p:cNvPr id="306" name="object 289"/>
            <p:cNvSpPr/>
            <p:nvPr/>
          </p:nvSpPr>
          <p:spPr>
            <a:xfrm>
              <a:off x="7501510" y="2566694"/>
              <a:ext cx="33655" cy="0"/>
            </a:xfrm>
            <a:custGeom>
              <a:avLst/>
              <a:gdLst/>
              <a:ahLst/>
              <a:cxnLst/>
              <a:rect l="l" t="t" r="r" b="b"/>
              <a:pathLst>
                <a:path w="33654">
                  <a:moveTo>
                    <a:pt x="0" y="0"/>
                  </a:moveTo>
                  <a:lnTo>
                    <a:pt x="33527" y="0"/>
                  </a:lnTo>
                </a:path>
              </a:pathLst>
            </a:custGeom>
            <a:ln w="22860">
              <a:solidFill>
                <a:srgbClr val="005DB8"/>
              </a:solidFill>
            </a:ln>
          </p:spPr>
          <p:txBody>
            <a:bodyPr wrap="square" lIns="0" tIns="0" rIns="0" bIns="0" rtlCol="0"/>
            <a:lstStyle/>
            <a:p>
              <a:endParaRPr/>
            </a:p>
          </p:txBody>
        </p:sp>
        <p:sp>
          <p:nvSpPr>
            <p:cNvPr id="307" name="object 290"/>
            <p:cNvSpPr/>
            <p:nvPr/>
          </p:nvSpPr>
          <p:spPr>
            <a:xfrm>
              <a:off x="6343270" y="2302281"/>
              <a:ext cx="960119" cy="376555"/>
            </a:xfrm>
            <a:custGeom>
              <a:avLst/>
              <a:gdLst/>
              <a:ahLst/>
              <a:cxnLst/>
              <a:rect l="l" t="t" r="r" b="b"/>
              <a:pathLst>
                <a:path w="960120" h="376554">
                  <a:moveTo>
                    <a:pt x="0" y="281939"/>
                  </a:moveTo>
                  <a:lnTo>
                    <a:pt x="0" y="94487"/>
                  </a:lnTo>
                  <a:lnTo>
                    <a:pt x="27813" y="27241"/>
                  </a:lnTo>
                  <a:lnTo>
                    <a:pt x="94487" y="0"/>
                  </a:lnTo>
                  <a:lnTo>
                    <a:pt x="865631" y="0"/>
                  </a:lnTo>
                  <a:lnTo>
                    <a:pt x="902255" y="7262"/>
                  </a:lnTo>
                  <a:lnTo>
                    <a:pt x="932307" y="27241"/>
                  </a:lnTo>
                  <a:lnTo>
                    <a:pt x="952642" y="57221"/>
                  </a:lnTo>
                  <a:lnTo>
                    <a:pt x="960120" y="94487"/>
                  </a:lnTo>
                  <a:lnTo>
                    <a:pt x="960120" y="281939"/>
                  </a:lnTo>
                  <a:lnTo>
                    <a:pt x="932307" y="348615"/>
                  </a:lnTo>
                  <a:lnTo>
                    <a:pt x="865631"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308" name="object 291"/>
            <p:cNvSpPr txBox="1"/>
            <p:nvPr/>
          </p:nvSpPr>
          <p:spPr>
            <a:xfrm>
              <a:off x="6763382" y="2423151"/>
              <a:ext cx="328930" cy="123111"/>
            </a:xfrm>
            <a:prstGeom prst="rect">
              <a:avLst/>
            </a:prstGeom>
          </p:spPr>
          <p:txBody>
            <a:bodyPr vert="horz" wrap="square" lIns="0" tIns="0" rIns="0" bIns="0" rtlCol="0">
              <a:spAutoFit/>
            </a:bodyPr>
            <a:lstStyle/>
            <a:p>
              <a:pPr marL="12700">
                <a:lnSpc>
                  <a:spcPct val="100000"/>
                </a:lnSpc>
              </a:pPr>
              <a:r>
                <a:rPr sz="800" spc="-10" dirty="0">
                  <a:solidFill>
                    <a:srgbClr val="005DB8"/>
                  </a:solidFill>
                  <a:cs typeface="Times New Roman"/>
                </a:rPr>
                <a:t>T</a:t>
              </a:r>
              <a:r>
                <a:rPr sz="800" spc="85" dirty="0">
                  <a:solidFill>
                    <a:srgbClr val="005DB8"/>
                  </a:solidFill>
                  <a:cs typeface="Times New Roman"/>
                </a:rPr>
                <a:t>ab</a:t>
              </a:r>
              <a:r>
                <a:rPr sz="800" spc="-10" dirty="0">
                  <a:solidFill>
                    <a:srgbClr val="005DB8"/>
                  </a:solidFill>
                  <a:cs typeface="Times New Roman"/>
                </a:rPr>
                <a:t>l</a:t>
              </a:r>
              <a:r>
                <a:rPr sz="800" spc="85" dirty="0">
                  <a:solidFill>
                    <a:srgbClr val="005DB8"/>
                  </a:solidFill>
                  <a:cs typeface="Times New Roman"/>
                </a:rPr>
                <a:t>e</a:t>
              </a:r>
              <a:r>
                <a:rPr sz="800" spc="90" dirty="0">
                  <a:solidFill>
                    <a:srgbClr val="005DB8"/>
                  </a:solidFill>
                  <a:cs typeface="Times New Roman"/>
                </a:rPr>
                <a:t>t</a:t>
              </a:r>
              <a:endParaRPr sz="800">
                <a:cs typeface="Times New Roman"/>
              </a:endParaRPr>
            </a:p>
          </p:txBody>
        </p:sp>
        <p:sp>
          <p:nvSpPr>
            <p:cNvPr id="309" name="object 292"/>
            <p:cNvSpPr/>
            <p:nvPr/>
          </p:nvSpPr>
          <p:spPr>
            <a:xfrm>
              <a:off x="6471286" y="2381529"/>
              <a:ext cx="178435" cy="218440"/>
            </a:xfrm>
            <a:custGeom>
              <a:avLst/>
              <a:gdLst/>
              <a:ahLst/>
              <a:cxnLst/>
              <a:rect l="l" t="t" r="r" b="b"/>
              <a:pathLst>
                <a:path w="178435" h="218439">
                  <a:moveTo>
                    <a:pt x="0" y="208788"/>
                  </a:moveTo>
                  <a:lnTo>
                    <a:pt x="0" y="6096"/>
                  </a:lnTo>
                  <a:lnTo>
                    <a:pt x="6095" y="0"/>
                  </a:lnTo>
                  <a:lnTo>
                    <a:pt x="169163" y="0"/>
                  </a:lnTo>
                  <a:lnTo>
                    <a:pt x="178307" y="6095"/>
                  </a:lnTo>
                  <a:lnTo>
                    <a:pt x="178307" y="208788"/>
                  </a:lnTo>
                  <a:lnTo>
                    <a:pt x="169163" y="217931"/>
                  </a:lnTo>
                  <a:lnTo>
                    <a:pt x="153923" y="217931"/>
                  </a:lnTo>
                  <a:lnTo>
                    <a:pt x="153923" y="24384"/>
                  </a:lnTo>
                  <a:lnTo>
                    <a:pt x="24383" y="24384"/>
                  </a:lnTo>
                  <a:lnTo>
                    <a:pt x="24383" y="217931"/>
                  </a:lnTo>
                  <a:lnTo>
                    <a:pt x="6095" y="217931"/>
                  </a:lnTo>
                  <a:lnTo>
                    <a:pt x="0" y="208788"/>
                  </a:lnTo>
                  <a:close/>
                </a:path>
                <a:path w="178435" h="218439">
                  <a:moveTo>
                    <a:pt x="24383" y="217931"/>
                  </a:moveTo>
                  <a:lnTo>
                    <a:pt x="24383" y="193548"/>
                  </a:lnTo>
                  <a:lnTo>
                    <a:pt x="153923" y="193548"/>
                  </a:lnTo>
                  <a:lnTo>
                    <a:pt x="153923" y="217931"/>
                  </a:lnTo>
                  <a:lnTo>
                    <a:pt x="97535" y="217931"/>
                  </a:lnTo>
                  <a:lnTo>
                    <a:pt x="97535" y="199643"/>
                  </a:lnTo>
                  <a:lnTo>
                    <a:pt x="92963" y="195072"/>
                  </a:lnTo>
                  <a:lnTo>
                    <a:pt x="83819" y="195072"/>
                  </a:lnTo>
                  <a:lnTo>
                    <a:pt x="79247" y="199643"/>
                  </a:lnTo>
                  <a:lnTo>
                    <a:pt x="79247" y="217931"/>
                  </a:lnTo>
                  <a:lnTo>
                    <a:pt x="24383" y="217931"/>
                  </a:lnTo>
                  <a:close/>
                </a:path>
                <a:path w="178435" h="218439">
                  <a:moveTo>
                    <a:pt x="79247" y="217931"/>
                  </a:moveTo>
                  <a:lnTo>
                    <a:pt x="79247" y="208788"/>
                  </a:lnTo>
                  <a:lnTo>
                    <a:pt x="83819" y="213359"/>
                  </a:lnTo>
                  <a:lnTo>
                    <a:pt x="92963" y="213359"/>
                  </a:lnTo>
                  <a:lnTo>
                    <a:pt x="97535" y="208788"/>
                  </a:lnTo>
                  <a:lnTo>
                    <a:pt x="97535" y="217931"/>
                  </a:lnTo>
                  <a:lnTo>
                    <a:pt x="79247" y="217931"/>
                  </a:lnTo>
                  <a:close/>
                </a:path>
              </a:pathLst>
            </a:custGeom>
            <a:solidFill>
              <a:srgbClr val="005DB8"/>
            </a:solidFill>
          </p:spPr>
          <p:txBody>
            <a:bodyPr wrap="square" lIns="0" tIns="0" rIns="0" bIns="0" rtlCol="0"/>
            <a:lstStyle/>
            <a:p>
              <a:endParaRPr/>
            </a:p>
          </p:txBody>
        </p:sp>
        <p:sp>
          <p:nvSpPr>
            <p:cNvPr id="310" name="object 293"/>
            <p:cNvSpPr/>
            <p:nvPr/>
          </p:nvSpPr>
          <p:spPr>
            <a:xfrm>
              <a:off x="5273422" y="2302281"/>
              <a:ext cx="960119" cy="376555"/>
            </a:xfrm>
            <a:custGeom>
              <a:avLst/>
              <a:gdLst/>
              <a:ahLst/>
              <a:cxnLst/>
              <a:rect l="l" t="t" r="r" b="b"/>
              <a:pathLst>
                <a:path w="960120" h="376554">
                  <a:moveTo>
                    <a:pt x="0" y="281939"/>
                  </a:moveTo>
                  <a:lnTo>
                    <a:pt x="0" y="94487"/>
                  </a:lnTo>
                  <a:lnTo>
                    <a:pt x="27241" y="27241"/>
                  </a:lnTo>
                  <a:lnTo>
                    <a:pt x="94487" y="0"/>
                  </a:lnTo>
                  <a:lnTo>
                    <a:pt x="865631" y="0"/>
                  </a:lnTo>
                  <a:lnTo>
                    <a:pt x="902898" y="7262"/>
                  </a:lnTo>
                  <a:lnTo>
                    <a:pt x="932878" y="27241"/>
                  </a:lnTo>
                  <a:lnTo>
                    <a:pt x="952857" y="57221"/>
                  </a:lnTo>
                  <a:lnTo>
                    <a:pt x="960120" y="94487"/>
                  </a:lnTo>
                  <a:lnTo>
                    <a:pt x="960120" y="281939"/>
                  </a:lnTo>
                  <a:lnTo>
                    <a:pt x="932878" y="348615"/>
                  </a:lnTo>
                  <a:lnTo>
                    <a:pt x="865631" y="376427"/>
                  </a:lnTo>
                  <a:lnTo>
                    <a:pt x="94488" y="376428"/>
                  </a:lnTo>
                  <a:lnTo>
                    <a:pt x="57221" y="368950"/>
                  </a:lnTo>
                  <a:lnTo>
                    <a:pt x="27241" y="348615"/>
                  </a:lnTo>
                  <a:lnTo>
                    <a:pt x="7262" y="318563"/>
                  </a:lnTo>
                  <a:lnTo>
                    <a:pt x="0" y="281939"/>
                  </a:lnTo>
                  <a:close/>
                </a:path>
              </a:pathLst>
            </a:custGeom>
            <a:solidFill>
              <a:srgbClr val="FFFFFF"/>
            </a:solidFill>
          </p:spPr>
          <p:txBody>
            <a:bodyPr wrap="square" lIns="0" tIns="0" rIns="0" bIns="0" rtlCol="0"/>
            <a:lstStyle/>
            <a:p>
              <a:endParaRPr/>
            </a:p>
          </p:txBody>
        </p:sp>
        <p:sp>
          <p:nvSpPr>
            <p:cNvPr id="311" name="object 294"/>
            <p:cNvSpPr txBox="1"/>
            <p:nvPr/>
          </p:nvSpPr>
          <p:spPr>
            <a:xfrm>
              <a:off x="5693548" y="2362193"/>
              <a:ext cx="329565" cy="246221"/>
            </a:xfrm>
            <a:prstGeom prst="rect">
              <a:avLst/>
            </a:prstGeom>
          </p:spPr>
          <p:txBody>
            <a:bodyPr vert="horz" wrap="square" lIns="0" tIns="0" rIns="0" bIns="0" rtlCol="0">
              <a:spAutoFit/>
            </a:bodyPr>
            <a:lstStyle/>
            <a:p>
              <a:pPr marL="12700" marR="5080">
                <a:lnSpc>
                  <a:spcPct val="100000"/>
                </a:lnSpc>
              </a:pPr>
              <a:r>
                <a:rPr sz="800" spc="80" dirty="0">
                  <a:solidFill>
                    <a:srgbClr val="005DB8"/>
                  </a:solidFill>
                  <a:cs typeface="Times New Roman"/>
                </a:rPr>
                <a:t>S</a:t>
              </a:r>
              <a:r>
                <a:rPr sz="800" spc="130" dirty="0">
                  <a:solidFill>
                    <a:srgbClr val="005DB8"/>
                  </a:solidFill>
                  <a:cs typeface="Times New Roman"/>
                </a:rPr>
                <a:t>m</a:t>
              </a:r>
              <a:r>
                <a:rPr sz="800" spc="85" dirty="0">
                  <a:solidFill>
                    <a:srgbClr val="005DB8"/>
                  </a:solidFill>
                  <a:cs typeface="Times New Roman"/>
                </a:rPr>
                <a:t>a</a:t>
              </a:r>
              <a:r>
                <a:rPr sz="800" spc="45" dirty="0">
                  <a:solidFill>
                    <a:srgbClr val="005DB8"/>
                  </a:solidFill>
                  <a:cs typeface="Times New Roman"/>
                </a:rPr>
                <a:t>r</a:t>
              </a:r>
              <a:r>
                <a:rPr sz="800" spc="80" dirty="0">
                  <a:solidFill>
                    <a:srgbClr val="005DB8"/>
                  </a:solidFill>
                  <a:cs typeface="Times New Roman"/>
                </a:rPr>
                <a:t>t  </a:t>
              </a:r>
              <a:r>
                <a:rPr sz="800" spc="35" dirty="0">
                  <a:solidFill>
                    <a:srgbClr val="005DB8"/>
                  </a:solidFill>
                  <a:cs typeface="Times New Roman"/>
                </a:rPr>
                <a:t>P</a:t>
              </a:r>
              <a:r>
                <a:rPr sz="800" spc="85" dirty="0">
                  <a:solidFill>
                    <a:srgbClr val="005DB8"/>
                  </a:solidFill>
                  <a:cs typeface="Times New Roman"/>
                </a:rPr>
                <a:t>h</a:t>
              </a:r>
              <a:r>
                <a:rPr sz="800" spc="80" dirty="0">
                  <a:solidFill>
                    <a:srgbClr val="005DB8"/>
                  </a:solidFill>
                  <a:cs typeface="Times New Roman"/>
                </a:rPr>
                <a:t>o</a:t>
              </a:r>
              <a:r>
                <a:rPr sz="800" spc="85" dirty="0">
                  <a:solidFill>
                    <a:srgbClr val="005DB8"/>
                  </a:solidFill>
                  <a:cs typeface="Times New Roman"/>
                </a:rPr>
                <a:t>n</a:t>
              </a:r>
              <a:r>
                <a:rPr sz="800" spc="90" dirty="0">
                  <a:solidFill>
                    <a:srgbClr val="005DB8"/>
                  </a:solidFill>
                  <a:cs typeface="Times New Roman"/>
                </a:rPr>
                <a:t>e</a:t>
              </a:r>
              <a:endParaRPr sz="800">
                <a:cs typeface="Times New Roman"/>
              </a:endParaRPr>
            </a:p>
          </p:txBody>
        </p:sp>
        <p:sp>
          <p:nvSpPr>
            <p:cNvPr id="312" name="object 295"/>
            <p:cNvSpPr/>
            <p:nvPr/>
          </p:nvSpPr>
          <p:spPr>
            <a:xfrm>
              <a:off x="5412106" y="2375432"/>
              <a:ext cx="134620" cy="228600"/>
            </a:xfrm>
            <a:custGeom>
              <a:avLst/>
              <a:gdLst/>
              <a:ahLst/>
              <a:cxnLst/>
              <a:rect l="l" t="t" r="r" b="b"/>
              <a:pathLst>
                <a:path w="134620" h="228600">
                  <a:moveTo>
                    <a:pt x="0" y="205740"/>
                  </a:moveTo>
                  <a:lnTo>
                    <a:pt x="0" y="24384"/>
                  </a:lnTo>
                  <a:lnTo>
                    <a:pt x="109727" y="0"/>
                  </a:lnTo>
                  <a:lnTo>
                    <a:pt x="118681" y="1881"/>
                  </a:lnTo>
                  <a:lnTo>
                    <a:pt x="126491" y="7048"/>
                  </a:lnTo>
                  <a:lnTo>
                    <a:pt x="132016" y="14787"/>
                  </a:lnTo>
                  <a:lnTo>
                    <a:pt x="134111" y="24383"/>
                  </a:lnTo>
                  <a:lnTo>
                    <a:pt x="134111" y="205740"/>
                  </a:lnTo>
                  <a:lnTo>
                    <a:pt x="132016" y="213812"/>
                  </a:lnTo>
                  <a:lnTo>
                    <a:pt x="126491" y="221170"/>
                  </a:lnTo>
                  <a:lnTo>
                    <a:pt x="118681" y="226528"/>
                  </a:lnTo>
                  <a:lnTo>
                    <a:pt x="114299" y="227542"/>
                  </a:lnTo>
                  <a:lnTo>
                    <a:pt x="114299" y="38100"/>
                  </a:lnTo>
                  <a:lnTo>
                    <a:pt x="19811" y="38100"/>
                  </a:lnTo>
                  <a:lnTo>
                    <a:pt x="19811" y="227612"/>
                  </a:lnTo>
                  <a:lnTo>
                    <a:pt x="14787" y="226528"/>
                  </a:lnTo>
                  <a:lnTo>
                    <a:pt x="7048" y="221170"/>
                  </a:lnTo>
                  <a:lnTo>
                    <a:pt x="1881" y="213812"/>
                  </a:lnTo>
                  <a:lnTo>
                    <a:pt x="0" y="205740"/>
                  </a:lnTo>
                  <a:close/>
                </a:path>
                <a:path w="134620" h="228600">
                  <a:moveTo>
                    <a:pt x="19811" y="227612"/>
                  </a:moveTo>
                  <a:lnTo>
                    <a:pt x="19811" y="181356"/>
                  </a:lnTo>
                  <a:lnTo>
                    <a:pt x="114299" y="181356"/>
                  </a:lnTo>
                  <a:lnTo>
                    <a:pt x="114299" y="227542"/>
                  </a:lnTo>
                  <a:lnTo>
                    <a:pt x="109727" y="228600"/>
                  </a:lnTo>
                  <a:lnTo>
                    <a:pt x="83819" y="228600"/>
                  </a:lnTo>
                  <a:lnTo>
                    <a:pt x="83819" y="205740"/>
                  </a:lnTo>
                  <a:lnTo>
                    <a:pt x="82486" y="198143"/>
                  </a:lnTo>
                  <a:lnTo>
                    <a:pt x="78866" y="191833"/>
                  </a:lnTo>
                  <a:lnTo>
                    <a:pt x="73532" y="187523"/>
                  </a:lnTo>
                  <a:lnTo>
                    <a:pt x="67055" y="185928"/>
                  </a:lnTo>
                  <a:lnTo>
                    <a:pt x="60578" y="187523"/>
                  </a:lnTo>
                  <a:lnTo>
                    <a:pt x="55244" y="191833"/>
                  </a:lnTo>
                  <a:lnTo>
                    <a:pt x="51625" y="198143"/>
                  </a:lnTo>
                  <a:lnTo>
                    <a:pt x="50291" y="205740"/>
                  </a:lnTo>
                  <a:lnTo>
                    <a:pt x="50291" y="228600"/>
                  </a:lnTo>
                  <a:lnTo>
                    <a:pt x="24383" y="228600"/>
                  </a:lnTo>
                  <a:lnTo>
                    <a:pt x="19811" y="227612"/>
                  </a:lnTo>
                  <a:close/>
                </a:path>
                <a:path w="134620" h="228600">
                  <a:moveTo>
                    <a:pt x="50291" y="228600"/>
                  </a:moveTo>
                  <a:lnTo>
                    <a:pt x="50291" y="211836"/>
                  </a:lnTo>
                  <a:lnTo>
                    <a:pt x="57911" y="222504"/>
                  </a:lnTo>
                  <a:lnTo>
                    <a:pt x="76199" y="222504"/>
                  </a:lnTo>
                  <a:lnTo>
                    <a:pt x="83819" y="211836"/>
                  </a:lnTo>
                  <a:lnTo>
                    <a:pt x="83819" y="228600"/>
                  </a:lnTo>
                  <a:lnTo>
                    <a:pt x="50291" y="228600"/>
                  </a:lnTo>
                  <a:close/>
                </a:path>
              </a:pathLst>
            </a:custGeom>
            <a:solidFill>
              <a:srgbClr val="005DB8"/>
            </a:solidFill>
          </p:spPr>
          <p:txBody>
            <a:bodyPr wrap="square" lIns="0" tIns="0" rIns="0" bIns="0" rtlCol="0"/>
            <a:lstStyle/>
            <a:p>
              <a:endParaRPr/>
            </a:p>
          </p:txBody>
        </p:sp>
        <p:sp>
          <p:nvSpPr>
            <p:cNvPr id="313" name="object 296"/>
            <p:cNvSpPr/>
            <p:nvPr/>
          </p:nvSpPr>
          <p:spPr>
            <a:xfrm>
              <a:off x="3132202" y="2302281"/>
              <a:ext cx="960119" cy="376555"/>
            </a:xfrm>
            <a:custGeom>
              <a:avLst/>
              <a:gdLst/>
              <a:ahLst/>
              <a:cxnLst/>
              <a:rect l="l" t="t" r="r" b="b"/>
              <a:pathLst>
                <a:path w="960119" h="376554">
                  <a:moveTo>
                    <a:pt x="0" y="281939"/>
                  </a:moveTo>
                  <a:lnTo>
                    <a:pt x="0" y="94487"/>
                  </a:lnTo>
                  <a:lnTo>
                    <a:pt x="27813" y="27241"/>
                  </a:lnTo>
                  <a:lnTo>
                    <a:pt x="94487" y="0"/>
                  </a:lnTo>
                  <a:lnTo>
                    <a:pt x="865631" y="0"/>
                  </a:lnTo>
                  <a:lnTo>
                    <a:pt x="902255" y="7262"/>
                  </a:lnTo>
                  <a:lnTo>
                    <a:pt x="932307" y="27241"/>
                  </a:lnTo>
                  <a:lnTo>
                    <a:pt x="952642" y="57221"/>
                  </a:lnTo>
                  <a:lnTo>
                    <a:pt x="960120" y="94487"/>
                  </a:lnTo>
                  <a:lnTo>
                    <a:pt x="960120" y="281939"/>
                  </a:lnTo>
                  <a:lnTo>
                    <a:pt x="932307" y="348615"/>
                  </a:lnTo>
                  <a:lnTo>
                    <a:pt x="865631"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314" name="object 297"/>
            <p:cNvSpPr txBox="1"/>
            <p:nvPr/>
          </p:nvSpPr>
          <p:spPr>
            <a:xfrm>
              <a:off x="3550729" y="2362193"/>
              <a:ext cx="324485" cy="246221"/>
            </a:xfrm>
            <a:prstGeom prst="rect">
              <a:avLst/>
            </a:prstGeom>
          </p:spPr>
          <p:txBody>
            <a:bodyPr vert="horz" wrap="square" lIns="0" tIns="0" rIns="0" bIns="0" rtlCol="0">
              <a:spAutoFit/>
            </a:bodyPr>
            <a:lstStyle/>
            <a:p>
              <a:pPr marL="12700" marR="5080">
                <a:lnSpc>
                  <a:spcPct val="100000"/>
                </a:lnSpc>
              </a:pPr>
              <a:r>
                <a:rPr sz="800" spc="80" dirty="0">
                  <a:solidFill>
                    <a:srgbClr val="005DB8"/>
                  </a:solidFill>
                  <a:cs typeface="Times New Roman"/>
                </a:rPr>
                <a:t>S</a:t>
              </a:r>
              <a:r>
                <a:rPr sz="800" spc="130" dirty="0">
                  <a:solidFill>
                    <a:srgbClr val="005DB8"/>
                  </a:solidFill>
                  <a:cs typeface="Times New Roman"/>
                </a:rPr>
                <a:t>m</a:t>
              </a:r>
              <a:r>
                <a:rPr sz="800" spc="85" dirty="0">
                  <a:solidFill>
                    <a:srgbClr val="005DB8"/>
                  </a:solidFill>
                  <a:cs typeface="Times New Roman"/>
                </a:rPr>
                <a:t>a</a:t>
              </a:r>
              <a:r>
                <a:rPr sz="800" spc="45" dirty="0">
                  <a:solidFill>
                    <a:srgbClr val="005DB8"/>
                  </a:solidFill>
                  <a:cs typeface="Times New Roman"/>
                </a:rPr>
                <a:t>r</a:t>
              </a:r>
              <a:r>
                <a:rPr sz="800" spc="80" dirty="0">
                  <a:solidFill>
                    <a:srgbClr val="005DB8"/>
                  </a:solidFill>
                  <a:cs typeface="Times New Roman"/>
                </a:rPr>
                <a:t>t  </a:t>
              </a:r>
              <a:r>
                <a:rPr sz="800" spc="-5" dirty="0">
                  <a:solidFill>
                    <a:srgbClr val="005DB8"/>
                  </a:solidFill>
                  <a:cs typeface="Times New Roman"/>
                </a:rPr>
                <a:t>TV</a:t>
              </a:r>
              <a:endParaRPr sz="800">
                <a:cs typeface="Times New Roman"/>
              </a:endParaRPr>
            </a:p>
          </p:txBody>
        </p:sp>
        <p:sp>
          <p:nvSpPr>
            <p:cNvPr id="315" name="object 298"/>
            <p:cNvSpPr/>
            <p:nvPr/>
          </p:nvSpPr>
          <p:spPr>
            <a:xfrm>
              <a:off x="3225166" y="2384576"/>
              <a:ext cx="253365" cy="155575"/>
            </a:xfrm>
            <a:custGeom>
              <a:avLst/>
              <a:gdLst/>
              <a:ahLst/>
              <a:cxnLst/>
              <a:rect l="l" t="t" r="r" b="b"/>
              <a:pathLst>
                <a:path w="253364" h="155575">
                  <a:moveTo>
                    <a:pt x="0" y="155448"/>
                  </a:moveTo>
                  <a:lnTo>
                    <a:pt x="0" y="4572"/>
                  </a:lnTo>
                  <a:lnTo>
                    <a:pt x="4571" y="0"/>
                  </a:lnTo>
                  <a:lnTo>
                    <a:pt x="245363" y="0"/>
                  </a:lnTo>
                  <a:lnTo>
                    <a:pt x="252983" y="4571"/>
                  </a:lnTo>
                  <a:lnTo>
                    <a:pt x="252983" y="155448"/>
                  </a:lnTo>
                  <a:lnTo>
                    <a:pt x="233171" y="155448"/>
                  </a:lnTo>
                  <a:lnTo>
                    <a:pt x="233171" y="19812"/>
                  </a:lnTo>
                  <a:lnTo>
                    <a:pt x="19811" y="19812"/>
                  </a:lnTo>
                  <a:lnTo>
                    <a:pt x="19811" y="155448"/>
                  </a:lnTo>
                  <a:lnTo>
                    <a:pt x="0" y="155448"/>
                  </a:lnTo>
                  <a:close/>
                </a:path>
                <a:path w="253364" h="155575">
                  <a:moveTo>
                    <a:pt x="19811" y="155448"/>
                  </a:moveTo>
                  <a:lnTo>
                    <a:pt x="19811" y="135636"/>
                  </a:lnTo>
                  <a:lnTo>
                    <a:pt x="233171" y="135636"/>
                  </a:lnTo>
                  <a:lnTo>
                    <a:pt x="233171" y="155448"/>
                  </a:lnTo>
                  <a:lnTo>
                    <a:pt x="19811" y="155448"/>
                  </a:lnTo>
                  <a:close/>
                </a:path>
              </a:pathLst>
            </a:custGeom>
            <a:solidFill>
              <a:srgbClr val="005DB8"/>
            </a:solidFill>
          </p:spPr>
          <p:txBody>
            <a:bodyPr wrap="square" lIns="0" tIns="0" rIns="0" bIns="0" rtlCol="0"/>
            <a:lstStyle/>
            <a:p>
              <a:endParaRPr/>
            </a:p>
          </p:txBody>
        </p:sp>
        <p:sp>
          <p:nvSpPr>
            <p:cNvPr id="316" name="object 299"/>
            <p:cNvSpPr/>
            <p:nvPr/>
          </p:nvSpPr>
          <p:spPr>
            <a:xfrm>
              <a:off x="3225166" y="2541549"/>
              <a:ext cx="253365" cy="26034"/>
            </a:xfrm>
            <a:custGeom>
              <a:avLst/>
              <a:gdLst/>
              <a:ahLst/>
              <a:cxnLst/>
              <a:rect l="l" t="t" r="r" b="b"/>
              <a:pathLst>
                <a:path w="253364" h="26035">
                  <a:moveTo>
                    <a:pt x="0" y="21336"/>
                  </a:moveTo>
                  <a:lnTo>
                    <a:pt x="0" y="0"/>
                  </a:lnTo>
                  <a:lnTo>
                    <a:pt x="252983" y="0"/>
                  </a:lnTo>
                  <a:lnTo>
                    <a:pt x="252983" y="21336"/>
                  </a:lnTo>
                  <a:lnTo>
                    <a:pt x="245363" y="25908"/>
                  </a:lnTo>
                  <a:lnTo>
                    <a:pt x="4571" y="25908"/>
                  </a:lnTo>
                  <a:lnTo>
                    <a:pt x="0" y="21336"/>
                  </a:lnTo>
                  <a:close/>
                </a:path>
              </a:pathLst>
            </a:custGeom>
            <a:solidFill>
              <a:srgbClr val="005DB8"/>
            </a:solidFill>
          </p:spPr>
          <p:txBody>
            <a:bodyPr wrap="square" lIns="0" tIns="0" rIns="0" bIns="0" rtlCol="0"/>
            <a:lstStyle/>
            <a:p>
              <a:endParaRPr/>
            </a:p>
          </p:txBody>
        </p:sp>
        <p:sp>
          <p:nvSpPr>
            <p:cNvPr id="317" name="object 300"/>
            <p:cNvSpPr/>
            <p:nvPr/>
          </p:nvSpPr>
          <p:spPr>
            <a:xfrm>
              <a:off x="3293746" y="2567456"/>
              <a:ext cx="114300" cy="29209"/>
            </a:xfrm>
            <a:custGeom>
              <a:avLst/>
              <a:gdLst/>
              <a:ahLst/>
              <a:cxnLst/>
              <a:rect l="l" t="t" r="r" b="b"/>
              <a:pathLst>
                <a:path w="114300" h="29210">
                  <a:moveTo>
                    <a:pt x="0" y="28956"/>
                  </a:moveTo>
                  <a:lnTo>
                    <a:pt x="0" y="24384"/>
                  </a:lnTo>
                  <a:lnTo>
                    <a:pt x="3047" y="24384"/>
                  </a:lnTo>
                  <a:lnTo>
                    <a:pt x="9024" y="24812"/>
                  </a:lnTo>
                  <a:lnTo>
                    <a:pt x="17716" y="24384"/>
                  </a:lnTo>
                  <a:lnTo>
                    <a:pt x="25550" y="20526"/>
                  </a:lnTo>
                  <a:lnTo>
                    <a:pt x="28955" y="10668"/>
                  </a:lnTo>
                  <a:lnTo>
                    <a:pt x="28955" y="0"/>
                  </a:lnTo>
                  <a:lnTo>
                    <a:pt x="86867" y="0"/>
                  </a:lnTo>
                  <a:lnTo>
                    <a:pt x="86867" y="10668"/>
                  </a:lnTo>
                  <a:lnTo>
                    <a:pt x="90463" y="20526"/>
                  </a:lnTo>
                  <a:lnTo>
                    <a:pt x="98488" y="24384"/>
                  </a:lnTo>
                  <a:lnTo>
                    <a:pt x="106799" y="24812"/>
                  </a:lnTo>
                  <a:lnTo>
                    <a:pt x="111251" y="24384"/>
                  </a:lnTo>
                  <a:lnTo>
                    <a:pt x="114299" y="24384"/>
                  </a:lnTo>
                  <a:lnTo>
                    <a:pt x="114299" y="28956"/>
                  </a:lnTo>
                  <a:lnTo>
                    <a:pt x="0" y="28956"/>
                  </a:lnTo>
                  <a:close/>
                </a:path>
              </a:pathLst>
            </a:custGeom>
            <a:solidFill>
              <a:srgbClr val="005DB8"/>
            </a:solidFill>
          </p:spPr>
          <p:txBody>
            <a:bodyPr wrap="square" lIns="0" tIns="0" rIns="0" bIns="0" rtlCol="0"/>
            <a:lstStyle/>
            <a:p>
              <a:endParaRPr/>
            </a:p>
          </p:txBody>
        </p:sp>
        <p:sp>
          <p:nvSpPr>
            <p:cNvPr id="318" name="object 301"/>
            <p:cNvSpPr/>
            <p:nvPr/>
          </p:nvSpPr>
          <p:spPr>
            <a:xfrm>
              <a:off x="2060830" y="2302281"/>
              <a:ext cx="960119" cy="376555"/>
            </a:xfrm>
            <a:custGeom>
              <a:avLst/>
              <a:gdLst/>
              <a:ahLst/>
              <a:cxnLst/>
              <a:rect l="l" t="t" r="r" b="b"/>
              <a:pathLst>
                <a:path w="960119" h="376554">
                  <a:moveTo>
                    <a:pt x="0" y="281939"/>
                  </a:moveTo>
                  <a:lnTo>
                    <a:pt x="0" y="94487"/>
                  </a:lnTo>
                  <a:lnTo>
                    <a:pt x="27813" y="27241"/>
                  </a:lnTo>
                  <a:lnTo>
                    <a:pt x="94487" y="0"/>
                  </a:lnTo>
                  <a:lnTo>
                    <a:pt x="865631" y="0"/>
                  </a:lnTo>
                  <a:lnTo>
                    <a:pt x="902255" y="7262"/>
                  </a:lnTo>
                  <a:lnTo>
                    <a:pt x="932307" y="27241"/>
                  </a:lnTo>
                  <a:lnTo>
                    <a:pt x="952642" y="57221"/>
                  </a:lnTo>
                  <a:lnTo>
                    <a:pt x="960120" y="94487"/>
                  </a:lnTo>
                  <a:lnTo>
                    <a:pt x="960120" y="281939"/>
                  </a:lnTo>
                  <a:lnTo>
                    <a:pt x="932307" y="348615"/>
                  </a:lnTo>
                  <a:lnTo>
                    <a:pt x="865631" y="376427"/>
                  </a:lnTo>
                  <a:lnTo>
                    <a:pt x="94488" y="376428"/>
                  </a:lnTo>
                  <a:lnTo>
                    <a:pt x="57864" y="368950"/>
                  </a:lnTo>
                  <a:lnTo>
                    <a:pt x="27813" y="348615"/>
                  </a:lnTo>
                  <a:lnTo>
                    <a:pt x="7477" y="318563"/>
                  </a:lnTo>
                  <a:lnTo>
                    <a:pt x="0" y="281939"/>
                  </a:lnTo>
                  <a:close/>
                </a:path>
              </a:pathLst>
            </a:custGeom>
            <a:solidFill>
              <a:srgbClr val="FFFFFF"/>
            </a:solidFill>
          </p:spPr>
          <p:txBody>
            <a:bodyPr wrap="square" lIns="0" tIns="0" rIns="0" bIns="0" rtlCol="0"/>
            <a:lstStyle/>
            <a:p>
              <a:endParaRPr/>
            </a:p>
          </p:txBody>
        </p:sp>
        <p:sp>
          <p:nvSpPr>
            <p:cNvPr id="319" name="object 302"/>
            <p:cNvSpPr txBox="1"/>
            <p:nvPr/>
          </p:nvSpPr>
          <p:spPr>
            <a:xfrm>
              <a:off x="2480908" y="2362193"/>
              <a:ext cx="324485" cy="246221"/>
            </a:xfrm>
            <a:prstGeom prst="rect">
              <a:avLst/>
            </a:prstGeom>
          </p:spPr>
          <p:txBody>
            <a:bodyPr vert="horz" wrap="square" lIns="0" tIns="0" rIns="0" bIns="0" rtlCol="0">
              <a:spAutoFit/>
            </a:bodyPr>
            <a:lstStyle/>
            <a:p>
              <a:pPr marL="12700" marR="5080">
                <a:lnSpc>
                  <a:spcPct val="100000"/>
                </a:lnSpc>
              </a:pPr>
              <a:r>
                <a:rPr sz="800" spc="80" dirty="0">
                  <a:solidFill>
                    <a:srgbClr val="005DB8"/>
                  </a:solidFill>
                  <a:cs typeface="Times New Roman"/>
                </a:rPr>
                <a:t>S</a:t>
              </a:r>
              <a:r>
                <a:rPr sz="800" spc="130" dirty="0">
                  <a:solidFill>
                    <a:srgbClr val="005DB8"/>
                  </a:solidFill>
                  <a:cs typeface="Times New Roman"/>
                </a:rPr>
                <a:t>m</a:t>
              </a:r>
              <a:r>
                <a:rPr sz="800" spc="85" dirty="0">
                  <a:solidFill>
                    <a:srgbClr val="005DB8"/>
                  </a:solidFill>
                  <a:cs typeface="Times New Roman"/>
                </a:rPr>
                <a:t>a</a:t>
              </a:r>
              <a:r>
                <a:rPr sz="800" spc="45" dirty="0">
                  <a:solidFill>
                    <a:srgbClr val="005DB8"/>
                  </a:solidFill>
                  <a:cs typeface="Times New Roman"/>
                </a:rPr>
                <a:t>r</a:t>
              </a:r>
              <a:r>
                <a:rPr sz="800" spc="80" dirty="0">
                  <a:solidFill>
                    <a:srgbClr val="005DB8"/>
                  </a:solidFill>
                  <a:cs typeface="Times New Roman"/>
                </a:rPr>
                <a:t>t  </a:t>
              </a:r>
              <a:r>
                <a:rPr sz="800" spc="50" dirty="0">
                  <a:solidFill>
                    <a:srgbClr val="005DB8"/>
                  </a:solidFill>
                  <a:cs typeface="Times New Roman"/>
                </a:rPr>
                <a:t>Card</a:t>
              </a:r>
              <a:endParaRPr sz="800">
                <a:cs typeface="Times New Roman"/>
              </a:endParaRPr>
            </a:p>
          </p:txBody>
        </p:sp>
        <p:sp>
          <p:nvSpPr>
            <p:cNvPr id="320" name="object 303"/>
            <p:cNvSpPr/>
            <p:nvPr/>
          </p:nvSpPr>
          <p:spPr>
            <a:xfrm>
              <a:off x="2175130" y="2375432"/>
              <a:ext cx="170815" cy="230504"/>
            </a:xfrm>
            <a:custGeom>
              <a:avLst/>
              <a:gdLst/>
              <a:ahLst/>
              <a:cxnLst/>
              <a:rect l="l" t="t" r="r" b="b"/>
              <a:pathLst>
                <a:path w="170815" h="230504">
                  <a:moveTo>
                    <a:pt x="0" y="230124"/>
                  </a:moveTo>
                  <a:lnTo>
                    <a:pt x="0" y="0"/>
                  </a:lnTo>
                  <a:lnTo>
                    <a:pt x="170688" y="0"/>
                  </a:lnTo>
                  <a:lnTo>
                    <a:pt x="170688" y="230124"/>
                  </a:lnTo>
                  <a:lnTo>
                    <a:pt x="158495" y="230124"/>
                  </a:lnTo>
                  <a:lnTo>
                    <a:pt x="158495" y="22860"/>
                  </a:lnTo>
                  <a:lnTo>
                    <a:pt x="85344" y="22860"/>
                  </a:lnTo>
                  <a:lnTo>
                    <a:pt x="85344" y="81092"/>
                  </a:lnTo>
                  <a:lnTo>
                    <a:pt x="66508" y="85058"/>
                  </a:lnTo>
                  <a:lnTo>
                    <a:pt x="49720" y="96774"/>
                  </a:lnTo>
                  <a:lnTo>
                    <a:pt x="37790" y="114204"/>
                  </a:lnTo>
                  <a:lnTo>
                    <a:pt x="32003" y="135636"/>
                  </a:lnTo>
                  <a:lnTo>
                    <a:pt x="24383" y="135636"/>
                  </a:lnTo>
                  <a:lnTo>
                    <a:pt x="24383" y="230124"/>
                  </a:lnTo>
                  <a:lnTo>
                    <a:pt x="0" y="230124"/>
                  </a:lnTo>
                  <a:close/>
                </a:path>
                <a:path w="170815" h="230504">
                  <a:moveTo>
                    <a:pt x="85344" y="42672"/>
                  </a:moveTo>
                  <a:lnTo>
                    <a:pt x="85344" y="32004"/>
                  </a:lnTo>
                  <a:lnTo>
                    <a:pt x="158495" y="32004"/>
                  </a:lnTo>
                  <a:lnTo>
                    <a:pt x="158495" y="42672"/>
                  </a:lnTo>
                  <a:lnTo>
                    <a:pt x="85344" y="42672"/>
                  </a:lnTo>
                  <a:close/>
                </a:path>
                <a:path w="170815" h="230504">
                  <a:moveTo>
                    <a:pt x="85344" y="81092"/>
                  </a:moveTo>
                  <a:lnTo>
                    <a:pt x="85344" y="50292"/>
                  </a:lnTo>
                  <a:lnTo>
                    <a:pt x="158495" y="50292"/>
                  </a:lnTo>
                  <a:lnTo>
                    <a:pt x="158495" y="230124"/>
                  </a:lnTo>
                  <a:lnTo>
                    <a:pt x="144779" y="230124"/>
                  </a:lnTo>
                  <a:lnTo>
                    <a:pt x="144779" y="137160"/>
                  </a:lnTo>
                  <a:lnTo>
                    <a:pt x="140446" y="114847"/>
                  </a:lnTo>
                  <a:lnTo>
                    <a:pt x="128397" y="96964"/>
                  </a:lnTo>
                  <a:lnTo>
                    <a:pt x="110061" y="85082"/>
                  </a:lnTo>
                  <a:lnTo>
                    <a:pt x="86867" y="80772"/>
                  </a:lnTo>
                  <a:lnTo>
                    <a:pt x="85344" y="81092"/>
                  </a:lnTo>
                  <a:close/>
                </a:path>
                <a:path w="170815" h="230504">
                  <a:moveTo>
                    <a:pt x="42672" y="230124"/>
                  </a:moveTo>
                  <a:lnTo>
                    <a:pt x="42672" y="167640"/>
                  </a:lnTo>
                  <a:lnTo>
                    <a:pt x="44195" y="175260"/>
                  </a:lnTo>
                  <a:lnTo>
                    <a:pt x="51816" y="179832"/>
                  </a:lnTo>
                  <a:lnTo>
                    <a:pt x="86868" y="192024"/>
                  </a:lnTo>
                  <a:lnTo>
                    <a:pt x="110061" y="187737"/>
                  </a:lnTo>
                  <a:lnTo>
                    <a:pt x="128397" y="176022"/>
                  </a:lnTo>
                  <a:lnTo>
                    <a:pt x="140446" y="158591"/>
                  </a:lnTo>
                  <a:lnTo>
                    <a:pt x="144779" y="137160"/>
                  </a:lnTo>
                  <a:lnTo>
                    <a:pt x="144779" y="230124"/>
                  </a:lnTo>
                  <a:lnTo>
                    <a:pt x="42672" y="230124"/>
                  </a:lnTo>
                  <a:close/>
                </a:path>
                <a:path w="170815" h="230504">
                  <a:moveTo>
                    <a:pt x="42672" y="135636"/>
                  </a:moveTo>
                  <a:lnTo>
                    <a:pt x="47220" y="118038"/>
                  </a:lnTo>
                  <a:lnTo>
                    <a:pt x="57340" y="104584"/>
                  </a:lnTo>
                  <a:lnTo>
                    <a:pt x="71175" y="95988"/>
                  </a:lnTo>
                  <a:lnTo>
                    <a:pt x="86867" y="92964"/>
                  </a:lnTo>
                  <a:lnTo>
                    <a:pt x="104941" y="96440"/>
                  </a:lnTo>
                  <a:lnTo>
                    <a:pt x="119443" y="105918"/>
                  </a:lnTo>
                  <a:lnTo>
                    <a:pt x="129087" y="119967"/>
                  </a:lnTo>
                  <a:lnTo>
                    <a:pt x="132588" y="137160"/>
                  </a:lnTo>
                  <a:lnTo>
                    <a:pt x="129087" y="155233"/>
                  </a:lnTo>
                  <a:lnTo>
                    <a:pt x="119443" y="169735"/>
                  </a:lnTo>
                  <a:lnTo>
                    <a:pt x="104941" y="179379"/>
                  </a:lnTo>
                  <a:lnTo>
                    <a:pt x="86868" y="182880"/>
                  </a:lnTo>
                  <a:lnTo>
                    <a:pt x="79248" y="182880"/>
                  </a:lnTo>
                  <a:lnTo>
                    <a:pt x="71628" y="179832"/>
                  </a:lnTo>
                  <a:lnTo>
                    <a:pt x="65532" y="175260"/>
                  </a:lnTo>
                  <a:lnTo>
                    <a:pt x="59436" y="172212"/>
                  </a:lnTo>
                  <a:lnTo>
                    <a:pt x="50291" y="163068"/>
                  </a:lnTo>
                  <a:lnTo>
                    <a:pt x="50291" y="135636"/>
                  </a:lnTo>
                  <a:lnTo>
                    <a:pt x="42672" y="135636"/>
                  </a:lnTo>
                  <a:close/>
                </a:path>
                <a:path w="170815" h="230504">
                  <a:moveTo>
                    <a:pt x="24383" y="230124"/>
                  </a:moveTo>
                  <a:lnTo>
                    <a:pt x="24383" y="135636"/>
                  </a:lnTo>
                  <a:lnTo>
                    <a:pt x="36575" y="152400"/>
                  </a:lnTo>
                  <a:lnTo>
                    <a:pt x="50291" y="135636"/>
                  </a:lnTo>
                  <a:lnTo>
                    <a:pt x="50291" y="163068"/>
                  </a:lnTo>
                  <a:lnTo>
                    <a:pt x="42672" y="167640"/>
                  </a:lnTo>
                  <a:lnTo>
                    <a:pt x="42672" y="230124"/>
                  </a:lnTo>
                  <a:lnTo>
                    <a:pt x="24383" y="230124"/>
                  </a:lnTo>
                  <a:close/>
                </a:path>
              </a:pathLst>
            </a:custGeom>
            <a:solidFill>
              <a:srgbClr val="005DB8"/>
            </a:solidFill>
          </p:spPr>
          <p:txBody>
            <a:bodyPr wrap="square" lIns="0" tIns="0" rIns="0" bIns="0" rtlCol="0"/>
            <a:lstStyle/>
            <a:p>
              <a:endParaRPr/>
            </a:p>
          </p:txBody>
        </p:sp>
        <p:sp>
          <p:nvSpPr>
            <p:cNvPr id="321" name="object 304"/>
            <p:cNvSpPr/>
            <p:nvPr/>
          </p:nvSpPr>
          <p:spPr>
            <a:xfrm>
              <a:off x="2175130" y="2375432"/>
              <a:ext cx="170815" cy="230504"/>
            </a:xfrm>
            <a:custGeom>
              <a:avLst/>
              <a:gdLst/>
              <a:ahLst/>
              <a:cxnLst/>
              <a:rect l="l" t="t" r="r" b="b"/>
              <a:pathLst>
                <a:path w="170815" h="230504">
                  <a:moveTo>
                    <a:pt x="0" y="230124"/>
                  </a:moveTo>
                  <a:lnTo>
                    <a:pt x="170687" y="230124"/>
                  </a:lnTo>
                  <a:lnTo>
                    <a:pt x="170687" y="0"/>
                  </a:lnTo>
                  <a:lnTo>
                    <a:pt x="0" y="0"/>
                  </a:lnTo>
                  <a:lnTo>
                    <a:pt x="0" y="230124"/>
                  </a:lnTo>
                  <a:close/>
                </a:path>
              </a:pathLst>
            </a:custGeom>
            <a:ln w="10668">
              <a:solidFill>
                <a:srgbClr val="FFFFFF"/>
              </a:solidFill>
            </a:ln>
          </p:spPr>
          <p:txBody>
            <a:bodyPr wrap="square" lIns="0" tIns="0" rIns="0" bIns="0" rtlCol="0"/>
            <a:lstStyle/>
            <a:p>
              <a:endParaRPr/>
            </a:p>
          </p:txBody>
        </p:sp>
        <p:sp>
          <p:nvSpPr>
            <p:cNvPr id="322" name="object 305"/>
            <p:cNvSpPr/>
            <p:nvPr/>
          </p:nvSpPr>
          <p:spPr>
            <a:xfrm>
              <a:off x="2255140" y="2392958"/>
              <a:ext cx="83820" cy="20320"/>
            </a:xfrm>
            <a:custGeom>
              <a:avLst/>
              <a:gdLst/>
              <a:ahLst/>
              <a:cxnLst/>
              <a:rect l="l" t="t" r="r" b="b"/>
              <a:pathLst>
                <a:path w="83819" h="20320">
                  <a:moveTo>
                    <a:pt x="0" y="19811"/>
                  </a:moveTo>
                  <a:lnTo>
                    <a:pt x="83819" y="19811"/>
                  </a:lnTo>
                  <a:lnTo>
                    <a:pt x="83819" y="0"/>
                  </a:lnTo>
                  <a:lnTo>
                    <a:pt x="0" y="0"/>
                  </a:lnTo>
                  <a:lnTo>
                    <a:pt x="0" y="19811"/>
                  </a:lnTo>
                  <a:close/>
                </a:path>
              </a:pathLst>
            </a:custGeom>
            <a:solidFill>
              <a:srgbClr val="FFFFFF"/>
            </a:solidFill>
          </p:spPr>
          <p:txBody>
            <a:bodyPr wrap="square" lIns="0" tIns="0" rIns="0" bIns="0" rtlCol="0"/>
            <a:lstStyle/>
            <a:p>
              <a:endParaRPr/>
            </a:p>
          </p:txBody>
        </p:sp>
        <p:sp>
          <p:nvSpPr>
            <p:cNvPr id="323" name="object 306"/>
            <p:cNvSpPr/>
            <p:nvPr/>
          </p:nvSpPr>
          <p:spPr>
            <a:xfrm>
              <a:off x="2255140" y="2412770"/>
              <a:ext cx="83820" cy="18415"/>
            </a:xfrm>
            <a:custGeom>
              <a:avLst/>
              <a:gdLst/>
              <a:ahLst/>
              <a:cxnLst/>
              <a:rect l="l" t="t" r="r" b="b"/>
              <a:pathLst>
                <a:path w="83819" h="18414">
                  <a:moveTo>
                    <a:pt x="0" y="18287"/>
                  </a:moveTo>
                  <a:lnTo>
                    <a:pt x="83819" y="18287"/>
                  </a:lnTo>
                  <a:lnTo>
                    <a:pt x="83819" y="0"/>
                  </a:lnTo>
                  <a:lnTo>
                    <a:pt x="0" y="0"/>
                  </a:lnTo>
                  <a:lnTo>
                    <a:pt x="0" y="18287"/>
                  </a:lnTo>
                  <a:close/>
                </a:path>
              </a:pathLst>
            </a:custGeom>
            <a:solidFill>
              <a:srgbClr val="FFFFFF"/>
            </a:solidFill>
          </p:spPr>
          <p:txBody>
            <a:bodyPr wrap="square" lIns="0" tIns="0" rIns="0" bIns="0" rtlCol="0"/>
            <a:lstStyle/>
            <a:p>
              <a:endParaRPr/>
            </a:p>
          </p:txBody>
        </p:sp>
        <p:sp>
          <p:nvSpPr>
            <p:cNvPr id="324" name="object 307"/>
            <p:cNvSpPr/>
            <p:nvPr/>
          </p:nvSpPr>
          <p:spPr>
            <a:xfrm>
              <a:off x="2199514" y="2456205"/>
              <a:ext cx="120650" cy="111760"/>
            </a:xfrm>
            <a:custGeom>
              <a:avLst/>
              <a:gdLst/>
              <a:ahLst/>
              <a:cxnLst/>
              <a:rect l="l" t="t" r="r" b="b"/>
              <a:pathLst>
                <a:path w="120650" h="111760">
                  <a:moveTo>
                    <a:pt x="62484" y="111251"/>
                  </a:moveTo>
                  <a:lnTo>
                    <a:pt x="27432" y="99059"/>
                  </a:lnTo>
                  <a:lnTo>
                    <a:pt x="19812" y="94487"/>
                  </a:lnTo>
                  <a:lnTo>
                    <a:pt x="18288" y="86867"/>
                  </a:lnTo>
                  <a:lnTo>
                    <a:pt x="25908" y="82295"/>
                  </a:lnTo>
                  <a:lnTo>
                    <a:pt x="30480" y="86867"/>
                  </a:lnTo>
                  <a:lnTo>
                    <a:pt x="35052" y="91439"/>
                  </a:lnTo>
                  <a:lnTo>
                    <a:pt x="41148" y="94487"/>
                  </a:lnTo>
                  <a:lnTo>
                    <a:pt x="47244" y="99059"/>
                  </a:lnTo>
                  <a:lnTo>
                    <a:pt x="54864" y="102107"/>
                  </a:lnTo>
                  <a:lnTo>
                    <a:pt x="62484" y="102107"/>
                  </a:lnTo>
                  <a:lnTo>
                    <a:pt x="80557" y="98607"/>
                  </a:lnTo>
                  <a:lnTo>
                    <a:pt x="95059" y="88963"/>
                  </a:lnTo>
                  <a:lnTo>
                    <a:pt x="104703" y="74461"/>
                  </a:lnTo>
                  <a:lnTo>
                    <a:pt x="108204" y="56387"/>
                  </a:lnTo>
                  <a:lnTo>
                    <a:pt x="104703" y="39195"/>
                  </a:lnTo>
                  <a:lnTo>
                    <a:pt x="95059" y="25145"/>
                  </a:lnTo>
                  <a:lnTo>
                    <a:pt x="80557" y="15668"/>
                  </a:lnTo>
                  <a:lnTo>
                    <a:pt x="62484" y="12191"/>
                  </a:lnTo>
                  <a:lnTo>
                    <a:pt x="46791" y="15216"/>
                  </a:lnTo>
                  <a:lnTo>
                    <a:pt x="32956" y="23812"/>
                  </a:lnTo>
                  <a:lnTo>
                    <a:pt x="22836" y="37266"/>
                  </a:lnTo>
                  <a:lnTo>
                    <a:pt x="18288" y="54863"/>
                  </a:lnTo>
                  <a:lnTo>
                    <a:pt x="25908" y="54863"/>
                  </a:lnTo>
                  <a:lnTo>
                    <a:pt x="12192" y="71627"/>
                  </a:lnTo>
                  <a:lnTo>
                    <a:pt x="0" y="54863"/>
                  </a:lnTo>
                  <a:lnTo>
                    <a:pt x="7620" y="54863"/>
                  </a:lnTo>
                  <a:lnTo>
                    <a:pt x="13406" y="33432"/>
                  </a:lnTo>
                  <a:lnTo>
                    <a:pt x="25336" y="16001"/>
                  </a:lnTo>
                  <a:lnTo>
                    <a:pt x="42124" y="4286"/>
                  </a:lnTo>
                  <a:lnTo>
                    <a:pt x="62484" y="0"/>
                  </a:lnTo>
                  <a:lnTo>
                    <a:pt x="85677" y="4310"/>
                  </a:lnTo>
                  <a:lnTo>
                    <a:pt x="104013" y="16192"/>
                  </a:lnTo>
                  <a:lnTo>
                    <a:pt x="116062" y="34075"/>
                  </a:lnTo>
                  <a:lnTo>
                    <a:pt x="120396" y="56387"/>
                  </a:lnTo>
                  <a:lnTo>
                    <a:pt x="116062" y="77819"/>
                  </a:lnTo>
                  <a:lnTo>
                    <a:pt x="104013" y="95249"/>
                  </a:lnTo>
                  <a:lnTo>
                    <a:pt x="85677" y="106965"/>
                  </a:lnTo>
                  <a:lnTo>
                    <a:pt x="62484" y="111251"/>
                  </a:lnTo>
                  <a:close/>
                </a:path>
              </a:pathLst>
            </a:custGeom>
            <a:ln w="10668">
              <a:solidFill>
                <a:srgbClr val="FFFFFF"/>
              </a:solidFill>
            </a:ln>
          </p:spPr>
          <p:txBody>
            <a:bodyPr wrap="square" lIns="0" tIns="0" rIns="0" bIns="0" rtlCol="0"/>
            <a:lstStyle/>
            <a:p>
              <a:endParaRPr/>
            </a:p>
          </p:txBody>
        </p:sp>
        <p:sp>
          <p:nvSpPr>
            <p:cNvPr id="325" name="object 308"/>
            <p:cNvSpPr/>
            <p:nvPr/>
          </p:nvSpPr>
          <p:spPr>
            <a:xfrm>
              <a:off x="4202050" y="2302281"/>
              <a:ext cx="960119" cy="376555"/>
            </a:xfrm>
            <a:custGeom>
              <a:avLst/>
              <a:gdLst/>
              <a:ahLst/>
              <a:cxnLst/>
              <a:rect l="l" t="t" r="r" b="b"/>
              <a:pathLst>
                <a:path w="960120" h="376554">
                  <a:moveTo>
                    <a:pt x="0" y="281939"/>
                  </a:moveTo>
                  <a:lnTo>
                    <a:pt x="0" y="94487"/>
                  </a:lnTo>
                  <a:lnTo>
                    <a:pt x="27241" y="27241"/>
                  </a:lnTo>
                  <a:lnTo>
                    <a:pt x="94487" y="0"/>
                  </a:lnTo>
                  <a:lnTo>
                    <a:pt x="865631" y="0"/>
                  </a:lnTo>
                  <a:lnTo>
                    <a:pt x="902898" y="7262"/>
                  </a:lnTo>
                  <a:lnTo>
                    <a:pt x="932878" y="27241"/>
                  </a:lnTo>
                  <a:lnTo>
                    <a:pt x="952857" y="57221"/>
                  </a:lnTo>
                  <a:lnTo>
                    <a:pt x="960120" y="94487"/>
                  </a:lnTo>
                  <a:lnTo>
                    <a:pt x="960120" y="281939"/>
                  </a:lnTo>
                  <a:lnTo>
                    <a:pt x="932878" y="348615"/>
                  </a:lnTo>
                  <a:lnTo>
                    <a:pt x="865631" y="376427"/>
                  </a:lnTo>
                  <a:lnTo>
                    <a:pt x="94488" y="376428"/>
                  </a:lnTo>
                  <a:lnTo>
                    <a:pt x="57221" y="368950"/>
                  </a:lnTo>
                  <a:lnTo>
                    <a:pt x="27241" y="348615"/>
                  </a:lnTo>
                  <a:lnTo>
                    <a:pt x="7262" y="318563"/>
                  </a:lnTo>
                  <a:lnTo>
                    <a:pt x="0" y="281939"/>
                  </a:lnTo>
                  <a:close/>
                </a:path>
              </a:pathLst>
            </a:custGeom>
            <a:solidFill>
              <a:srgbClr val="FFFFFF"/>
            </a:solidFill>
          </p:spPr>
          <p:txBody>
            <a:bodyPr wrap="square" lIns="0" tIns="0" rIns="0" bIns="0" rtlCol="0"/>
            <a:lstStyle/>
            <a:p>
              <a:endParaRPr/>
            </a:p>
          </p:txBody>
        </p:sp>
        <p:sp>
          <p:nvSpPr>
            <p:cNvPr id="326" name="object 309"/>
            <p:cNvSpPr txBox="1"/>
            <p:nvPr/>
          </p:nvSpPr>
          <p:spPr>
            <a:xfrm>
              <a:off x="4576450" y="2362193"/>
              <a:ext cx="481965" cy="246221"/>
            </a:xfrm>
            <a:prstGeom prst="rect">
              <a:avLst/>
            </a:prstGeom>
          </p:spPr>
          <p:txBody>
            <a:bodyPr vert="horz" wrap="square" lIns="0" tIns="0" rIns="0" bIns="0" rtlCol="0">
              <a:spAutoFit/>
            </a:bodyPr>
            <a:lstStyle/>
            <a:p>
              <a:pPr marL="12700" marR="5080">
                <a:lnSpc>
                  <a:spcPct val="100000"/>
                </a:lnSpc>
              </a:pPr>
              <a:r>
                <a:rPr sz="800" spc="45" dirty="0">
                  <a:solidFill>
                    <a:srgbClr val="005DB8"/>
                  </a:solidFill>
                  <a:cs typeface="Times New Roman"/>
                </a:rPr>
                <a:t>W</a:t>
              </a:r>
              <a:r>
                <a:rPr sz="800" spc="75" dirty="0">
                  <a:solidFill>
                    <a:srgbClr val="005DB8"/>
                  </a:solidFill>
                  <a:cs typeface="Times New Roman"/>
                </a:rPr>
                <a:t>e</a:t>
              </a:r>
              <a:r>
                <a:rPr sz="800" spc="85" dirty="0">
                  <a:solidFill>
                    <a:srgbClr val="005DB8"/>
                  </a:solidFill>
                  <a:cs typeface="Times New Roman"/>
                </a:rPr>
                <a:t>a</a:t>
              </a:r>
              <a:r>
                <a:rPr sz="800" spc="45" dirty="0">
                  <a:solidFill>
                    <a:srgbClr val="005DB8"/>
                  </a:solidFill>
                  <a:cs typeface="Times New Roman"/>
                </a:rPr>
                <a:t>r</a:t>
              </a:r>
              <a:r>
                <a:rPr sz="800" spc="85" dirty="0">
                  <a:solidFill>
                    <a:srgbClr val="005DB8"/>
                  </a:solidFill>
                  <a:cs typeface="Times New Roman"/>
                </a:rPr>
                <a:t>ab</a:t>
              </a:r>
              <a:r>
                <a:rPr sz="800" spc="-10" dirty="0">
                  <a:solidFill>
                    <a:srgbClr val="005DB8"/>
                  </a:solidFill>
                  <a:cs typeface="Times New Roman"/>
                </a:rPr>
                <a:t>l</a:t>
              </a:r>
              <a:r>
                <a:rPr sz="800" spc="65" dirty="0">
                  <a:solidFill>
                    <a:srgbClr val="005DB8"/>
                  </a:solidFill>
                  <a:cs typeface="Times New Roman"/>
                </a:rPr>
                <a:t>e  </a:t>
              </a:r>
              <a:r>
                <a:rPr sz="800" spc="45" dirty="0">
                  <a:solidFill>
                    <a:srgbClr val="005DB8"/>
                  </a:solidFill>
                  <a:cs typeface="Times New Roman"/>
                </a:rPr>
                <a:t>Devices</a:t>
              </a:r>
              <a:endParaRPr sz="800">
                <a:cs typeface="Times New Roman"/>
              </a:endParaRPr>
            </a:p>
          </p:txBody>
        </p:sp>
        <p:sp>
          <p:nvSpPr>
            <p:cNvPr id="327" name="object 310"/>
            <p:cNvSpPr/>
            <p:nvPr/>
          </p:nvSpPr>
          <p:spPr>
            <a:xfrm>
              <a:off x="4423030" y="2460776"/>
              <a:ext cx="13970" cy="13970"/>
            </a:xfrm>
            <a:custGeom>
              <a:avLst/>
              <a:gdLst/>
              <a:ahLst/>
              <a:cxnLst/>
              <a:rect l="l" t="t" r="r" b="b"/>
              <a:pathLst>
                <a:path w="13970" h="13970">
                  <a:moveTo>
                    <a:pt x="0" y="9144"/>
                  </a:moveTo>
                  <a:lnTo>
                    <a:pt x="1524" y="4572"/>
                  </a:lnTo>
                  <a:lnTo>
                    <a:pt x="1524" y="3048"/>
                  </a:lnTo>
                  <a:lnTo>
                    <a:pt x="6096" y="0"/>
                  </a:lnTo>
                  <a:lnTo>
                    <a:pt x="9144" y="0"/>
                  </a:lnTo>
                  <a:lnTo>
                    <a:pt x="13716" y="3047"/>
                  </a:lnTo>
                  <a:lnTo>
                    <a:pt x="13716" y="12192"/>
                  </a:lnTo>
                  <a:lnTo>
                    <a:pt x="9144" y="13716"/>
                  </a:lnTo>
                  <a:lnTo>
                    <a:pt x="6096" y="13716"/>
                  </a:lnTo>
                  <a:lnTo>
                    <a:pt x="1524" y="12192"/>
                  </a:lnTo>
                  <a:lnTo>
                    <a:pt x="0" y="9144"/>
                  </a:lnTo>
                  <a:close/>
                </a:path>
              </a:pathLst>
            </a:custGeom>
            <a:solidFill>
              <a:srgbClr val="005DB8"/>
            </a:solidFill>
          </p:spPr>
          <p:txBody>
            <a:bodyPr wrap="square" lIns="0" tIns="0" rIns="0" bIns="0" rtlCol="0"/>
            <a:lstStyle/>
            <a:p>
              <a:endParaRPr/>
            </a:p>
          </p:txBody>
        </p:sp>
        <p:sp>
          <p:nvSpPr>
            <p:cNvPr id="328" name="object 311"/>
            <p:cNvSpPr/>
            <p:nvPr/>
          </p:nvSpPr>
          <p:spPr>
            <a:xfrm>
              <a:off x="4299586" y="2376956"/>
              <a:ext cx="198120" cy="227329"/>
            </a:xfrm>
            <a:custGeom>
              <a:avLst/>
              <a:gdLst/>
              <a:ahLst/>
              <a:cxnLst/>
              <a:rect l="l" t="t" r="r" b="b"/>
              <a:pathLst>
                <a:path w="198120" h="227329">
                  <a:moveTo>
                    <a:pt x="188975" y="135635"/>
                  </a:moveTo>
                  <a:lnTo>
                    <a:pt x="188975" y="105155"/>
                  </a:lnTo>
                  <a:lnTo>
                    <a:pt x="192023" y="109727"/>
                  </a:lnTo>
                  <a:lnTo>
                    <a:pt x="193547" y="114299"/>
                  </a:lnTo>
                  <a:lnTo>
                    <a:pt x="193547" y="118871"/>
                  </a:lnTo>
                  <a:lnTo>
                    <a:pt x="196595" y="123443"/>
                  </a:lnTo>
                  <a:lnTo>
                    <a:pt x="198119" y="128015"/>
                  </a:lnTo>
                  <a:lnTo>
                    <a:pt x="196595" y="131063"/>
                  </a:lnTo>
                  <a:lnTo>
                    <a:pt x="193547" y="132587"/>
                  </a:lnTo>
                  <a:lnTo>
                    <a:pt x="192023" y="132587"/>
                  </a:lnTo>
                  <a:lnTo>
                    <a:pt x="188975" y="135635"/>
                  </a:lnTo>
                  <a:close/>
                </a:path>
                <a:path w="198120" h="227329">
                  <a:moveTo>
                    <a:pt x="187451" y="156971"/>
                  </a:moveTo>
                  <a:lnTo>
                    <a:pt x="187451" y="97535"/>
                  </a:lnTo>
                  <a:lnTo>
                    <a:pt x="188975" y="102107"/>
                  </a:lnTo>
                  <a:lnTo>
                    <a:pt x="188975" y="141731"/>
                  </a:lnTo>
                  <a:lnTo>
                    <a:pt x="192023" y="144779"/>
                  </a:lnTo>
                  <a:lnTo>
                    <a:pt x="192023" y="153923"/>
                  </a:lnTo>
                  <a:lnTo>
                    <a:pt x="188975" y="153923"/>
                  </a:lnTo>
                  <a:lnTo>
                    <a:pt x="187451" y="156971"/>
                  </a:lnTo>
                  <a:close/>
                </a:path>
                <a:path w="198120" h="227329">
                  <a:moveTo>
                    <a:pt x="188975" y="167639"/>
                  </a:moveTo>
                  <a:lnTo>
                    <a:pt x="188975" y="161543"/>
                  </a:lnTo>
                  <a:lnTo>
                    <a:pt x="192023" y="161543"/>
                  </a:lnTo>
                  <a:lnTo>
                    <a:pt x="192023" y="167639"/>
                  </a:lnTo>
                  <a:lnTo>
                    <a:pt x="188975" y="167639"/>
                  </a:lnTo>
                  <a:close/>
                </a:path>
                <a:path w="198120" h="227329">
                  <a:moveTo>
                    <a:pt x="187451" y="88391"/>
                  </a:moveTo>
                  <a:lnTo>
                    <a:pt x="187451" y="82295"/>
                  </a:lnTo>
                  <a:lnTo>
                    <a:pt x="188975" y="86867"/>
                  </a:lnTo>
                  <a:lnTo>
                    <a:pt x="188975" y="88391"/>
                  </a:lnTo>
                  <a:lnTo>
                    <a:pt x="187451" y="88391"/>
                  </a:lnTo>
                  <a:close/>
                </a:path>
                <a:path w="198120" h="227329">
                  <a:moveTo>
                    <a:pt x="187451" y="172211"/>
                  </a:moveTo>
                  <a:lnTo>
                    <a:pt x="187451" y="156971"/>
                  </a:lnTo>
                  <a:lnTo>
                    <a:pt x="188975" y="158495"/>
                  </a:lnTo>
                  <a:lnTo>
                    <a:pt x="188975" y="170687"/>
                  </a:lnTo>
                  <a:lnTo>
                    <a:pt x="187451" y="172211"/>
                  </a:lnTo>
                  <a:close/>
                </a:path>
                <a:path w="198120" h="227329">
                  <a:moveTo>
                    <a:pt x="187451" y="182879"/>
                  </a:moveTo>
                  <a:lnTo>
                    <a:pt x="187451" y="175259"/>
                  </a:lnTo>
                  <a:lnTo>
                    <a:pt x="188975" y="176783"/>
                  </a:lnTo>
                  <a:lnTo>
                    <a:pt x="188975" y="179831"/>
                  </a:lnTo>
                  <a:lnTo>
                    <a:pt x="187451" y="182879"/>
                  </a:lnTo>
                  <a:close/>
                </a:path>
                <a:path w="198120" h="227329">
                  <a:moveTo>
                    <a:pt x="175259" y="188975"/>
                  </a:moveTo>
                  <a:lnTo>
                    <a:pt x="175259" y="51815"/>
                  </a:lnTo>
                  <a:lnTo>
                    <a:pt x="176783" y="53339"/>
                  </a:lnTo>
                  <a:lnTo>
                    <a:pt x="179831" y="57911"/>
                  </a:lnTo>
                  <a:lnTo>
                    <a:pt x="179831" y="60959"/>
                  </a:lnTo>
                  <a:lnTo>
                    <a:pt x="181355" y="65531"/>
                  </a:lnTo>
                  <a:lnTo>
                    <a:pt x="184403" y="67055"/>
                  </a:lnTo>
                  <a:lnTo>
                    <a:pt x="184403" y="71627"/>
                  </a:lnTo>
                  <a:lnTo>
                    <a:pt x="187451" y="74675"/>
                  </a:lnTo>
                  <a:lnTo>
                    <a:pt x="187451" y="184403"/>
                  </a:lnTo>
                  <a:lnTo>
                    <a:pt x="184403" y="187451"/>
                  </a:lnTo>
                  <a:lnTo>
                    <a:pt x="181355" y="188975"/>
                  </a:lnTo>
                  <a:lnTo>
                    <a:pt x="175259" y="188975"/>
                  </a:lnTo>
                  <a:close/>
                </a:path>
                <a:path w="198120" h="227329">
                  <a:moveTo>
                    <a:pt x="160019" y="187451"/>
                  </a:moveTo>
                  <a:lnTo>
                    <a:pt x="160019" y="21335"/>
                  </a:lnTo>
                  <a:lnTo>
                    <a:pt x="163067" y="22859"/>
                  </a:lnTo>
                  <a:lnTo>
                    <a:pt x="172211" y="32003"/>
                  </a:lnTo>
                  <a:lnTo>
                    <a:pt x="172211" y="35051"/>
                  </a:lnTo>
                  <a:lnTo>
                    <a:pt x="175259" y="36575"/>
                  </a:lnTo>
                  <a:lnTo>
                    <a:pt x="176783" y="41147"/>
                  </a:lnTo>
                  <a:lnTo>
                    <a:pt x="179831" y="44195"/>
                  </a:lnTo>
                  <a:lnTo>
                    <a:pt x="175259" y="45719"/>
                  </a:lnTo>
                  <a:lnTo>
                    <a:pt x="175259" y="188975"/>
                  </a:lnTo>
                  <a:lnTo>
                    <a:pt x="172211" y="188975"/>
                  </a:lnTo>
                  <a:lnTo>
                    <a:pt x="170687" y="187451"/>
                  </a:lnTo>
                  <a:lnTo>
                    <a:pt x="160019" y="187451"/>
                  </a:lnTo>
                  <a:close/>
                </a:path>
                <a:path w="198120" h="227329">
                  <a:moveTo>
                    <a:pt x="0" y="97535"/>
                  </a:moveTo>
                  <a:lnTo>
                    <a:pt x="0" y="76199"/>
                  </a:lnTo>
                  <a:lnTo>
                    <a:pt x="3047" y="70103"/>
                  </a:lnTo>
                  <a:lnTo>
                    <a:pt x="3047" y="62483"/>
                  </a:lnTo>
                  <a:lnTo>
                    <a:pt x="4571" y="60959"/>
                  </a:lnTo>
                  <a:lnTo>
                    <a:pt x="4571" y="56387"/>
                  </a:lnTo>
                  <a:lnTo>
                    <a:pt x="7619" y="53339"/>
                  </a:lnTo>
                  <a:lnTo>
                    <a:pt x="7619" y="51815"/>
                  </a:lnTo>
                  <a:lnTo>
                    <a:pt x="9143" y="45719"/>
                  </a:lnTo>
                  <a:lnTo>
                    <a:pt x="12191" y="44195"/>
                  </a:lnTo>
                  <a:lnTo>
                    <a:pt x="15239" y="41147"/>
                  </a:lnTo>
                  <a:lnTo>
                    <a:pt x="15239" y="36575"/>
                  </a:lnTo>
                  <a:lnTo>
                    <a:pt x="28955" y="22859"/>
                  </a:lnTo>
                  <a:lnTo>
                    <a:pt x="33527" y="21335"/>
                  </a:lnTo>
                  <a:lnTo>
                    <a:pt x="35051" y="18287"/>
                  </a:lnTo>
                  <a:lnTo>
                    <a:pt x="38099" y="16763"/>
                  </a:lnTo>
                  <a:lnTo>
                    <a:pt x="41147" y="13715"/>
                  </a:lnTo>
                  <a:lnTo>
                    <a:pt x="45719" y="13715"/>
                  </a:lnTo>
                  <a:lnTo>
                    <a:pt x="47243" y="10667"/>
                  </a:lnTo>
                  <a:lnTo>
                    <a:pt x="51815" y="9143"/>
                  </a:lnTo>
                  <a:lnTo>
                    <a:pt x="54863" y="9143"/>
                  </a:lnTo>
                  <a:lnTo>
                    <a:pt x="59435" y="6095"/>
                  </a:lnTo>
                  <a:lnTo>
                    <a:pt x="60959" y="6095"/>
                  </a:lnTo>
                  <a:lnTo>
                    <a:pt x="67055" y="4571"/>
                  </a:lnTo>
                  <a:lnTo>
                    <a:pt x="73151" y="4571"/>
                  </a:lnTo>
                  <a:lnTo>
                    <a:pt x="76199" y="1523"/>
                  </a:lnTo>
                  <a:lnTo>
                    <a:pt x="88391" y="1523"/>
                  </a:lnTo>
                  <a:lnTo>
                    <a:pt x="89915" y="0"/>
                  </a:lnTo>
                  <a:lnTo>
                    <a:pt x="111251" y="0"/>
                  </a:lnTo>
                  <a:lnTo>
                    <a:pt x="115823" y="1523"/>
                  </a:lnTo>
                  <a:lnTo>
                    <a:pt x="124967" y="1523"/>
                  </a:lnTo>
                  <a:lnTo>
                    <a:pt x="129539" y="4571"/>
                  </a:lnTo>
                  <a:lnTo>
                    <a:pt x="137159" y="4571"/>
                  </a:lnTo>
                  <a:lnTo>
                    <a:pt x="140207" y="6095"/>
                  </a:lnTo>
                  <a:lnTo>
                    <a:pt x="141731" y="6095"/>
                  </a:lnTo>
                  <a:lnTo>
                    <a:pt x="146303" y="9143"/>
                  </a:lnTo>
                  <a:lnTo>
                    <a:pt x="149351" y="9143"/>
                  </a:lnTo>
                  <a:lnTo>
                    <a:pt x="150875" y="10667"/>
                  </a:lnTo>
                  <a:lnTo>
                    <a:pt x="153923" y="10667"/>
                  </a:lnTo>
                  <a:lnTo>
                    <a:pt x="155447" y="13715"/>
                  </a:lnTo>
                  <a:lnTo>
                    <a:pt x="158495" y="13715"/>
                  </a:lnTo>
                  <a:lnTo>
                    <a:pt x="160019" y="16763"/>
                  </a:lnTo>
                  <a:lnTo>
                    <a:pt x="163067" y="18287"/>
                  </a:lnTo>
                  <a:lnTo>
                    <a:pt x="166115" y="21335"/>
                  </a:lnTo>
                  <a:lnTo>
                    <a:pt x="160019" y="21335"/>
                  </a:lnTo>
                  <a:lnTo>
                    <a:pt x="160019" y="187451"/>
                  </a:lnTo>
                  <a:lnTo>
                    <a:pt x="158495" y="187451"/>
                  </a:lnTo>
                  <a:lnTo>
                    <a:pt x="155447" y="188975"/>
                  </a:lnTo>
                  <a:lnTo>
                    <a:pt x="153923" y="188975"/>
                  </a:lnTo>
                  <a:lnTo>
                    <a:pt x="153923" y="192023"/>
                  </a:lnTo>
                  <a:lnTo>
                    <a:pt x="150875" y="193547"/>
                  </a:lnTo>
                  <a:lnTo>
                    <a:pt x="150875" y="92963"/>
                  </a:lnTo>
                  <a:lnTo>
                    <a:pt x="149351" y="92455"/>
                  </a:lnTo>
                  <a:lnTo>
                    <a:pt x="149351" y="82295"/>
                  </a:lnTo>
                  <a:lnTo>
                    <a:pt x="146303" y="79247"/>
                  </a:lnTo>
                  <a:lnTo>
                    <a:pt x="141731" y="79247"/>
                  </a:lnTo>
                  <a:lnTo>
                    <a:pt x="140207" y="76199"/>
                  </a:lnTo>
                  <a:lnTo>
                    <a:pt x="137159" y="71627"/>
                  </a:lnTo>
                  <a:lnTo>
                    <a:pt x="134111" y="70103"/>
                  </a:lnTo>
                  <a:lnTo>
                    <a:pt x="128015" y="76199"/>
                  </a:lnTo>
                  <a:lnTo>
                    <a:pt x="123443" y="71627"/>
                  </a:lnTo>
                  <a:lnTo>
                    <a:pt x="118871" y="74675"/>
                  </a:lnTo>
                  <a:lnTo>
                    <a:pt x="118871" y="83819"/>
                  </a:lnTo>
                  <a:lnTo>
                    <a:pt x="115823" y="83819"/>
                  </a:lnTo>
                  <a:lnTo>
                    <a:pt x="115823" y="65531"/>
                  </a:lnTo>
                  <a:lnTo>
                    <a:pt x="106679" y="62102"/>
                  </a:lnTo>
                  <a:lnTo>
                    <a:pt x="106679" y="44195"/>
                  </a:lnTo>
                  <a:lnTo>
                    <a:pt x="99059" y="36575"/>
                  </a:lnTo>
                  <a:lnTo>
                    <a:pt x="88391" y="41147"/>
                  </a:lnTo>
                  <a:lnTo>
                    <a:pt x="82295" y="41147"/>
                  </a:lnTo>
                  <a:lnTo>
                    <a:pt x="77723" y="30479"/>
                  </a:lnTo>
                  <a:lnTo>
                    <a:pt x="68579" y="30479"/>
                  </a:lnTo>
                  <a:lnTo>
                    <a:pt x="64007" y="41147"/>
                  </a:lnTo>
                  <a:lnTo>
                    <a:pt x="59435" y="41147"/>
                  </a:lnTo>
                  <a:lnTo>
                    <a:pt x="47243" y="39623"/>
                  </a:lnTo>
                  <a:lnTo>
                    <a:pt x="41147" y="44195"/>
                  </a:lnTo>
                  <a:lnTo>
                    <a:pt x="41147" y="61721"/>
                  </a:lnTo>
                  <a:lnTo>
                    <a:pt x="30479" y="67055"/>
                  </a:lnTo>
                  <a:lnTo>
                    <a:pt x="30479" y="152706"/>
                  </a:lnTo>
                  <a:lnTo>
                    <a:pt x="24383" y="144779"/>
                  </a:lnTo>
                  <a:lnTo>
                    <a:pt x="7619" y="117347"/>
                  </a:lnTo>
                  <a:lnTo>
                    <a:pt x="4571" y="109727"/>
                  </a:lnTo>
                  <a:lnTo>
                    <a:pt x="3047" y="102107"/>
                  </a:lnTo>
                  <a:lnTo>
                    <a:pt x="0" y="97535"/>
                  </a:lnTo>
                  <a:close/>
                </a:path>
                <a:path w="198120" h="227329">
                  <a:moveTo>
                    <a:pt x="114299" y="225950"/>
                  </a:moveTo>
                  <a:lnTo>
                    <a:pt x="114299" y="100583"/>
                  </a:lnTo>
                  <a:lnTo>
                    <a:pt x="115823" y="102107"/>
                  </a:lnTo>
                  <a:lnTo>
                    <a:pt x="120395" y="102107"/>
                  </a:lnTo>
                  <a:lnTo>
                    <a:pt x="123443" y="105155"/>
                  </a:lnTo>
                  <a:lnTo>
                    <a:pt x="124967" y="109727"/>
                  </a:lnTo>
                  <a:lnTo>
                    <a:pt x="128015" y="111251"/>
                  </a:lnTo>
                  <a:lnTo>
                    <a:pt x="134111" y="105155"/>
                  </a:lnTo>
                  <a:lnTo>
                    <a:pt x="140207" y="109727"/>
                  </a:lnTo>
                  <a:lnTo>
                    <a:pt x="144779" y="106679"/>
                  </a:lnTo>
                  <a:lnTo>
                    <a:pt x="144779" y="97535"/>
                  </a:lnTo>
                  <a:lnTo>
                    <a:pt x="149351" y="97535"/>
                  </a:lnTo>
                  <a:lnTo>
                    <a:pt x="150875" y="92963"/>
                  </a:lnTo>
                  <a:lnTo>
                    <a:pt x="150875" y="227075"/>
                  </a:lnTo>
                  <a:lnTo>
                    <a:pt x="144779" y="226888"/>
                  </a:lnTo>
                  <a:lnTo>
                    <a:pt x="144779" y="106679"/>
                  </a:lnTo>
                  <a:lnTo>
                    <a:pt x="141731" y="100583"/>
                  </a:lnTo>
                  <a:lnTo>
                    <a:pt x="141731" y="226794"/>
                  </a:lnTo>
                  <a:lnTo>
                    <a:pt x="114299" y="225950"/>
                  </a:lnTo>
                  <a:close/>
                </a:path>
                <a:path w="198120" h="227329">
                  <a:moveTo>
                    <a:pt x="146303" y="91439"/>
                  </a:moveTo>
                  <a:lnTo>
                    <a:pt x="146303" y="86867"/>
                  </a:lnTo>
                  <a:lnTo>
                    <a:pt x="149351" y="82295"/>
                  </a:lnTo>
                  <a:lnTo>
                    <a:pt x="149351" y="92455"/>
                  </a:lnTo>
                  <a:lnTo>
                    <a:pt x="146303" y="91439"/>
                  </a:lnTo>
                  <a:close/>
                </a:path>
                <a:path w="198120" h="227329">
                  <a:moveTo>
                    <a:pt x="118871" y="83819"/>
                  </a:moveTo>
                  <a:lnTo>
                    <a:pt x="118871" y="74675"/>
                  </a:lnTo>
                  <a:lnTo>
                    <a:pt x="120395" y="82295"/>
                  </a:lnTo>
                  <a:lnTo>
                    <a:pt x="118871" y="83819"/>
                  </a:lnTo>
                  <a:close/>
                </a:path>
                <a:path w="198120" h="227329">
                  <a:moveTo>
                    <a:pt x="102107" y="86867"/>
                  </a:moveTo>
                  <a:lnTo>
                    <a:pt x="103631" y="79247"/>
                  </a:lnTo>
                  <a:lnTo>
                    <a:pt x="115823" y="74675"/>
                  </a:lnTo>
                  <a:lnTo>
                    <a:pt x="115823" y="83819"/>
                  </a:lnTo>
                  <a:lnTo>
                    <a:pt x="111251" y="83819"/>
                  </a:lnTo>
                  <a:lnTo>
                    <a:pt x="111251" y="225856"/>
                  </a:lnTo>
                  <a:lnTo>
                    <a:pt x="106679" y="225716"/>
                  </a:lnTo>
                  <a:lnTo>
                    <a:pt x="106679" y="96011"/>
                  </a:lnTo>
                  <a:lnTo>
                    <a:pt x="102107" y="86867"/>
                  </a:lnTo>
                  <a:close/>
                </a:path>
                <a:path w="198120" h="227329">
                  <a:moveTo>
                    <a:pt x="111251" y="225856"/>
                  </a:moveTo>
                  <a:lnTo>
                    <a:pt x="111251" y="88391"/>
                  </a:lnTo>
                  <a:lnTo>
                    <a:pt x="115823" y="91439"/>
                  </a:lnTo>
                  <a:lnTo>
                    <a:pt x="115823" y="96011"/>
                  </a:lnTo>
                  <a:lnTo>
                    <a:pt x="114299" y="100583"/>
                  </a:lnTo>
                  <a:lnTo>
                    <a:pt x="114299" y="225950"/>
                  </a:lnTo>
                  <a:lnTo>
                    <a:pt x="111251" y="225856"/>
                  </a:lnTo>
                  <a:close/>
                </a:path>
                <a:path w="198120" h="227329">
                  <a:moveTo>
                    <a:pt x="102107" y="56387"/>
                  </a:moveTo>
                  <a:lnTo>
                    <a:pt x="106679" y="44195"/>
                  </a:lnTo>
                  <a:lnTo>
                    <a:pt x="106679" y="62102"/>
                  </a:lnTo>
                  <a:lnTo>
                    <a:pt x="103631" y="60959"/>
                  </a:lnTo>
                  <a:lnTo>
                    <a:pt x="102107" y="56387"/>
                  </a:lnTo>
                  <a:close/>
                </a:path>
                <a:path w="198120" h="227329">
                  <a:moveTo>
                    <a:pt x="41147" y="167470"/>
                  </a:moveTo>
                  <a:lnTo>
                    <a:pt x="41147" y="97535"/>
                  </a:lnTo>
                  <a:lnTo>
                    <a:pt x="47243" y="102107"/>
                  </a:lnTo>
                  <a:lnTo>
                    <a:pt x="59435" y="97535"/>
                  </a:lnTo>
                  <a:lnTo>
                    <a:pt x="64007" y="100583"/>
                  </a:lnTo>
                  <a:lnTo>
                    <a:pt x="68579" y="111251"/>
                  </a:lnTo>
                  <a:lnTo>
                    <a:pt x="77723" y="111251"/>
                  </a:lnTo>
                  <a:lnTo>
                    <a:pt x="82295" y="100583"/>
                  </a:lnTo>
                  <a:lnTo>
                    <a:pt x="88391" y="97535"/>
                  </a:lnTo>
                  <a:lnTo>
                    <a:pt x="102107" y="102107"/>
                  </a:lnTo>
                  <a:lnTo>
                    <a:pt x="106679" y="96011"/>
                  </a:lnTo>
                  <a:lnTo>
                    <a:pt x="106679" y="225716"/>
                  </a:lnTo>
                  <a:lnTo>
                    <a:pt x="51815" y="224027"/>
                  </a:lnTo>
                  <a:lnTo>
                    <a:pt x="51815" y="202691"/>
                  </a:lnTo>
                  <a:lnTo>
                    <a:pt x="51387" y="197500"/>
                  </a:lnTo>
                  <a:lnTo>
                    <a:pt x="48386" y="184022"/>
                  </a:lnTo>
                  <a:lnTo>
                    <a:pt x="41147" y="167470"/>
                  </a:lnTo>
                  <a:close/>
                </a:path>
                <a:path w="198120" h="227329">
                  <a:moveTo>
                    <a:pt x="50291" y="210311"/>
                  </a:moveTo>
                  <a:lnTo>
                    <a:pt x="51815" y="202691"/>
                  </a:lnTo>
                  <a:lnTo>
                    <a:pt x="51815" y="224027"/>
                  </a:lnTo>
                  <a:lnTo>
                    <a:pt x="50291" y="210311"/>
                  </a:lnTo>
                  <a:close/>
                </a:path>
                <a:path w="198120" h="227329">
                  <a:moveTo>
                    <a:pt x="41147" y="61721"/>
                  </a:moveTo>
                  <a:lnTo>
                    <a:pt x="41147" y="44195"/>
                  </a:lnTo>
                  <a:lnTo>
                    <a:pt x="45719" y="56387"/>
                  </a:lnTo>
                  <a:lnTo>
                    <a:pt x="42671" y="60959"/>
                  </a:lnTo>
                  <a:lnTo>
                    <a:pt x="41147" y="61721"/>
                  </a:lnTo>
                  <a:close/>
                </a:path>
                <a:path w="198120" h="227329">
                  <a:moveTo>
                    <a:pt x="30479" y="152706"/>
                  </a:moveTo>
                  <a:lnTo>
                    <a:pt x="30479" y="74675"/>
                  </a:lnTo>
                  <a:lnTo>
                    <a:pt x="42671" y="79247"/>
                  </a:lnTo>
                  <a:lnTo>
                    <a:pt x="45719" y="86867"/>
                  </a:lnTo>
                  <a:lnTo>
                    <a:pt x="41147" y="97535"/>
                  </a:lnTo>
                  <a:lnTo>
                    <a:pt x="41147" y="167470"/>
                  </a:lnTo>
                  <a:lnTo>
                    <a:pt x="40243" y="165401"/>
                  </a:lnTo>
                  <a:lnTo>
                    <a:pt x="30479" y="152706"/>
                  </a:lnTo>
                  <a:close/>
                </a:path>
              </a:pathLst>
            </a:custGeom>
            <a:solidFill>
              <a:srgbClr val="005DB8"/>
            </a:solidFill>
          </p:spPr>
          <p:txBody>
            <a:bodyPr wrap="square" lIns="0" tIns="0" rIns="0" bIns="0" rtlCol="0"/>
            <a:lstStyle/>
            <a:p>
              <a:endParaRPr/>
            </a:p>
          </p:txBody>
        </p:sp>
        <p:sp>
          <p:nvSpPr>
            <p:cNvPr id="329" name="object 312"/>
            <p:cNvSpPr/>
            <p:nvPr/>
          </p:nvSpPr>
          <p:spPr>
            <a:xfrm>
              <a:off x="4359022" y="2434869"/>
              <a:ext cx="27940" cy="26034"/>
            </a:xfrm>
            <a:custGeom>
              <a:avLst/>
              <a:gdLst/>
              <a:ahLst/>
              <a:cxnLst/>
              <a:rect l="l" t="t" r="r" b="b"/>
              <a:pathLst>
                <a:path w="27939" h="26035">
                  <a:moveTo>
                    <a:pt x="0" y="19811"/>
                  </a:moveTo>
                  <a:lnTo>
                    <a:pt x="0" y="6095"/>
                  </a:lnTo>
                  <a:lnTo>
                    <a:pt x="6095" y="0"/>
                  </a:lnTo>
                  <a:lnTo>
                    <a:pt x="21336" y="0"/>
                  </a:lnTo>
                  <a:lnTo>
                    <a:pt x="27432" y="6095"/>
                  </a:lnTo>
                  <a:lnTo>
                    <a:pt x="27432" y="19811"/>
                  </a:lnTo>
                  <a:lnTo>
                    <a:pt x="21336" y="25907"/>
                  </a:lnTo>
                  <a:lnTo>
                    <a:pt x="6096" y="25907"/>
                  </a:lnTo>
                  <a:lnTo>
                    <a:pt x="0" y="19811"/>
                  </a:lnTo>
                  <a:close/>
                </a:path>
              </a:pathLst>
            </a:custGeom>
            <a:solidFill>
              <a:srgbClr val="005DB8"/>
            </a:solidFill>
          </p:spPr>
          <p:txBody>
            <a:bodyPr wrap="square" lIns="0" tIns="0" rIns="0" bIns="0" rtlCol="0"/>
            <a:lstStyle/>
            <a:p>
              <a:endParaRPr/>
            </a:p>
          </p:txBody>
        </p:sp>
      </p:grpSp>
      <p:sp>
        <p:nvSpPr>
          <p:cNvPr id="330" name="object 4"/>
          <p:cNvSpPr/>
          <p:nvPr/>
        </p:nvSpPr>
        <p:spPr>
          <a:xfrm>
            <a:off x="599664" y="597646"/>
            <a:ext cx="10553700" cy="76200"/>
          </a:xfrm>
          <a:custGeom>
            <a:avLst/>
            <a:gdLst/>
            <a:ahLst/>
            <a:cxnLst/>
            <a:rect l="l" t="t" r="r" b="b"/>
            <a:pathLst>
              <a:path w="10553700" h="76200">
                <a:moveTo>
                  <a:pt x="10515600" y="0"/>
                </a:moveTo>
                <a:lnTo>
                  <a:pt x="10477500" y="38100"/>
                </a:lnTo>
                <a:lnTo>
                  <a:pt x="10515600" y="76200"/>
                </a:lnTo>
                <a:lnTo>
                  <a:pt x="10547350" y="44450"/>
                </a:lnTo>
                <a:lnTo>
                  <a:pt x="10515600" y="44450"/>
                </a:lnTo>
                <a:lnTo>
                  <a:pt x="10515600" y="31750"/>
                </a:lnTo>
                <a:lnTo>
                  <a:pt x="10547350" y="31750"/>
                </a:lnTo>
                <a:lnTo>
                  <a:pt x="10515600" y="0"/>
                </a:lnTo>
                <a:close/>
              </a:path>
              <a:path w="10553700" h="76200">
                <a:moveTo>
                  <a:pt x="10483850" y="31750"/>
                </a:moveTo>
                <a:lnTo>
                  <a:pt x="0" y="31750"/>
                </a:lnTo>
                <a:lnTo>
                  <a:pt x="0" y="44450"/>
                </a:lnTo>
                <a:lnTo>
                  <a:pt x="10483850" y="44450"/>
                </a:lnTo>
                <a:lnTo>
                  <a:pt x="10477500" y="38100"/>
                </a:lnTo>
                <a:lnTo>
                  <a:pt x="10483850" y="31750"/>
                </a:lnTo>
                <a:close/>
              </a:path>
              <a:path w="10553700" h="76200">
                <a:moveTo>
                  <a:pt x="10547350" y="31750"/>
                </a:moveTo>
                <a:lnTo>
                  <a:pt x="10515600" y="31750"/>
                </a:lnTo>
                <a:lnTo>
                  <a:pt x="10515600" y="44450"/>
                </a:lnTo>
                <a:lnTo>
                  <a:pt x="10547350" y="44450"/>
                </a:lnTo>
                <a:lnTo>
                  <a:pt x="10553700" y="38100"/>
                </a:lnTo>
                <a:lnTo>
                  <a:pt x="10547350" y="31750"/>
                </a:lnTo>
                <a:close/>
              </a:path>
            </a:pathLst>
          </a:custGeom>
          <a:solidFill>
            <a:srgbClr val="6C1F77"/>
          </a:solidFill>
        </p:spPr>
        <p:txBody>
          <a:bodyPr wrap="square" lIns="0" tIns="0" rIns="0" bIns="0" rtlCol="0"/>
          <a:lstStyle/>
          <a:p>
            <a:endParaRPr/>
          </a:p>
        </p:txBody>
      </p:sp>
    </p:spTree>
    <p:extLst>
      <p:ext uri="{BB962C8B-B14F-4D97-AF65-F5344CB8AC3E}">
        <p14:creationId xmlns:p14="http://schemas.microsoft.com/office/powerpoint/2010/main" val="2297627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19"/>
                                        </p:tgtEl>
                                        <p:attrNameLst>
                                          <p:attrName>style.visibility</p:attrName>
                                        </p:attrNameLst>
                                      </p:cBhvr>
                                      <p:to>
                                        <p:strVal val="visible"/>
                                      </p:to>
                                    </p:set>
                                    <p:animEffect transition="in" filter="fade">
                                      <p:cBhvr>
                                        <p:cTn id="7" dur="500"/>
                                        <p:tgtEl>
                                          <p:spTgt spid="119"/>
                                        </p:tgtEl>
                                      </p:cBhvr>
                                    </p:animEffect>
                                  </p:childTnLst>
                                </p:cTn>
                              </p:par>
                              <p:par>
                                <p:cTn id="8" presetID="35" presetClass="path" presetSubtype="0" decel="100000" fill="hold" grpId="1" nodeType="withEffect">
                                  <p:stCondLst>
                                    <p:cond delay="500"/>
                                  </p:stCondLst>
                                  <p:childTnLst>
                                    <p:animMotion origin="layout" path="M 0 -1.85185E-6 L 0 0.06736 " pathEditMode="relative" rAng="0" ptsTypes="AA">
                                      <p:cBhvr>
                                        <p:cTn id="9" dur="750" spd="-100000" fill="hold"/>
                                        <p:tgtEl>
                                          <p:spTgt spid="119"/>
                                        </p:tgtEl>
                                        <p:attrNameLst>
                                          <p:attrName>ppt_x</p:attrName>
                                          <p:attrName>ppt_y</p:attrName>
                                        </p:attrNameLst>
                                      </p:cBhvr>
                                      <p:rCtr x="0" y="3356"/>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19" grpId="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50141" y="524415"/>
            <a:ext cx="11109250" cy="533400"/>
          </a:xfrm>
        </p:spPr>
        <p:txBody>
          <a:bodyPr vert="horz" lIns="0" tIns="0" rIns="0" bIns="0" rtlCol="0" anchor="t" anchorCtr="0">
            <a:noAutofit/>
          </a:bodyPr>
          <a:lstStyle/>
          <a:p>
            <a:r>
              <a:rPr lang="en-US" sz="2800" b="1" dirty="0">
                <a:solidFill>
                  <a:srgbClr val="0070C0"/>
                </a:solidFill>
                <a:latin typeface="Cambria" panose="02040503050406030204" pitchFamily="18" charset="0"/>
                <a:cs typeface="Arial"/>
              </a:rPr>
              <a:t>The core infrastructure elements in a smart city would include… </a:t>
            </a:r>
          </a:p>
        </p:txBody>
      </p:sp>
      <p:sp>
        <p:nvSpPr>
          <p:cNvPr id="129" name="Rectangle 128"/>
          <p:cNvSpPr/>
          <p:nvPr/>
        </p:nvSpPr>
        <p:spPr>
          <a:xfrm>
            <a:off x="434406"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0" name="Rectangle 129"/>
          <p:cNvSpPr/>
          <p:nvPr/>
        </p:nvSpPr>
        <p:spPr>
          <a:xfrm>
            <a:off x="2081173"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1" name="Rectangle 130"/>
          <p:cNvSpPr/>
          <p:nvPr/>
        </p:nvSpPr>
        <p:spPr>
          <a:xfrm>
            <a:off x="3727940"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2" name="Rectangle 131"/>
          <p:cNvSpPr/>
          <p:nvPr/>
        </p:nvSpPr>
        <p:spPr>
          <a:xfrm>
            <a:off x="5374707"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3" name="Rectangle 132"/>
          <p:cNvSpPr/>
          <p:nvPr/>
        </p:nvSpPr>
        <p:spPr>
          <a:xfrm>
            <a:off x="7021474"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4" name="Rectangle 133"/>
          <p:cNvSpPr/>
          <p:nvPr/>
        </p:nvSpPr>
        <p:spPr>
          <a:xfrm>
            <a:off x="8668241"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135" name="Rectangle 134"/>
          <p:cNvSpPr/>
          <p:nvPr/>
        </p:nvSpPr>
        <p:spPr>
          <a:xfrm>
            <a:off x="10315008" y="1023057"/>
            <a:ext cx="1554480" cy="42976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endParaRPr lang="en-US" sz="1500" dirty="0" err="1">
              <a:solidFill>
                <a:prstClr val="white"/>
              </a:solidFill>
            </a:endParaRPr>
          </a:p>
        </p:txBody>
      </p:sp>
      <p:sp>
        <p:nvSpPr>
          <p:cNvPr id="99" name="Rectangle 98"/>
          <p:cNvSpPr/>
          <p:nvPr/>
        </p:nvSpPr>
        <p:spPr>
          <a:xfrm>
            <a:off x="433452"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Centralised monitoring of  city operations</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Accelerates emergency response with cross-agency collaboration</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Simulates city operations and facilitates intelligent decision-making</a:t>
            </a:r>
          </a:p>
        </p:txBody>
      </p:sp>
      <p:sp>
        <p:nvSpPr>
          <p:cNvPr id="100" name="Rectangle 99"/>
          <p:cNvSpPr/>
          <p:nvPr/>
        </p:nvSpPr>
        <p:spPr>
          <a:xfrm>
            <a:off x="2082558"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Smooth functioning of government to provide an  interconnected platform for multiple agencies</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Video conferencing and support for mobile devices to help workers collaborate across any distance, from offices or in the field</a:t>
            </a:r>
          </a:p>
        </p:txBody>
      </p:sp>
      <p:sp>
        <p:nvSpPr>
          <p:cNvPr id="101" name="Rectangle 100"/>
          <p:cNvSpPr/>
          <p:nvPr/>
        </p:nvSpPr>
        <p:spPr>
          <a:xfrm>
            <a:off x="3731664"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endParaRPr lang="en-US" sz="1100" dirty="0">
              <a:solidFill>
                <a:srgbClr val="000000"/>
              </a:solidFill>
            </a:endParaRPr>
          </a:p>
          <a:p>
            <a:pPr marL="171450" indent="-171450">
              <a:buFont typeface="Arial" panose="020B0604020202020204" pitchFamily="34" charset="0"/>
              <a:buChar char="•"/>
            </a:pPr>
            <a:r>
              <a:rPr lang="en-US" sz="1100" dirty="0">
                <a:solidFill>
                  <a:srgbClr val="000000"/>
                </a:solidFill>
              </a:rPr>
              <a:t>One key element of smart cities is the network backbone, easy and ubiquitous </a:t>
            </a:r>
            <a:r>
              <a:rPr lang="en-US" sz="1100" dirty="0" err="1">
                <a:solidFill>
                  <a:srgbClr val="000000"/>
                </a:solidFill>
              </a:rPr>
              <a:t>WiFi</a:t>
            </a:r>
            <a:r>
              <a:rPr lang="en-US" sz="1100" dirty="0">
                <a:solidFill>
                  <a:srgbClr val="000000"/>
                </a:solidFill>
              </a:rPr>
              <a:t> access for the citizens</a:t>
            </a:r>
          </a:p>
          <a:p>
            <a:pPr marL="171450" indent="-171450">
              <a:buFont typeface="Arial" panose="020B0604020202020204" pitchFamily="34" charset="0"/>
              <a:buChar char="•"/>
            </a:pPr>
            <a:r>
              <a:rPr lang="en-US" sz="1100" dirty="0">
                <a:solidFill>
                  <a:srgbClr val="000000"/>
                </a:solidFill>
              </a:rPr>
              <a:t>Provision of free internet at places like tourist destinations, railway and bus stations, important shopping areas etc. </a:t>
            </a:r>
          </a:p>
          <a:p>
            <a:pPr marL="171450" indent="-171450">
              <a:buFont typeface="Arial" panose="020B0604020202020204" pitchFamily="34" charset="0"/>
              <a:buChar char="•"/>
            </a:pPr>
            <a:endParaRPr lang="en-US" sz="1100" dirty="0">
              <a:solidFill>
                <a:srgbClr val="000000"/>
              </a:solidFill>
              <a:cs typeface="Times New Roman" panose="02020603050405020304" pitchFamily="18" charset="0"/>
            </a:endParaRPr>
          </a:p>
        </p:txBody>
      </p:sp>
      <p:sp>
        <p:nvSpPr>
          <p:cNvPr id="102" name="Rectangle 101"/>
          <p:cNvSpPr/>
          <p:nvPr/>
        </p:nvSpPr>
        <p:spPr>
          <a:xfrm>
            <a:off x="5380770"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Virtual education solution with high quality video resources</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Smart classroom solution for education providing online content, smart boards and integrated School Management System</a:t>
            </a:r>
          </a:p>
        </p:txBody>
      </p:sp>
      <p:sp>
        <p:nvSpPr>
          <p:cNvPr id="103" name="Rectangle 102"/>
          <p:cNvSpPr/>
          <p:nvPr/>
        </p:nvSpPr>
        <p:spPr>
          <a:xfrm>
            <a:off x="7029876"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Life cycle management of Electronic Health Records (EHRs)</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Provides high quality videos/ visualization to  networks running 24/7 and wireless technologies for in-hospital or remote medical services</a:t>
            </a:r>
          </a:p>
        </p:txBody>
      </p:sp>
      <p:sp>
        <p:nvSpPr>
          <p:cNvPr id="104" name="Rectangle 103"/>
          <p:cNvSpPr/>
          <p:nvPr/>
        </p:nvSpPr>
        <p:spPr>
          <a:xfrm>
            <a:off x="8678982"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City-wide traffic video surveillance and traffic data collection</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Real-time video makes emergency command and response much faster</a:t>
            </a:r>
          </a:p>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Computerized evidence making drivers more aware of traffic laws</a:t>
            </a:r>
          </a:p>
        </p:txBody>
      </p:sp>
      <p:sp>
        <p:nvSpPr>
          <p:cNvPr id="105" name="Rectangle 104"/>
          <p:cNvSpPr/>
          <p:nvPr/>
        </p:nvSpPr>
        <p:spPr>
          <a:xfrm>
            <a:off x="10328088" y="1882863"/>
            <a:ext cx="1554480" cy="2286000"/>
          </a:xfrm>
          <a:prstGeom prst="rect">
            <a:avLst/>
          </a:prstGeom>
          <a:ln w="28575">
            <a:prstDash val="sysDot"/>
          </a:ln>
        </p:spPr>
        <p:style>
          <a:lnRef idx="2">
            <a:schemeClr val="accent1"/>
          </a:lnRef>
          <a:fillRef idx="1">
            <a:schemeClr val="lt1"/>
          </a:fillRef>
          <a:effectRef idx="0">
            <a:schemeClr val="accent1"/>
          </a:effectRef>
          <a:fontRef idx="minor">
            <a:schemeClr val="dk1"/>
          </a:fontRef>
        </p:style>
        <p:txBody>
          <a:bodyPr lIns="54610" tIns="54610" rIns="54610" bIns="54610" rtlCol="0" anchor="ctr"/>
          <a:lstStyle/>
          <a:p>
            <a:pPr marL="171450" indent="-171450">
              <a:buFont typeface="Arial" panose="020B0604020202020204" pitchFamily="34" charset="0"/>
              <a:buChar char="•"/>
            </a:pPr>
            <a:r>
              <a:rPr lang="en-US" sz="1100" dirty="0">
                <a:solidFill>
                  <a:srgbClr val="000000"/>
                </a:solidFill>
                <a:cs typeface="Times New Roman" panose="02020603050405020304" pitchFamily="18" charset="0"/>
              </a:rPr>
              <a:t>The campus video surveillance system is linked with intrusion alarms to strengthen campus security</a:t>
            </a:r>
          </a:p>
          <a:p>
            <a:pPr marL="171450" indent="-171450">
              <a:buFont typeface="Arial" panose="020B0604020202020204" pitchFamily="34" charset="0"/>
              <a:buChar char="•"/>
            </a:pPr>
            <a:r>
              <a:rPr lang="en-US" sz="1100" dirty="0">
                <a:solidFill>
                  <a:srgbClr val="000000"/>
                </a:solidFill>
              </a:rPr>
              <a:t>Information exchange among people, vehicles, systems, and assets enable campus to be unified </a:t>
            </a:r>
            <a:endParaRPr lang="en-US" sz="1100" dirty="0">
              <a:solidFill>
                <a:srgbClr val="000000"/>
              </a:solidFill>
              <a:cs typeface="Times New Roman" panose="02020603050405020304" pitchFamily="18" charset="0"/>
            </a:endParaRPr>
          </a:p>
        </p:txBody>
      </p:sp>
      <p:sp>
        <p:nvSpPr>
          <p:cNvPr id="107" name="Rectangle 106"/>
          <p:cNvSpPr/>
          <p:nvPr/>
        </p:nvSpPr>
        <p:spPr>
          <a:xfrm>
            <a:off x="433457" y="1426384"/>
            <a:ext cx="1555846" cy="430887"/>
          </a:xfrm>
          <a:prstGeom prst="rect">
            <a:avLst/>
          </a:prstGeom>
          <a:solidFill>
            <a:srgbClr val="7030A0"/>
          </a:solidFill>
        </p:spPr>
        <p:txBody>
          <a:bodyPr wrap="square">
            <a:spAutoFit/>
          </a:bodyPr>
          <a:lstStyle/>
          <a:p>
            <a:pPr algn="ctr"/>
            <a:r>
              <a:rPr lang="en-US" sz="1100" dirty="0">
                <a:solidFill>
                  <a:prstClr val="white"/>
                </a:solidFill>
              </a:rPr>
              <a:t>Integrated Command &amp; Control Centre</a:t>
            </a:r>
          </a:p>
        </p:txBody>
      </p:sp>
      <p:sp>
        <p:nvSpPr>
          <p:cNvPr id="109" name="Rectangle 108"/>
          <p:cNvSpPr/>
          <p:nvPr/>
        </p:nvSpPr>
        <p:spPr>
          <a:xfrm>
            <a:off x="2080286" y="1426384"/>
            <a:ext cx="1555846" cy="430887"/>
          </a:xfrm>
          <a:prstGeom prst="rect">
            <a:avLst/>
          </a:prstGeom>
          <a:solidFill>
            <a:srgbClr val="7030A0"/>
          </a:solidFill>
        </p:spPr>
        <p:txBody>
          <a:bodyPr wrap="square" anchor="b">
            <a:spAutoFit/>
          </a:bodyPr>
          <a:lstStyle/>
          <a:p>
            <a:pPr algn="ctr"/>
            <a:r>
              <a:rPr lang="en-US" sz="1100" dirty="0">
                <a:solidFill>
                  <a:prstClr val="white"/>
                </a:solidFill>
              </a:rPr>
              <a:t>Smart </a:t>
            </a:r>
          </a:p>
          <a:p>
            <a:pPr algn="ctr"/>
            <a:r>
              <a:rPr lang="en-US" sz="1100" dirty="0">
                <a:solidFill>
                  <a:prstClr val="white"/>
                </a:solidFill>
              </a:rPr>
              <a:t>Government</a:t>
            </a:r>
          </a:p>
        </p:txBody>
      </p:sp>
      <p:sp>
        <p:nvSpPr>
          <p:cNvPr id="110" name="Rectangle 109"/>
          <p:cNvSpPr/>
          <p:nvPr/>
        </p:nvSpPr>
        <p:spPr>
          <a:xfrm>
            <a:off x="3727115" y="1426384"/>
            <a:ext cx="1555846" cy="430887"/>
          </a:xfrm>
          <a:prstGeom prst="rect">
            <a:avLst/>
          </a:prstGeom>
          <a:solidFill>
            <a:srgbClr val="7030A0"/>
          </a:solidFill>
        </p:spPr>
        <p:txBody>
          <a:bodyPr wrap="square">
            <a:spAutoFit/>
          </a:bodyPr>
          <a:lstStyle/>
          <a:p>
            <a:pPr algn="ctr"/>
            <a:r>
              <a:rPr lang="en-US" sz="1100" dirty="0">
                <a:solidFill>
                  <a:prstClr val="white"/>
                </a:solidFill>
              </a:rPr>
              <a:t>Network </a:t>
            </a:r>
          </a:p>
          <a:p>
            <a:pPr algn="ctr"/>
            <a:r>
              <a:rPr lang="en-US" sz="1100" dirty="0">
                <a:solidFill>
                  <a:prstClr val="white"/>
                </a:solidFill>
              </a:rPr>
              <a:t>backbone</a:t>
            </a:r>
          </a:p>
        </p:txBody>
      </p:sp>
      <p:sp>
        <p:nvSpPr>
          <p:cNvPr id="111" name="Rectangle 110"/>
          <p:cNvSpPr/>
          <p:nvPr/>
        </p:nvSpPr>
        <p:spPr>
          <a:xfrm>
            <a:off x="5373944" y="1426384"/>
            <a:ext cx="1555846" cy="430887"/>
          </a:xfrm>
          <a:prstGeom prst="rect">
            <a:avLst/>
          </a:prstGeom>
          <a:solidFill>
            <a:srgbClr val="7030A0"/>
          </a:solidFill>
        </p:spPr>
        <p:txBody>
          <a:bodyPr wrap="square">
            <a:spAutoFit/>
          </a:bodyPr>
          <a:lstStyle/>
          <a:p>
            <a:pPr algn="ctr"/>
            <a:r>
              <a:rPr lang="en-US" sz="1100" dirty="0">
                <a:solidFill>
                  <a:prstClr val="white"/>
                </a:solidFill>
              </a:rPr>
              <a:t>Smart</a:t>
            </a:r>
          </a:p>
          <a:p>
            <a:pPr algn="ctr"/>
            <a:r>
              <a:rPr lang="en-US" sz="1100" dirty="0">
                <a:solidFill>
                  <a:prstClr val="white"/>
                </a:solidFill>
              </a:rPr>
              <a:t>Education</a:t>
            </a:r>
          </a:p>
        </p:txBody>
      </p:sp>
      <p:sp>
        <p:nvSpPr>
          <p:cNvPr id="112" name="Rectangle 111"/>
          <p:cNvSpPr/>
          <p:nvPr/>
        </p:nvSpPr>
        <p:spPr>
          <a:xfrm>
            <a:off x="7020773" y="1426384"/>
            <a:ext cx="1555846" cy="430887"/>
          </a:xfrm>
          <a:prstGeom prst="rect">
            <a:avLst/>
          </a:prstGeom>
          <a:solidFill>
            <a:srgbClr val="7030A0"/>
          </a:solidFill>
        </p:spPr>
        <p:txBody>
          <a:bodyPr wrap="square">
            <a:spAutoFit/>
          </a:bodyPr>
          <a:lstStyle/>
          <a:p>
            <a:pPr algn="ctr"/>
            <a:r>
              <a:rPr lang="en-US" sz="1100" dirty="0">
                <a:solidFill>
                  <a:prstClr val="white"/>
                </a:solidFill>
              </a:rPr>
              <a:t>Smart</a:t>
            </a:r>
          </a:p>
          <a:p>
            <a:pPr algn="ctr"/>
            <a:r>
              <a:rPr lang="en-US" sz="1100" dirty="0">
                <a:solidFill>
                  <a:prstClr val="white"/>
                </a:solidFill>
              </a:rPr>
              <a:t>Healthcare</a:t>
            </a:r>
          </a:p>
        </p:txBody>
      </p:sp>
      <p:sp>
        <p:nvSpPr>
          <p:cNvPr id="113" name="Rectangle 112"/>
          <p:cNvSpPr/>
          <p:nvPr/>
        </p:nvSpPr>
        <p:spPr>
          <a:xfrm>
            <a:off x="8667602" y="1426384"/>
            <a:ext cx="1555846" cy="430887"/>
          </a:xfrm>
          <a:prstGeom prst="rect">
            <a:avLst/>
          </a:prstGeom>
          <a:solidFill>
            <a:srgbClr val="7030A0"/>
          </a:solidFill>
        </p:spPr>
        <p:txBody>
          <a:bodyPr wrap="square">
            <a:spAutoFit/>
          </a:bodyPr>
          <a:lstStyle/>
          <a:p>
            <a:pPr algn="ctr"/>
            <a:r>
              <a:rPr lang="en-US" sz="1100" dirty="0">
                <a:solidFill>
                  <a:prstClr val="white"/>
                </a:solidFill>
              </a:rPr>
              <a:t>Smart</a:t>
            </a:r>
          </a:p>
          <a:p>
            <a:pPr algn="ctr"/>
            <a:r>
              <a:rPr lang="en-US" sz="1100" dirty="0">
                <a:solidFill>
                  <a:prstClr val="white"/>
                </a:solidFill>
              </a:rPr>
              <a:t>Transportation</a:t>
            </a:r>
          </a:p>
        </p:txBody>
      </p:sp>
      <p:sp>
        <p:nvSpPr>
          <p:cNvPr id="114" name="Rectangle 113"/>
          <p:cNvSpPr/>
          <p:nvPr/>
        </p:nvSpPr>
        <p:spPr>
          <a:xfrm>
            <a:off x="10314431" y="1426384"/>
            <a:ext cx="1555846" cy="430887"/>
          </a:xfrm>
          <a:prstGeom prst="rect">
            <a:avLst/>
          </a:prstGeom>
          <a:solidFill>
            <a:srgbClr val="7030A0"/>
          </a:solidFill>
        </p:spPr>
        <p:txBody>
          <a:bodyPr wrap="square">
            <a:spAutoFit/>
          </a:bodyPr>
          <a:lstStyle/>
          <a:p>
            <a:pPr algn="ctr"/>
            <a:r>
              <a:rPr lang="en-US" sz="1100" dirty="0">
                <a:solidFill>
                  <a:prstClr val="white"/>
                </a:solidFill>
              </a:rPr>
              <a:t>Smart </a:t>
            </a:r>
          </a:p>
          <a:p>
            <a:pPr algn="ctr"/>
            <a:r>
              <a:rPr lang="en-US" sz="1100" dirty="0">
                <a:solidFill>
                  <a:prstClr val="white"/>
                </a:solidFill>
              </a:rPr>
              <a:t>Campus</a:t>
            </a:r>
          </a:p>
        </p:txBody>
      </p:sp>
      <p:sp>
        <p:nvSpPr>
          <p:cNvPr id="115" name="Freeform 114"/>
          <p:cNvSpPr>
            <a:spLocks noEditPoints="1"/>
          </p:cNvSpPr>
          <p:nvPr/>
        </p:nvSpPr>
        <p:spPr bwMode="auto">
          <a:xfrm>
            <a:off x="953102" y="1069346"/>
            <a:ext cx="444752" cy="360022"/>
          </a:xfrm>
          <a:custGeom>
            <a:avLst/>
            <a:gdLst>
              <a:gd name="T0" fmla="*/ 1743 w 2251"/>
              <a:gd name="T1" fmla="*/ 562 h 1935"/>
              <a:gd name="T2" fmla="*/ 294 w 2251"/>
              <a:gd name="T3" fmla="*/ 517 h 1935"/>
              <a:gd name="T4" fmla="*/ 708 w 2251"/>
              <a:gd name="T5" fmla="*/ 1920 h 1935"/>
              <a:gd name="T6" fmla="*/ 708 w 2251"/>
              <a:gd name="T7" fmla="*/ 1705 h 1935"/>
              <a:gd name="T8" fmla="*/ 596 w 2251"/>
              <a:gd name="T9" fmla="*/ 1578 h 1935"/>
              <a:gd name="T10" fmla="*/ 596 w 2251"/>
              <a:gd name="T11" fmla="*/ 1791 h 1935"/>
              <a:gd name="T12" fmla="*/ 1149 w 2251"/>
              <a:gd name="T13" fmla="*/ 1920 h 1935"/>
              <a:gd name="T14" fmla="*/ 1178 w 2251"/>
              <a:gd name="T15" fmla="*/ 1719 h 1935"/>
              <a:gd name="T16" fmla="*/ 1088 w 2251"/>
              <a:gd name="T17" fmla="*/ 1566 h 1935"/>
              <a:gd name="T18" fmla="*/ 1059 w 2251"/>
              <a:gd name="T19" fmla="*/ 1765 h 1935"/>
              <a:gd name="T20" fmla="*/ 959 w 2251"/>
              <a:gd name="T21" fmla="*/ 1920 h 1935"/>
              <a:gd name="T22" fmla="*/ 1017 w 2251"/>
              <a:gd name="T23" fmla="*/ 1744 h 1935"/>
              <a:gd name="T24" fmla="*/ 959 w 2251"/>
              <a:gd name="T25" fmla="*/ 1569 h 1935"/>
              <a:gd name="T26" fmla="*/ 901 w 2251"/>
              <a:gd name="T27" fmla="*/ 1745 h 1935"/>
              <a:gd name="T28" fmla="*/ 776 w 2251"/>
              <a:gd name="T29" fmla="*/ 1920 h 1935"/>
              <a:gd name="T30" fmla="*/ 862 w 2251"/>
              <a:gd name="T31" fmla="*/ 1767 h 1935"/>
              <a:gd name="T32" fmla="*/ 833 w 2251"/>
              <a:gd name="T33" fmla="*/ 1572 h 1935"/>
              <a:gd name="T34" fmla="*/ 747 w 2251"/>
              <a:gd name="T35" fmla="*/ 1726 h 1935"/>
              <a:gd name="T36" fmla="*/ 683 w 2251"/>
              <a:gd name="T37" fmla="*/ 1310 h 1935"/>
              <a:gd name="T38" fmla="*/ 752 w 2251"/>
              <a:gd name="T39" fmla="*/ 1476 h 1935"/>
              <a:gd name="T40" fmla="*/ 823 w 2251"/>
              <a:gd name="T41" fmla="*/ 1299 h 1935"/>
              <a:gd name="T42" fmla="*/ 681 w 2251"/>
              <a:gd name="T43" fmla="*/ 673 h 1935"/>
              <a:gd name="T44" fmla="*/ 821 w 2251"/>
              <a:gd name="T45" fmla="*/ 644 h 1935"/>
              <a:gd name="T46" fmla="*/ 487 w 2251"/>
              <a:gd name="T47" fmla="*/ 609 h 1935"/>
              <a:gd name="T48" fmla="*/ 551 w 2251"/>
              <a:gd name="T49" fmla="*/ 761 h 1935"/>
              <a:gd name="T50" fmla="*/ 616 w 2251"/>
              <a:gd name="T51" fmla="*/ 580 h 1935"/>
              <a:gd name="T52" fmla="*/ 891 w 2251"/>
              <a:gd name="T53" fmla="*/ 630 h 1935"/>
              <a:gd name="T54" fmla="*/ 1046 w 2251"/>
              <a:gd name="T55" fmla="*/ 599 h 1935"/>
              <a:gd name="T56" fmla="*/ 1122 w 2251"/>
              <a:gd name="T57" fmla="*/ 465 h 1935"/>
              <a:gd name="T58" fmla="*/ 1163 w 2251"/>
              <a:gd name="T59" fmla="*/ 645 h 1935"/>
              <a:gd name="T60" fmla="*/ 1291 w 2251"/>
              <a:gd name="T61" fmla="*/ 525 h 1935"/>
              <a:gd name="T62" fmla="*/ 1162 w 2251"/>
              <a:gd name="T63" fmla="*/ 456 h 1935"/>
              <a:gd name="T64" fmla="*/ 682 w 2251"/>
              <a:gd name="T65" fmla="*/ 961 h 1935"/>
              <a:gd name="T66" fmla="*/ 822 w 2251"/>
              <a:gd name="T67" fmla="*/ 854 h 1935"/>
              <a:gd name="T68" fmla="*/ 488 w 2251"/>
              <a:gd name="T69" fmla="*/ 886 h 1935"/>
              <a:gd name="T70" fmla="*/ 618 w 2251"/>
              <a:gd name="T71" fmla="*/ 992 h 1935"/>
              <a:gd name="T72" fmla="*/ 551 w 2251"/>
              <a:gd name="T73" fmla="*/ 834 h 1935"/>
              <a:gd name="T74" fmla="*/ 892 w 2251"/>
              <a:gd name="T75" fmla="*/ 931 h 1935"/>
              <a:gd name="T76" fmla="*/ 1046 w 2251"/>
              <a:gd name="T77" fmla="*/ 818 h 1935"/>
              <a:gd name="T78" fmla="*/ 1122 w 2251"/>
              <a:gd name="T79" fmla="*/ 782 h 1935"/>
              <a:gd name="T80" fmla="*/ 1205 w 2251"/>
              <a:gd name="T81" fmla="*/ 910 h 1935"/>
              <a:gd name="T82" fmla="*/ 1291 w 2251"/>
              <a:gd name="T83" fmla="*/ 755 h 1935"/>
              <a:gd name="T84" fmla="*/ 1122 w 2251"/>
              <a:gd name="T85" fmla="*/ 735 h 1935"/>
              <a:gd name="T86" fmla="*/ 717 w 2251"/>
              <a:gd name="T87" fmla="*/ 1231 h 1935"/>
              <a:gd name="T88" fmla="*/ 822 w 2251"/>
              <a:gd name="T89" fmla="*/ 1069 h 1935"/>
              <a:gd name="T90" fmla="*/ 490 w 2251"/>
              <a:gd name="T91" fmla="*/ 1169 h 1935"/>
              <a:gd name="T92" fmla="*/ 618 w 2251"/>
              <a:gd name="T93" fmla="*/ 1197 h 1935"/>
              <a:gd name="T94" fmla="*/ 489 w 2251"/>
              <a:gd name="T95" fmla="*/ 1087 h 1935"/>
              <a:gd name="T96" fmla="*/ 930 w 2251"/>
              <a:gd name="T97" fmla="*/ 1214 h 1935"/>
              <a:gd name="T98" fmla="*/ 1046 w 2251"/>
              <a:gd name="T99" fmla="*/ 1043 h 1935"/>
              <a:gd name="T100" fmla="*/ 1122 w 2251"/>
              <a:gd name="T101" fmla="*/ 1104 h 1935"/>
              <a:gd name="T102" fmla="*/ 1248 w 2251"/>
              <a:gd name="T103" fmla="*/ 1187 h 1935"/>
              <a:gd name="T104" fmla="*/ 1291 w 2251"/>
              <a:gd name="T105" fmla="*/ 991 h 1935"/>
              <a:gd name="T106" fmla="*/ 490 w 2251"/>
              <a:gd name="T107" fmla="*/ 1343 h 1935"/>
              <a:gd name="T108" fmla="*/ 587 w 2251"/>
              <a:gd name="T109" fmla="*/ 1482 h 1935"/>
              <a:gd name="T110" fmla="*/ 587 w 2251"/>
              <a:gd name="T111" fmla="*/ 1316 h 1935"/>
              <a:gd name="T112" fmla="*/ 893 w 2251"/>
              <a:gd name="T113" fmla="*/ 1427 h 1935"/>
              <a:gd name="T114" fmla="*/ 1047 w 2251"/>
              <a:gd name="T115" fmla="*/ 1375 h 1935"/>
              <a:gd name="T116" fmla="*/ 1122 w 2251"/>
              <a:gd name="T117" fmla="*/ 1302 h 1935"/>
              <a:gd name="T118" fmla="*/ 1184 w 2251"/>
              <a:gd name="T119" fmla="*/ 1463 h 1935"/>
              <a:gd name="T120" fmla="*/ 1291 w 2251"/>
              <a:gd name="T121" fmla="*/ 1340 h 1935"/>
              <a:gd name="T122" fmla="*/ 1143 w 2251"/>
              <a:gd name="T123" fmla="*/ 1278 h 1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1" h="1935">
                <a:moveTo>
                  <a:pt x="0" y="1789"/>
                </a:moveTo>
                <a:lnTo>
                  <a:pt x="149" y="1789"/>
                </a:lnTo>
                <a:lnTo>
                  <a:pt x="149" y="461"/>
                </a:lnTo>
                <a:lnTo>
                  <a:pt x="149" y="406"/>
                </a:lnTo>
                <a:lnTo>
                  <a:pt x="202" y="391"/>
                </a:lnTo>
                <a:lnTo>
                  <a:pt x="1571" y="24"/>
                </a:lnTo>
                <a:lnTo>
                  <a:pt x="1663" y="0"/>
                </a:lnTo>
                <a:lnTo>
                  <a:pt x="1663" y="95"/>
                </a:lnTo>
                <a:lnTo>
                  <a:pt x="1663" y="562"/>
                </a:lnTo>
                <a:lnTo>
                  <a:pt x="1743" y="562"/>
                </a:lnTo>
                <a:lnTo>
                  <a:pt x="1743" y="32"/>
                </a:lnTo>
                <a:lnTo>
                  <a:pt x="2126" y="180"/>
                </a:lnTo>
                <a:lnTo>
                  <a:pt x="2126" y="1784"/>
                </a:lnTo>
                <a:lnTo>
                  <a:pt x="2251" y="1784"/>
                </a:lnTo>
                <a:lnTo>
                  <a:pt x="2251" y="1930"/>
                </a:lnTo>
                <a:lnTo>
                  <a:pt x="1590" y="1930"/>
                </a:lnTo>
                <a:lnTo>
                  <a:pt x="1517" y="1930"/>
                </a:lnTo>
                <a:lnTo>
                  <a:pt x="1517" y="1857"/>
                </a:lnTo>
                <a:lnTo>
                  <a:pt x="1517" y="189"/>
                </a:lnTo>
                <a:lnTo>
                  <a:pt x="294" y="517"/>
                </a:lnTo>
                <a:lnTo>
                  <a:pt x="294" y="1862"/>
                </a:lnTo>
                <a:lnTo>
                  <a:pt x="294" y="1935"/>
                </a:lnTo>
                <a:lnTo>
                  <a:pt x="221" y="1935"/>
                </a:lnTo>
                <a:lnTo>
                  <a:pt x="0" y="1935"/>
                </a:lnTo>
                <a:lnTo>
                  <a:pt x="0" y="1789"/>
                </a:lnTo>
                <a:close/>
                <a:moveTo>
                  <a:pt x="596" y="1920"/>
                </a:moveTo>
                <a:lnTo>
                  <a:pt x="623" y="1920"/>
                </a:lnTo>
                <a:lnTo>
                  <a:pt x="651" y="1920"/>
                </a:lnTo>
                <a:lnTo>
                  <a:pt x="679" y="1920"/>
                </a:lnTo>
                <a:lnTo>
                  <a:pt x="708" y="1920"/>
                </a:lnTo>
                <a:lnTo>
                  <a:pt x="708" y="1899"/>
                </a:lnTo>
                <a:lnTo>
                  <a:pt x="708" y="1877"/>
                </a:lnTo>
                <a:lnTo>
                  <a:pt x="708" y="1855"/>
                </a:lnTo>
                <a:lnTo>
                  <a:pt x="708" y="1834"/>
                </a:lnTo>
                <a:lnTo>
                  <a:pt x="708" y="1812"/>
                </a:lnTo>
                <a:lnTo>
                  <a:pt x="708" y="1790"/>
                </a:lnTo>
                <a:lnTo>
                  <a:pt x="708" y="1769"/>
                </a:lnTo>
                <a:lnTo>
                  <a:pt x="708" y="1748"/>
                </a:lnTo>
                <a:lnTo>
                  <a:pt x="708" y="1726"/>
                </a:lnTo>
                <a:lnTo>
                  <a:pt x="708" y="1705"/>
                </a:lnTo>
                <a:lnTo>
                  <a:pt x="708" y="1683"/>
                </a:lnTo>
                <a:lnTo>
                  <a:pt x="708" y="1661"/>
                </a:lnTo>
                <a:lnTo>
                  <a:pt x="708" y="1640"/>
                </a:lnTo>
                <a:lnTo>
                  <a:pt x="708" y="1618"/>
                </a:lnTo>
                <a:lnTo>
                  <a:pt x="708" y="1597"/>
                </a:lnTo>
                <a:lnTo>
                  <a:pt x="708" y="1576"/>
                </a:lnTo>
                <a:lnTo>
                  <a:pt x="679" y="1576"/>
                </a:lnTo>
                <a:lnTo>
                  <a:pt x="651" y="1577"/>
                </a:lnTo>
                <a:lnTo>
                  <a:pt x="623" y="1578"/>
                </a:lnTo>
                <a:lnTo>
                  <a:pt x="596" y="1578"/>
                </a:lnTo>
                <a:lnTo>
                  <a:pt x="596" y="1599"/>
                </a:lnTo>
                <a:lnTo>
                  <a:pt x="596" y="1620"/>
                </a:lnTo>
                <a:lnTo>
                  <a:pt x="596" y="1642"/>
                </a:lnTo>
                <a:lnTo>
                  <a:pt x="596" y="1663"/>
                </a:lnTo>
                <a:lnTo>
                  <a:pt x="596" y="1685"/>
                </a:lnTo>
                <a:lnTo>
                  <a:pt x="596" y="1706"/>
                </a:lnTo>
                <a:lnTo>
                  <a:pt x="596" y="1728"/>
                </a:lnTo>
                <a:lnTo>
                  <a:pt x="596" y="1749"/>
                </a:lnTo>
                <a:lnTo>
                  <a:pt x="596" y="1770"/>
                </a:lnTo>
                <a:lnTo>
                  <a:pt x="596" y="1791"/>
                </a:lnTo>
                <a:lnTo>
                  <a:pt x="596" y="1813"/>
                </a:lnTo>
                <a:lnTo>
                  <a:pt x="596" y="1834"/>
                </a:lnTo>
                <a:lnTo>
                  <a:pt x="596" y="1856"/>
                </a:lnTo>
                <a:lnTo>
                  <a:pt x="596" y="1877"/>
                </a:lnTo>
                <a:lnTo>
                  <a:pt x="596" y="1899"/>
                </a:lnTo>
                <a:lnTo>
                  <a:pt x="596" y="1920"/>
                </a:lnTo>
                <a:close/>
                <a:moveTo>
                  <a:pt x="1059" y="1920"/>
                </a:moveTo>
                <a:lnTo>
                  <a:pt x="1088" y="1920"/>
                </a:lnTo>
                <a:lnTo>
                  <a:pt x="1119" y="1920"/>
                </a:lnTo>
                <a:lnTo>
                  <a:pt x="1149" y="1920"/>
                </a:lnTo>
                <a:lnTo>
                  <a:pt x="1178" y="1920"/>
                </a:lnTo>
                <a:lnTo>
                  <a:pt x="1178" y="1898"/>
                </a:lnTo>
                <a:lnTo>
                  <a:pt x="1178" y="1876"/>
                </a:lnTo>
                <a:lnTo>
                  <a:pt x="1178" y="1853"/>
                </a:lnTo>
                <a:lnTo>
                  <a:pt x="1178" y="1831"/>
                </a:lnTo>
                <a:lnTo>
                  <a:pt x="1178" y="1809"/>
                </a:lnTo>
                <a:lnTo>
                  <a:pt x="1178" y="1786"/>
                </a:lnTo>
                <a:lnTo>
                  <a:pt x="1178" y="1764"/>
                </a:lnTo>
                <a:lnTo>
                  <a:pt x="1178" y="1742"/>
                </a:lnTo>
                <a:lnTo>
                  <a:pt x="1178" y="1719"/>
                </a:lnTo>
                <a:lnTo>
                  <a:pt x="1178" y="1697"/>
                </a:lnTo>
                <a:lnTo>
                  <a:pt x="1178" y="1676"/>
                </a:lnTo>
                <a:lnTo>
                  <a:pt x="1178" y="1653"/>
                </a:lnTo>
                <a:lnTo>
                  <a:pt x="1178" y="1631"/>
                </a:lnTo>
                <a:lnTo>
                  <a:pt x="1178" y="1609"/>
                </a:lnTo>
                <a:lnTo>
                  <a:pt x="1178" y="1586"/>
                </a:lnTo>
                <a:lnTo>
                  <a:pt x="1178" y="1564"/>
                </a:lnTo>
                <a:lnTo>
                  <a:pt x="1149" y="1565"/>
                </a:lnTo>
                <a:lnTo>
                  <a:pt x="1119" y="1565"/>
                </a:lnTo>
                <a:lnTo>
                  <a:pt x="1088" y="1566"/>
                </a:lnTo>
                <a:lnTo>
                  <a:pt x="1059" y="1567"/>
                </a:lnTo>
                <a:lnTo>
                  <a:pt x="1059" y="1589"/>
                </a:lnTo>
                <a:lnTo>
                  <a:pt x="1059" y="1611"/>
                </a:lnTo>
                <a:lnTo>
                  <a:pt x="1059" y="1633"/>
                </a:lnTo>
                <a:lnTo>
                  <a:pt x="1059" y="1656"/>
                </a:lnTo>
                <a:lnTo>
                  <a:pt x="1059" y="1678"/>
                </a:lnTo>
                <a:lnTo>
                  <a:pt x="1059" y="1700"/>
                </a:lnTo>
                <a:lnTo>
                  <a:pt x="1059" y="1721"/>
                </a:lnTo>
                <a:lnTo>
                  <a:pt x="1059" y="1743"/>
                </a:lnTo>
                <a:lnTo>
                  <a:pt x="1059" y="1765"/>
                </a:lnTo>
                <a:lnTo>
                  <a:pt x="1059" y="1787"/>
                </a:lnTo>
                <a:lnTo>
                  <a:pt x="1059" y="1810"/>
                </a:lnTo>
                <a:lnTo>
                  <a:pt x="1059" y="1832"/>
                </a:lnTo>
                <a:lnTo>
                  <a:pt x="1059" y="1854"/>
                </a:lnTo>
                <a:lnTo>
                  <a:pt x="1059" y="1876"/>
                </a:lnTo>
                <a:lnTo>
                  <a:pt x="1059" y="1898"/>
                </a:lnTo>
                <a:lnTo>
                  <a:pt x="1059" y="1920"/>
                </a:lnTo>
                <a:close/>
                <a:moveTo>
                  <a:pt x="901" y="1920"/>
                </a:moveTo>
                <a:lnTo>
                  <a:pt x="930" y="1920"/>
                </a:lnTo>
                <a:lnTo>
                  <a:pt x="959" y="1920"/>
                </a:lnTo>
                <a:lnTo>
                  <a:pt x="988" y="1920"/>
                </a:lnTo>
                <a:lnTo>
                  <a:pt x="1017" y="1920"/>
                </a:lnTo>
                <a:lnTo>
                  <a:pt x="1017" y="1898"/>
                </a:lnTo>
                <a:lnTo>
                  <a:pt x="1017" y="1876"/>
                </a:lnTo>
                <a:lnTo>
                  <a:pt x="1017" y="1854"/>
                </a:lnTo>
                <a:lnTo>
                  <a:pt x="1017" y="1832"/>
                </a:lnTo>
                <a:lnTo>
                  <a:pt x="1017" y="1810"/>
                </a:lnTo>
                <a:lnTo>
                  <a:pt x="1017" y="1788"/>
                </a:lnTo>
                <a:lnTo>
                  <a:pt x="1017" y="1766"/>
                </a:lnTo>
                <a:lnTo>
                  <a:pt x="1017" y="1744"/>
                </a:lnTo>
                <a:lnTo>
                  <a:pt x="1017" y="1721"/>
                </a:lnTo>
                <a:lnTo>
                  <a:pt x="1017" y="1700"/>
                </a:lnTo>
                <a:lnTo>
                  <a:pt x="1017" y="1678"/>
                </a:lnTo>
                <a:lnTo>
                  <a:pt x="1017" y="1656"/>
                </a:lnTo>
                <a:lnTo>
                  <a:pt x="1017" y="1634"/>
                </a:lnTo>
                <a:lnTo>
                  <a:pt x="1017" y="1612"/>
                </a:lnTo>
                <a:lnTo>
                  <a:pt x="1017" y="1590"/>
                </a:lnTo>
                <a:lnTo>
                  <a:pt x="1017" y="1568"/>
                </a:lnTo>
                <a:lnTo>
                  <a:pt x="988" y="1568"/>
                </a:lnTo>
                <a:lnTo>
                  <a:pt x="959" y="1569"/>
                </a:lnTo>
                <a:lnTo>
                  <a:pt x="930" y="1570"/>
                </a:lnTo>
                <a:lnTo>
                  <a:pt x="901" y="1570"/>
                </a:lnTo>
                <a:lnTo>
                  <a:pt x="901" y="1592"/>
                </a:lnTo>
                <a:lnTo>
                  <a:pt x="901" y="1614"/>
                </a:lnTo>
                <a:lnTo>
                  <a:pt x="901" y="1636"/>
                </a:lnTo>
                <a:lnTo>
                  <a:pt x="901" y="1658"/>
                </a:lnTo>
                <a:lnTo>
                  <a:pt x="901" y="1680"/>
                </a:lnTo>
                <a:lnTo>
                  <a:pt x="901" y="1702"/>
                </a:lnTo>
                <a:lnTo>
                  <a:pt x="901" y="1724"/>
                </a:lnTo>
                <a:lnTo>
                  <a:pt x="901" y="1745"/>
                </a:lnTo>
                <a:lnTo>
                  <a:pt x="901" y="1767"/>
                </a:lnTo>
                <a:lnTo>
                  <a:pt x="901" y="1789"/>
                </a:lnTo>
                <a:lnTo>
                  <a:pt x="901" y="1811"/>
                </a:lnTo>
                <a:lnTo>
                  <a:pt x="901" y="1833"/>
                </a:lnTo>
                <a:lnTo>
                  <a:pt x="901" y="1854"/>
                </a:lnTo>
                <a:lnTo>
                  <a:pt x="901" y="1876"/>
                </a:lnTo>
                <a:lnTo>
                  <a:pt x="901" y="1898"/>
                </a:lnTo>
                <a:lnTo>
                  <a:pt x="901" y="1920"/>
                </a:lnTo>
                <a:close/>
                <a:moveTo>
                  <a:pt x="747" y="1920"/>
                </a:moveTo>
                <a:lnTo>
                  <a:pt x="776" y="1920"/>
                </a:lnTo>
                <a:lnTo>
                  <a:pt x="805" y="1920"/>
                </a:lnTo>
                <a:lnTo>
                  <a:pt x="833" y="1920"/>
                </a:lnTo>
                <a:lnTo>
                  <a:pt x="862" y="1920"/>
                </a:lnTo>
                <a:lnTo>
                  <a:pt x="862" y="1898"/>
                </a:lnTo>
                <a:lnTo>
                  <a:pt x="862" y="1876"/>
                </a:lnTo>
                <a:lnTo>
                  <a:pt x="862" y="1855"/>
                </a:lnTo>
                <a:lnTo>
                  <a:pt x="862" y="1833"/>
                </a:lnTo>
                <a:lnTo>
                  <a:pt x="862" y="1811"/>
                </a:lnTo>
                <a:lnTo>
                  <a:pt x="862" y="1789"/>
                </a:lnTo>
                <a:lnTo>
                  <a:pt x="862" y="1767"/>
                </a:lnTo>
                <a:lnTo>
                  <a:pt x="862" y="1745"/>
                </a:lnTo>
                <a:lnTo>
                  <a:pt x="862" y="1724"/>
                </a:lnTo>
                <a:lnTo>
                  <a:pt x="862" y="1703"/>
                </a:lnTo>
                <a:lnTo>
                  <a:pt x="862" y="1681"/>
                </a:lnTo>
                <a:lnTo>
                  <a:pt x="862" y="1659"/>
                </a:lnTo>
                <a:lnTo>
                  <a:pt x="862" y="1637"/>
                </a:lnTo>
                <a:lnTo>
                  <a:pt x="862" y="1615"/>
                </a:lnTo>
                <a:lnTo>
                  <a:pt x="862" y="1593"/>
                </a:lnTo>
                <a:lnTo>
                  <a:pt x="862" y="1571"/>
                </a:lnTo>
                <a:lnTo>
                  <a:pt x="833" y="1572"/>
                </a:lnTo>
                <a:lnTo>
                  <a:pt x="805" y="1573"/>
                </a:lnTo>
                <a:lnTo>
                  <a:pt x="776" y="1573"/>
                </a:lnTo>
                <a:lnTo>
                  <a:pt x="747" y="1574"/>
                </a:lnTo>
                <a:lnTo>
                  <a:pt x="747" y="1596"/>
                </a:lnTo>
                <a:lnTo>
                  <a:pt x="747" y="1617"/>
                </a:lnTo>
                <a:lnTo>
                  <a:pt x="747" y="1639"/>
                </a:lnTo>
                <a:lnTo>
                  <a:pt x="747" y="1661"/>
                </a:lnTo>
                <a:lnTo>
                  <a:pt x="747" y="1682"/>
                </a:lnTo>
                <a:lnTo>
                  <a:pt x="747" y="1704"/>
                </a:lnTo>
                <a:lnTo>
                  <a:pt x="747" y="1726"/>
                </a:lnTo>
                <a:lnTo>
                  <a:pt x="747" y="1748"/>
                </a:lnTo>
                <a:lnTo>
                  <a:pt x="747" y="1768"/>
                </a:lnTo>
                <a:lnTo>
                  <a:pt x="747" y="1790"/>
                </a:lnTo>
                <a:lnTo>
                  <a:pt x="747" y="1812"/>
                </a:lnTo>
                <a:lnTo>
                  <a:pt x="747" y="1833"/>
                </a:lnTo>
                <a:lnTo>
                  <a:pt x="747" y="1855"/>
                </a:lnTo>
                <a:lnTo>
                  <a:pt x="747" y="1877"/>
                </a:lnTo>
                <a:lnTo>
                  <a:pt x="747" y="1899"/>
                </a:lnTo>
                <a:lnTo>
                  <a:pt x="747" y="1920"/>
                </a:lnTo>
                <a:close/>
                <a:moveTo>
                  <a:pt x="683" y="1310"/>
                </a:moveTo>
                <a:lnTo>
                  <a:pt x="683" y="1331"/>
                </a:lnTo>
                <a:lnTo>
                  <a:pt x="683" y="1351"/>
                </a:lnTo>
                <a:lnTo>
                  <a:pt x="683" y="1373"/>
                </a:lnTo>
                <a:lnTo>
                  <a:pt x="683" y="1394"/>
                </a:lnTo>
                <a:lnTo>
                  <a:pt x="683" y="1415"/>
                </a:lnTo>
                <a:lnTo>
                  <a:pt x="684" y="1437"/>
                </a:lnTo>
                <a:lnTo>
                  <a:pt x="684" y="1458"/>
                </a:lnTo>
                <a:lnTo>
                  <a:pt x="684" y="1479"/>
                </a:lnTo>
                <a:lnTo>
                  <a:pt x="718" y="1478"/>
                </a:lnTo>
                <a:lnTo>
                  <a:pt x="752" y="1476"/>
                </a:lnTo>
                <a:lnTo>
                  <a:pt x="788" y="1475"/>
                </a:lnTo>
                <a:lnTo>
                  <a:pt x="823" y="1474"/>
                </a:lnTo>
                <a:lnTo>
                  <a:pt x="823" y="1452"/>
                </a:lnTo>
                <a:lnTo>
                  <a:pt x="823" y="1431"/>
                </a:lnTo>
                <a:lnTo>
                  <a:pt x="823" y="1409"/>
                </a:lnTo>
                <a:lnTo>
                  <a:pt x="823" y="1387"/>
                </a:lnTo>
                <a:lnTo>
                  <a:pt x="823" y="1365"/>
                </a:lnTo>
                <a:lnTo>
                  <a:pt x="823" y="1343"/>
                </a:lnTo>
                <a:lnTo>
                  <a:pt x="823" y="1321"/>
                </a:lnTo>
                <a:lnTo>
                  <a:pt x="823" y="1299"/>
                </a:lnTo>
                <a:lnTo>
                  <a:pt x="788" y="1302"/>
                </a:lnTo>
                <a:lnTo>
                  <a:pt x="752" y="1304"/>
                </a:lnTo>
                <a:lnTo>
                  <a:pt x="717" y="1307"/>
                </a:lnTo>
                <a:lnTo>
                  <a:pt x="683" y="1310"/>
                </a:lnTo>
                <a:close/>
                <a:moveTo>
                  <a:pt x="681" y="565"/>
                </a:moveTo>
                <a:lnTo>
                  <a:pt x="681" y="586"/>
                </a:lnTo>
                <a:lnTo>
                  <a:pt x="681" y="608"/>
                </a:lnTo>
                <a:lnTo>
                  <a:pt x="681" y="630"/>
                </a:lnTo>
                <a:lnTo>
                  <a:pt x="681" y="651"/>
                </a:lnTo>
                <a:lnTo>
                  <a:pt x="681" y="673"/>
                </a:lnTo>
                <a:lnTo>
                  <a:pt x="681" y="694"/>
                </a:lnTo>
                <a:lnTo>
                  <a:pt x="681" y="715"/>
                </a:lnTo>
                <a:lnTo>
                  <a:pt x="681" y="736"/>
                </a:lnTo>
                <a:lnTo>
                  <a:pt x="715" y="730"/>
                </a:lnTo>
                <a:lnTo>
                  <a:pt x="750" y="723"/>
                </a:lnTo>
                <a:lnTo>
                  <a:pt x="786" y="716"/>
                </a:lnTo>
                <a:lnTo>
                  <a:pt x="821" y="709"/>
                </a:lnTo>
                <a:lnTo>
                  <a:pt x="821" y="687"/>
                </a:lnTo>
                <a:lnTo>
                  <a:pt x="821" y="665"/>
                </a:lnTo>
                <a:lnTo>
                  <a:pt x="821" y="644"/>
                </a:lnTo>
                <a:lnTo>
                  <a:pt x="821" y="622"/>
                </a:lnTo>
                <a:lnTo>
                  <a:pt x="821" y="600"/>
                </a:lnTo>
                <a:lnTo>
                  <a:pt x="821" y="578"/>
                </a:lnTo>
                <a:lnTo>
                  <a:pt x="821" y="556"/>
                </a:lnTo>
                <a:lnTo>
                  <a:pt x="821" y="533"/>
                </a:lnTo>
                <a:lnTo>
                  <a:pt x="785" y="541"/>
                </a:lnTo>
                <a:lnTo>
                  <a:pt x="750" y="550"/>
                </a:lnTo>
                <a:lnTo>
                  <a:pt x="715" y="557"/>
                </a:lnTo>
                <a:lnTo>
                  <a:pt x="681" y="565"/>
                </a:lnTo>
                <a:close/>
                <a:moveTo>
                  <a:pt x="487" y="609"/>
                </a:moveTo>
                <a:lnTo>
                  <a:pt x="487" y="629"/>
                </a:lnTo>
                <a:lnTo>
                  <a:pt x="487" y="650"/>
                </a:lnTo>
                <a:lnTo>
                  <a:pt x="487" y="671"/>
                </a:lnTo>
                <a:lnTo>
                  <a:pt x="488" y="690"/>
                </a:lnTo>
                <a:lnTo>
                  <a:pt x="488" y="711"/>
                </a:lnTo>
                <a:lnTo>
                  <a:pt x="488" y="732"/>
                </a:lnTo>
                <a:lnTo>
                  <a:pt x="488" y="753"/>
                </a:lnTo>
                <a:lnTo>
                  <a:pt x="488" y="773"/>
                </a:lnTo>
                <a:lnTo>
                  <a:pt x="519" y="767"/>
                </a:lnTo>
                <a:lnTo>
                  <a:pt x="551" y="761"/>
                </a:lnTo>
                <a:lnTo>
                  <a:pt x="584" y="755"/>
                </a:lnTo>
                <a:lnTo>
                  <a:pt x="617" y="749"/>
                </a:lnTo>
                <a:lnTo>
                  <a:pt x="617" y="728"/>
                </a:lnTo>
                <a:lnTo>
                  <a:pt x="617" y="706"/>
                </a:lnTo>
                <a:lnTo>
                  <a:pt x="617" y="685"/>
                </a:lnTo>
                <a:lnTo>
                  <a:pt x="616" y="664"/>
                </a:lnTo>
                <a:lnTo>
                  <a:pt x="616" y="644"/>
                </a:lnTo>
                <a:lnTo>
                  <a:pt x="616" y="622"/>
                </a:lnTo>
                <a:lnTo>
                  <a:pt x="616" y="601"/>
                </a:lnTo>
                <a:lnTo>
                  <a:pt x="616" y="580"/>
                </a:lnTo>
                <a:lnTo>
                  <a:pt x="584" y="587"/>
                </a:lnTo>
                <a:lnTo>
                  <a:pt x="550" y="595"/>
                </a:lnTo>
                <a:lnTo>
                  <a:pt x="519" y="602"/>
                </a:lnTo>
                <a:lnTo>
                  <a:pt x="487" y="609"/>
                </a:lnTo>
                <a:close/>
                <a:moveTo>
                  <a:pt x="891" y="517"/>
                </a:moveTo>
                <a:lnTo>
                  <a:pt x="891" y="540"/>
                </a:lnTo>
                <a:lnTo>
                  <a:pt x="891" y="562"/>
                </a:lnTo>
                <a:lnTo>
                  <a:pt x="891" y="585"/>
                </a:lnTo>
                <a:lnTo>
                  <a:pt x="891" y="607"/>
                </a:lnTo>
                <a:lnTo>
                  <a:pt x="891" y="630"/>
                </a:lnTo>
                <a:lnTo>
                  <a:pt x="891" y="652"/>
                </a:lnTo>
                <a:lnTo>
                  <a:pt x="891" y="674"/>
                </a:lnTo>
                <a:lnTo>
                  <a:pt x="891" y="697"/>
                </a:lnTo>
                <a:lnTo>
                  <a:pt x="929" y="689"/>
                </a:lnTo>
                <a:lnTo>
                  <a:pt x="967" y="682"/>
                </a:lnTo>
                <a:lnTo>
                  <a:pt x="1006" y="675"/>
                </a:lnTo>
                <a:lnTo>
                  <a:pt x="1046" y="667"/>
                </a:lnTo>
                <a:lnTo>
                  <a:pt x="1046" y="645"/>
                </a:lnTo>
                <a:lnTo>
                  <a:pt x="1046" y="622"/>
                </a:lnTo>
                <a:lnTo>
                  <a:pt x="1046" y="599"/>
                </a:lnTo>
                <a:lnTo>
                  <a:pt x="1044" y="576"/>
                </a:lnTo>
                <a:lnTo>
                  <a:pt x="1044" y="552"/>
                </a:lnTo>
                <a:lnTo>
                  <a:pt x="1044" y="529"/>
                </a:lnTo>
                <a:lnTo>
                  <a:pt x="1044" y="506"/>
                </a:lnTo>
                <a:lnTo>
                  <a:pt x="1044" y="483"/>
                </a:lnTo>
                <a:lnTo>
                  <a:pt x="1006" y="491"/>
                </a:lnTo>
                <a:lnTo>
                  <a:pt x="967" y="501"/>
                </a:lnTo>
                <a:lnTo>
                  <a:pt x="929" y="509"/>
                </a:lnTo>
                <a:lnTo>
                  <a:pt x="891" y="517"/>
                </a:lnTo>
                <a:close/>
                <a:moveTo>
                  <a:pt x="1122" y="465"/>
                </a:moveTo>
                <a:lnTo>
                  <a:pt x="1122" y="489"/>
                </a:lnTo>
                <a:lnTo>
                  <a:pt x="1122" y="512"/>
                </a:lnTo>
                <a:lnTo>
                  <a:pt x="1122" y="536"/>
                </a:lnTo>
                <a:lnTo>
                  <a:pt x="1122" y="559"/>
                </a:lnTo>
                <a:lnTo>
                  <a:pt x="1122" y="583"/>
                </a:lnTo>
                <a:lnTo>
                  <a:pt x="1122" y="606"/>
                </a:lnTo>
                <a:lnTo>
                  <a:pt x="1122" y="630"/>
                </a:lnTo>
                <a:lnTo>
                  <a:pt x="1122" y="653"/>
                </a:lnTo>
                <a:lnTo>
                  <a:pt x="1143" y="649"/>
                </a:lnTo>
                <a:lnTo>
                  <a:pt x="1163" y="645"/>
                </a:lnTo>
                <a:lnTo>
                  <a:pt x="1184" y="641"/>
                </a:lnTo>
                <a:lnTo>
                  <a:pt x="1205" y="637"/>
                </a:lnTo>
                <a:lnTo>
                  <a:pt x="1226" y="633"/>
                </a:lnTo>
                <a:lnTo>
                  <a:pt x="1248" y="629"/>
                </a:lnTo>
                <a:lnTo>
                  <a:pt x="1269" y="625"/>
                </a:lnTo>
                <a:lnTo>
                  <a:pt x="1291" y="621"/>
                </a:lnTo>
                <a:lnTo>
                  <a:pt x="1291" y="597"/>
                </a:lnTo>
                <a:lnTo>
                  <a:pt x="1291" y="573"/>
                </a:lnTo>
                <a:lnTo>
                  <a:pt x="1291" y="549"/>
                </a:lnTo>
                <a:lnTo>
                  <a:pt x="1291" y="525"/>
                </a:lnTo>
                <a:lnTo>
                  <a:pt x="1291" y="501"/>
                </a:lnTo>
                <a:lnTo>
                  <a:pt x="1291" y="476"/>
                </a:lnTo>
                <a:lnTo>
                  <a:pt x="1291" y="452"/>
                </a:lnTo>
                <a:lnTo>
                  <a:pt x="1291" y="428"/>
                </a:lnTo>
                <a:lnTo>
                  <a:pt x="1269" y="433"/>
                </a:lnTo>
                <a:lnTo>
                  <a:pt x="1247" y="437"/>
                </a:lnTo>
                <a:lnTo>
                  <a:pt x="1226" y="442"/>
                </a:lnTo>
                <a:lnTo>
                  <a:pt x="1205" y="446"/>
                </a:lnTo>
                <a:lnTo>
                  <a:pt x="1184" y="452"/>
                </a:lnTo>
                <a:lnTo>
                  <a:pt x="1162" y="456"/>
                </a:lnTo>
                <a:lnTo>
                  <a:pt x="1143" y="461"/>
                </a:lnTo>
                <a:lnTo>
                  <a:pt x="1122" y="465"/>
                </a:lnTo>
                <a:close/>
                <a:moveTo>
                  <a:pt x="682" y="812"/>
                </a:moveTo>
                <a:lnTo>
                  <a:pt x="682" y="833"/>
                </a:lnTo>
                <a:lnTo>
                  <a:pt x="682" y="855"/>
                </a:lnTo>
                <a:lnTo>
                  <a:pt x="682" y="876"/>
                </a:lnTo>
                <a:lnTo>
                  <a:pt x="682" y="897"/>
                </a:lnTo>
                <a:lnTo>
                  <a:pt x="682" y="919"/>
                </a:lnTo>
                <a:lnTo>
                  <a:pt x="682" y="940"/>
                </a:lnTo>
                <a:lnTo>
                  <a:pt x="682" y="961"/>
                </a:lnTo>
                <a:lnTo>
                  <a:pt x="682" y="982"/>
                </a:lnTo>
                <a:lnTo>
                  <a:pt x="716" y="978"/>
                </a:lnTo>
                <a:lnTo>
                  <a:pt x="751" y="973"/>
                </a:lnTo>
                <a:lnTo>
                  <a:pt x="787" y="968"/>
                </a:lnTo>
                <a:lnTo>
                  <a:pt x="822" y="964"/>
                </a:lnTo>
                <a:lnTo>
                  <a:pt x="822" y="942"/>
                </a:lnTo>
                <a:lnTo>
                  <a:pt x="822" y="920"/>
                </a:lnTo>
                <a:lnTo>
                  <a:pt x="822" y="898"/>
                </a:lnTo>
                <a:lnTo>
                  <a:pt x="822" y="876"/>
                </a:lnTo>
                <a:lnTo>
                  <a:pt x="822" y="854"/>
                </a:lnTo>
                <a:lnTo>
                  <a:pt x="822" y="831"/>
                </a:lnTo>
                <a:lnTo>
                  <a:pt x="821" y="809"/>
                </a:lnTo>
                <a:lnTo>
                  <a:pt x="821" y="787"/>
                </a:lnTo>
                <a:lnTo>
                  <a:pt x="786" y="794"/>
                </a:lnTo>
                <a:lnTo>
                  <a:pt x="750" y="800"/>
                </a:lnTo>
                <a:lnTo>
                  <a:pt x="716" y="806"/>
                </a:lnTo>
                <a:lnTo>
                  <a:pt x="682" y="812"/>
                </a:lnTo>
                <a:close/>
                <a:moveTo>
                  <a:pt x="488" y="846"/>
                </a:moveTo>
                <a:lnTo>
                  <a:pt x="488" y="866"/>
                </a:lnTo>
                <a:lnTo>
                  <a:pt x="488" y="886"/>
                </a:lnTo>
                <a:lnTo>
                  <a:pt x="488" y="907"/>
                </a:lnTo>
                <a:lnTo>
                  <a:pt x="489" y="927"/>
                </a:lnTo>
                <a:lnTo>
                  <a:pt x="489" y="948"/>
                </a:lnTo>
                <a:lnTo>
                  <a:pt x="489" y="969"/>
                </a:lnTo>
                <a:lnTo>
                  <a:pt x="489" y="989"/>
                </a:lnTo>
                <a:lnTo>
                  <a:pt x="489" y="1009"/>
                </a:lnTo>
                <a:lnTo>
                  <a:pt x="520" y="1005"/>
                </a:lnTo>
                <a:lnTo>
                  <a:pt x="552" y="1000"/>
                </a:lnTo>
                <a:lnTo>
                  <a:pt x="585" y="996"/>
                </a:lnTo>
                <a:lnTo>
                  <a:pt x="618" y="992"/>
                </a:lnTo>
                <a:lnTo>
                  <a:pt x="618" y="971"/>
                </a:lnTo>
                <a:lnTo>
                  <a:pt x="618" y="949"/>
                </a:lnTo>
                <a:lnTo>
                  <a:pt x="617" y="928"/>
                </a:lnTo>
                <a:lnTo>
                  <a:pt x="617" y="907"/>
                </a:lnTo>
                <a:lnTo>
                  <a:pt x="617" y="886"/>
                </a:lnTo>
                <a:lnTo>
                  <a:pt x="617" y="866"/>
                </a:lnTo>
                <a:lnTo>
                  <a:pt x="617" y="844"/>
                </a:lnTo>
                <a:lnTo>
                  <a:pt x="617" y="823"/>
                </a:lnTo>
                <a:lnTo>
                  <a:pt x="585" y="829"/>
                </a:lnTo>
                <a:lnTo>
                  <a:pt x="551" y="834"/>
                </a:lnTo>
                <a:lnTo>
                  <a:pt x="520" y="841"/>
                </a:lnTo>
                <a:lnTo>
                  <a:pt x="488" y="846"/>
                </a:lnTo>
                <a:close/>
                <a:moveTo>
                  <a:pt x="891" y="776"/>
                </a:moveTo>
                <a:lnTo>
                  <a:pt x="891" y="798"/>
                </a:lnTo>
                <a:lnTo>
                  <a:pt x="891" y="820"/>
                </a:lnTo>
                <a:lnTo>
                  <a:pt x="891" y="843"/>
                </a:lnTo>
                <a:lnTo>
                  <a:pt x="891" y="865"/>
                </a:lnTo>
                <a:lnTo>
                  <a:pt x="892" y="887"/>
                </a:lnTo>
                <a:lnTo>
                  <a:pt x="892" y="909"/>
                </a:lnTo>
                <a:lnTo>
                  <a:pt x="892" y="931"/>
                </a:lnTo>
                <a:lnTo>
                  <a:pt x="892" y="954"/>
                </a:lnTo>
                <a:lnTo>
                  <a:pt x="930" y="949"/>
                </a:lnTo>
                <a:lnTo>
                  <a:pt x="968" y="944"/>
                </a:lnTo>
                <a:lnTo>
                  <a:pt x="1007" y="939"/>
                </a:lnTo>
                <a:lnTo>
                  <a:pt x="1046" y="932"/>
                </a:lnTo>
                <a:lnTo>
                  <a:pt x="1046" y="909"/>
                </a:lnTo>
                <a:lnTo>
                  <a:pt x="1046" y="886"/>
                </a:lnTo>
                <a:lnTo>
                  <a:pt x="1046" y="863"/>
                </a:lnTo>
                <a:lnTo>
                  <a:pt x="1046" y="841"/>
                </a:lnTo>
                <a:lnTo>
                  <a:pt x="1046" y="818"/>
                </a:lnTo>
                <a:lnTo>
                  <a:pt x="1046" y="795"/>
                </a:lnTo>
                <a:lnTo>
                  <a:pt x="1046" y="772"/>
                </a:lnTo>
                <a:lnTo>
                  <a:pt x="1046" y="749"/>
                </a:lnTo>
                <a:lnTo>
                  <a:pt x="1006" y="756"/>
                </a:lnTo>
                <a:lnTo>
                  <a:pt x="967" y="762"/>
                </a:lnTo>
                <a:lnTo>
                  <a:pt x="930" y="769"/>
                </a:lnTo>
                <a:lnTo>
                  <a:pt x="891" y="776"/>
                </a:lnTo>
                <a:close/>
                <a:moveTo>
                  <a:pt x="1122" y="735"/>
                </a:moveTo>
                <a:lnTo>
                  <a:pt x="1122" y="759"/>
                </a:lnTo>
                <a:lnTo>
                  <a:pt x="1122" y="782"/>
                </a:lnTo>
                <a:lnTo>
                  <a:pt x="1122" y="806"/>
                </a:lnTo>
                <a:lnTo>
                  <a:pt x="1122" y="829"/>
                </a:lnTo>
                <a:lnTo>
                  <a:pt x="1122" y="852"/>
                </a:lnTo>
                <a:lnTo>
                  <a:pt x="1122" y="876"/>
                </a:lnTo>
                <a:lnTo>
                  <a:pt x="1122" y="899"/>
                </a:lnTo>
                <a:lnTo>
                  <a:pt x="1122" y="922"/>
                </a:lnTo>
                <a:lnTo>
                  <a:pt x="1143" y="920"/>
                </a:lnTo>
                <a:lnTo>
                  <a:pt x="1163" y="917"/>
                </a:lnTo>
                <a:lnTo>
                  <a:pt x="1184" y="914"/>
                </a:lnTo>
                <a:lnTo>
                  <a:pt x="1205" y="910"/>
                </a:lnTo>
                <a:lnTo>
                  <a:pt x="1226" y="908"/>
                </a:lnTo>
                <a:lnTo>
                  <a:pt x="1248" y="905"/>
                </a:lnTo>
                <a:lnTo>
                  <a:pt x="1269" y="902"/>
                </a:lnTo>
                <a:lnTo>
                  <a:pt x="1291" y="899"/>
                </a:lnTo>
                <a:lnTo>
                  <a:pt x="1291" y="875"/>
                </a:lnTo>
                <a:lnTo>
                  <a:pt x="1291" y="851"/>
                </a:lnTo>
                <a:lnTo>
                  <a:pt x="1291" y="827"/>
                </a:lnTo>
                <a:lnTo>
                  <a:pt x="1291" y="803"/>
                </a:lnTo>
                <a:lnTo>
                  <a:pt x="1291" y="779"/>
                </a:lnTo>
                <a:lnTo>
                  <a:pt x="1291" y="755"/>
                </a:lnTo>
                <a:lnTo>
                  <a:pt x="1291" y="731"/>
                </a:lnTo>
                <a:lnTo>
                  <a:pt x="1291" y="706"/>
                </a:lnTo>
                <a:lnTo>
                  <a:pt x="1269" y="710"/>
                </a:lnTo>
                <a:lnTo>
                  <a:pt x="1248" y="714"/>
                </a:lnTo>
                <a:lnTo>
                  <a:pt x="1226" y="718"/>
                </a:lnTo>
                <a:lnTo>
                  <a:pt x="1205" y="722"/>
                </a:lnTo>
                <a:lnTo>
                  <a:pt x="1184" y="725"/>
                </a:lnTo>
                <a:lnTo>
                  <a:pt x="1163" y="729"/>
                </a:lnTo>
                <a:lnTo>
                  <a:pt x="1143" y="732"/>
                </a:lnTo>
                <a:lnTo>
                  <a:pt x="1122" y="735"/>
                </a:lnTo>
                <a:close/>
                <a:moveTo>
                  <a:pt x="682" y="1064"/>
                </a:moveTo>
                <a:lnTo>
                  <a:pt x="682" y="1086"/>
                </a:lnTo>
                <a:lnTo>
                  <a:pt x="682" y="1106"/>
                </a:lnTo>
                <a:lnTo>
                  <a:pt x="683" y="1127"/>
                </a:lnTo>
                <a:lnTo>
                  <a:pt x="683" y="1149"/>
                </a:lnTo>
                <a:lnTo>
                  <a:pt x="683" y="1170"/>
                </a:lnTo>
                <a:lnTo>
                  <a:pt x="683" y="1192"/>
                </a:lnTo>
                <a:lnTo>
                  <a:pt x="683" y="1213"/>
                </a:lnTo>
                <a:lnTo>
                  <a:pt x="683" y="1234"/>
                </a:lnTo>
                <a:lnTo>
                  <a:pt x="717" y="1231"/>
                </a:lnTo>
                <a:lnTo>
                  <a:pt x="751" y="1228"/>
                </a:lnTo>
                <a:lnTo>
                  <a:pt x="787" y="1225"/>
                </a:lnTo>
                <a:lnTo>
                  <a:pt x="823" y="1222"/>
                </a:lnTo>
                <a:lnTo>
                  <a:pt x="822" y="1200"/>
                </a:lnTo>
                <a:lnTo>
                  <a:pt x="822" y="1178"/>
                </a:lnTo>
                <a:lnTo>
                  <a:pt x="822" y="1156"/>
                </a:lnTo>
                <a:lnTo>
                  <a:pt x="822" y="1135"/>
                </a:lnTo>
                <a:lnTo>
                  <a:pt x="822" y="1113"/>
                </a:lnTo>
                <a:lnTo>
                  <a:pt x="822" y="1091"/>
                </a:lnTo>
                <a:lnTo>
                  <a:pt x="822" y="1069"/>
                </a:lnTo>
                <a:lnTo>
                  <a:pt x="822" y="1047"/>
                </a:lnTo>
                <a:lnTo>
                  <a:pt x="787" y="1051"/>
                </a:lnTo>
                <a:lnTo>
                  <a:pt x="751" y="1055"/>
                </a:lnTo>
                <a:lnTo>
                  <a:pt x="716" y="1059"/>
                </a:lnTo>
                <a:lnTo>
                  <a:pt x="682" y="1064"/>
                </a:lnTo>
                <a:close/>
                <a:moveTo>
                  <a:pt x="489" y="1087"/>
                </a:moveTo>
                <a:lnTo>
                  <a:pt x="489" y="1107"/>
                </a:lnTo>
                <a:lnTo>
                  <a:pt x="489" y="1128"/>
                </a:lnTo>
                <a:lnTo>
                  <a:pt x="490" y="1148"/>
                </a:lnTo>
                <a:lnTo>
                  <a:pt x="490" y="1169"/>
                </a:lnTo>
                <a:lnTo>
                  <a:pt x="490" y="1189"/>
                </a:lnTo>
                <a:lnTo>
                  <a:pt x="490" y="1210"/>
                </a:lnTo>
                <a:lnTo>
                  <a:pt x="490" y="1229"/>
                </a:lnTo>
                <a:lnTo>
                  <a:pt x="490" y="1250"/>
                </a:lnTo>
                <a:lnTo>
                  <a:pt x="521" y="1247"/>
                </a:lnTo>
                <a:lnTo>
                  <a:pt x="553" y="1245"/>
                </a:lnTo>
                <a:lnTo>
                  <a:pt x="586" y="1242"/>
                </a:lnTo>
                <a:lnTo>
                  <a:pt x="619" y="1240"/>
                </a:lnTo>
                <a:lnTo>
                  <a:pt x="619" y="1218"/>
                </a:lnTo>
                <a:lnTo>
                  <a:pt x="618" y="1197"/>
                </a:lnTo>
                <a:lnTo>
                  <a:pt x="618" y="1176"/>
                </a:lnTo>
                <a:lnTo>
                  <a:pt x="618" y="1155"/>
                </a:lnTo>
                <a:lnTo>
                  <a:pt x="618" y="1135"/>
                </a:lnTo>
                <a:lnTo>
                  <a:pt x="618" y="1114"/>
                </a:lnTo>
                <a:lnTo>
                  <a:pt x="618" y="1093"/>
                </a:lnTo>
                <a:lnTo>
                  <a:pt x="618" y="1072"/>
                </a:lnTo>
                <a:lnTo>
                  <a:pt x="586" y="1075"/>
                </a:lnTo>
                <a:lnTo>
                  <a:pt x="553" y="1079"/>
                </a:lnTo>
                <a:lnTo>
                  <a:pt x="521" y="1083"/>
                </a:lnTo>
                <a:lnTo>
                  <a:pt x="489" y="1087"/>
                </a:lnTo>
                <a:close/>
                <a:moveTo>
                  <a:pt x="892" y="1039"/>
                </a:moveTo>
                <a:lnTo>
                  <a:pt x="892" y="1061"/>
                </a:lnTo>
                <a:lnTo>
                  <a:pt x="892" y="1083"/>
                </a:lnTo>
                <a:lnTo>
                  <a:pt x="892" y="1105"/>
                </a:lnTo>
                <a:lnTo>
                  <a:pt x="892" y="1127"/>
                </a:lnTo>
                <a:lnTo>
                  <a:pt x="892" y="1150"/>
                </a:lnTo>
                <a:lnTo>
                  <a:pt x="892" y="1172"/>
                </a:lnTo>
                <a:lnTo>
                  <a:pt x="892" y="1194"/>
                </a:lnTo>
                <a:lnTo>
                  <a:pt x="892" y="1217"/>
                </a:lnTo>
                <a:lnTo>
                  <a:pt x="930" y="1214"/>
                </a:lnTo>
                <a:lnTo>
                  <a:pt x="968" y="1210"/>
                </a:lnTo>
                <a:lnTo>
                  <a:pt x="1007" y="1206"/>
                </a:lnTo>
                <a:lnTo>
                  <a:pt x="1046" y="1203"/>
                </a:lnTo>
                <a:lnTo>
                  <a:pt x="1046" y="1180"/>
                </a:lnTo>
                <a:lnTo>
                  <a:pt x="1046" y="1157"/>
                </a:lnTo>
                <a:lnTo>
                  <a:pt x="1046" y="1135"/>
                </a:lnTo>
                <a:lnTo>
                  <a:pt x="1046" y="1112"/>
                </a:lnTo>
                <a:lnTo>
                  <a:pt x="1046" y="1089"/>
                </a:lnTo>
                <a:lnTo>
                  <a:pt x="1046" y="1066"/>
                </a:lnTo>
                <a:lnTo>
                  <a:pt x="1046" y="1043"/>
                </a:lnTo>
                <a:lnTo>
                  <a:pt x="1046" y="1020"/>
                </a:lnTo>
                <a:lnTo>
                  <a:pt x="1007" y="1025"/>
                </a:lnTo>
                <a:lnTo>
                  <a:pt x="968" y="1029"/>
                </a:lnTo>
                <a:lnTo>
                  <a:pt x="930" y="1034"/>
                </a:lnTo>
                <a:lnTo>
                  <a:pt x="892" y="1039"/>
                </a:lnTo>
                <a:close/>
                <a:moveTo>
                  <a:pt x="1122" y="1012"/>
                </a:moveTo>
                <a:lnTo>
                  <a:pt x="1122" y="1034"/>
                </a:lnTo>
                <a:lnTo>
                  <a:pt x="1122" y="1057"/>
                </a:lnTo>
                <a:lnTo>
                  <a:pt x="1122" y="1080"/>
                </a:lnTo>
                <a:lnTo>
                  <a:pt x="1122" y="1104"/>
                </a:lnTo>
                <a:lnTo>
                  <a:pt x="1122" y="1127"/>
                </a:lnTo>
                <a:lnTo>
                  <a:pt x="1122" y="1150"/>
                </a:lnTo>
                <a:lnTo>
                  <a:pt x="1122" y="1174"/>
                </a:lnTo>
                <a:lnTo>
                  <a:pt x="1122" y="1197"/>
                </a:lnTo>
                <a:lnTo>
                  <a:pt x="1143" y="1195"/>
                </a:lnTo>
                <a:lnTo>
                  <a:pt x="1163" y="1194"/>
                </a:lnTo>
                <a:lnTo>
                  <a:pt x="1184" y="1192"/>
                </a:lnTo>
                <a:lnTo>
                  <a:pt x="1205" y="1190"/>
                </a:lnTo>
                <a:lnTo>
                  <a:pt x="1226" y="1189"/>
                </a:lnTo>
                <a:lnTo>
                  <a:pt x="1248" y="1187"/>
                </a:lnTo>
                <a:lnTo>
                  <a:pt x="1269" y="1185"/>
                </a:lnTo>
                <a:lnTo>
                  <a:pt x="1291" y="1182"/>
                </a:lnTo>
                <a:lnTo>
                  <a:pt x="1291" y="1159"/>
                </a:lnTo>
                <a:lnTo>
                  <a:pt x="1291" y="1135"/>
                </a:lnTo>
                <a:lnTo>
                  <a:pt x="1291" y="1111"/>
                </a:lnTo>
                <a:lnTo>
                  <a:pt x="1291" y="1087"/>
                </a:lnTo>
                <a:lnTo>
                  <a:pt x="1291" y="1063"/>
                </a:lnTo>
                <a:lnTo>
                  <a:pt x="1291" y="1039"/>
                </a:lnTo>
                <a:lnTo>
                  <a:pt x="1291" y="1015"/>
                </a:lnTo>
                <a:lnTo>
                  <a:pt x="1291" y="991"/>
                </a:lnTo>
                <a:lnTo>
                  <a:pt x="1269" y="994"/>
                </a:lnTo>
                <a:lnTo>
                  <a:pt x="1248" y="996"/>
                </a:lnTo>
                <a:lnTo>
                  <a:pt x="1226" y="999"/>
                </a:lnTo>
                <a:lnTo>
                  <a:pt x="1205" y="1001"/>
                </a:lnTo>
                <a:lnTo>
                  <a:pt x="1184" y="1003"/>
                </a:lnTo>
                <a:lnTo>
                  <a:pt x="1163" y="1006"/>
                </a:lnTo>
                <a:lnTo>
                  <a:pt x="1143" y="1008"/>
                </a:lnTo>
                <a:lnTo>
                  <a:pt x="1122" y="1012"/>
                </a:lnTo>
                <a:close/>
                <a:moveTo>
                  <a:pt x="490" y="1322"/>
                </a:moveTo>
                <a:lnTo>
                  <a:pt x="490" y="1343"/>
                </a:lnTo>
                <a:lnTo>
                  <a:pt x="490" y="1363"/>
                </a:lnTo>
                <a:lnTo>
                  <a:pt x="491" y="1384"/>
                </a:lnTo>
                <a:lnTo>
                  <a:pt x="491" y="1403"/>
                </a:lnTo>
                <a:lnTo>
                  <a:pt x="491" y="1424"/>
                </a:lnTo>
                <a:lnTo>
                  <a:pt x="491" y="1444"/>
                </a:lnTo>
                <a:lnTo>
                  <a:pt x="491" y="1465"/>
                </a:lnTo>
                <a:lnTo>
                  <a:pt x="491" y="1485"/>
                </a:lnTo>
                <a:lnTo>
                  <a:pt x="522" y="1484"/>
                </a:lnTo>
                <a:lnTo>
                  <a:pt x="554" y="1483"/>
                </a:lnTo>
                <a:lnTo>
                  <a:pt x="587" y="1482"/>
                </a:lnTo>
                <a:lnTo>
                  <a:pt x="620" y="1481"/>
                </a:lnTo>
                <a:lnTo>
                  <a:pt x="619" y="1460"/>
                </a:lnTo>
                <a:lnTo>
                  <a:pt x="619" y="1439"/>
                </a:lnTo>
                <a:lnTo>
                  <a:pt x="619" y="1418"/>
                </a:lnTo>
                <a:lnTo>
                  <a:pt x="619" y="1397"/>
                </a:lnTo>
                <a:lnTo>
                  <a:pt x="619" y="1376"/>
                </a:lnTo>
                <a:lnTo>
                  <a:pt x="619" y="1356"/>
                </a:lnTo>
                <a:lnTo>
                  <a:pt x="619" y="1335"/>
                </a:lnTo>
                <a:lnTo>
                  <a:pt x="619" y="1314"/>
                </a:lnTo>
                <a:lnTo>
                  <a:pt x="587" y="1316"/>
                </a:lnTo>
                <a:lnTo>
                  <a:pt x="553" y="1318"/>
                </a:lnTo>
                <a:lnTo>
                  <a:pt x="522" y="1320"/>
                </a:lnTo>
                <a:lnTo>
                  <a:pt x="490" y="1322"/>
                </a:lnTo>
                <a:close/>
                <a:moveTo>
                  <a:pt x="892" y="1295"/>
                </a:moveTo>
                <a:lnTo>
                  <a:pt x="892" y="1317"/>
                </a:lnTo>
                <a:lnTo>
                  <a:pt x="892" y="1339"/>
                </a:lnTo>
                <a:lnTo>
                  <a:pt x="893" y="1362"/>
                </a:lnTo>
                <a:lnTo>
                  <a:pt x="893" y="1384"/>
                </a:lnTo>
                <a:lnTo>
                  <a:pt x="893" y="1406"/>
                </a:lnTo>
                <a:lnTo>
                  <a:pt x="893" y="1427"/>
                </a:lnTo>
                <a:lnTo>
                  <a:pt x="893" y="1449"/>
                </a:lnTo>
                <a:lnTo>
                  <a:pt x="893" y="1472"/>
                </a:lnTo>
                <a:lnTo>
                  <a:pt x="931" y="1470"/>
                </a:lnTo>
                <a:lnTo>
                  <a:pt x="968" y="1469"/>
                </a:lnTo>
                <a:lnTo>
                  <a:pt x="1007" y="1468"/>
                </a:lnTo>
                <a:lnTo>
                  <a:pt x="1047" y="1467"/>
                </a:lnTo>
                <a:lnTo>
                  <a:pt x="1047" y="1444"/>
                </a:lnTo>
                <a:lnTo>
                  <a:pt x="1047" y="1421"/>
                </a:lnTo>
                <a:lnTo>
                  <a:pt x="1047" y="1398"/>
                </a:lnTo>
                <a:lnTo>
                  <a:pt x="1047" y="1375"/>
                </a:lnTo>
                <a:lnTo>
                  <a:pt x="1047" y="1353"/>
                </a:lnTo>
                <a:lnTo>
                  <a:pt x="1047" y="1331"/>
                </a:lnTo>
                <a:lnTo>
                  <a:pt x="1046" y="1308"/>
                </a:lnTo>
                <a:lnTo>
                  <a:pt x="1046" y="1285"/>
                </a:lnTo>
                <a:lnTo>
                  <a:pt x="1007" y="1287"/>
                </a:lnTo>
                <a:lnTo>
                  <a:pt x="968" y="1290"/>
                </a:lnTo>
                <a:lnTo>
                  <a:pt x="931" y="1292"/>
                </a:lnTo>
                <a:lnTo>
                  <a:pt x="892" y="1295"/>
                </a:lnTo>
                <a:close/>
                <a:moveTo>
                  <a:pt x="1122" y="1279"/>
                </a:moveTo>
                <a:lnTo>
                  <a:pt x="1122" y="1302"/>
                </a:lnTo>
                <a:lnTo>
                  <a:pt x="1122" y="1325"/>
                </a:lnTo>
                <a:lnTo>
                  <a:pt x="1123" y="1349"/>
                </a:lnTo>
                <a:lnTo>
                  <a:pt x="1123" y="1372"/>
                </a:lnTo>
                <a:lnTo>
                  <a:pt x="1123" y="1395"/>
                </a:lnTo>
                <a:lnTo>
                  <a:pt x="1123" y="1418"/>
                </a:lnTo>
                <a:lnTo>
                  <a:pt x="1123" y="1441"/>
                </a:lnTo>
                <a:lnTo>
                  <a:pt x="1123" y="1465"/>
                </a:lnTo>
                <a:lnTo>
                  <a:pt x="1143" y="1464"/>
                </a:lnTo>
                <a:lnTo>
                  <a:pt x="1163" y="1463"/>
                </a:lnTo>
                <a:lnTo>
                  <a:pt x="1184" y="1463"/>
                </a:lnTo>
                <a:lnTo>
                  <a:pt x="1205" y="1462"/>
                </a:lnTo>
                <a:lnTo>
                  <a:pt x="1226" y="1461"/>
                </a:lnTo>
                <a:lnTo>
                  <a:pt x="1248" y="1461"/>
                </a:lnTo>
                <a:lnTo>
                  <a:pt x="1269" y="1460"/>
                </a:lnTo>
                <a:lnTo>
                  <a:pt x="1291" y="1459"/>
                </a:lnTo>
                <a:lnTo>
                  <a:pt x="1291" y="1435"/>
                </a:lnTo>
                <a:lnTo>
                  <a:pt x="1291" y="1411"/>
                </a:lnTo>
                <a:lnTo>
                  <a:pt x="1291" y="1388"/>
                </a:lnTo>
                <a:lnTo>
                  <a:pt x="1291" y="1364"/>
                </a:lnTo>
                <a:lnTo>
                  <a:pt x="1291" y="1340"/>
                </a:lnTo>
                <a:lnTo>
                  <a:pt x="1291" y="1316"/>
                </a:lnTo>
                <a:lnTo>
                  <a:pt x="1291" y="1292"/>
                </a:lnTo>
                <a:lnTo>
                  <a:pt x="1291" y="1268"/>
                </a:lnTo>
                <a:lnTo>
                  <a:pt x="1269" y="1269"/>
                </a:lnTo>
                <a:lnTo>
                  <a:pt x="1248" y="1271"/>
                </a:lnTo>
                <a:lnTo>
                  <a:pt x="1226" y="1272"/>
                </a:lnTo>
                <a:lnTo>
                  <a:pt x="1205" y="1273"/>
                </a:lnTo>
                <a:lnTo>
                  <a:pt x="1184" y="1275"/>
                </a:lnTo>
                <a:lnTo>
                  <a:pt x="1163" y="1276"/>
                </a:lnTo>
                <a:lnTo>
                  <a:pt x="1143" y="1278"/>
                </a:lnTo>
                <a:lnTo>
                  <a:pt x="1122" y="127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6" name="Freeform 115"/>
          <p:cNvSpPr>
            <a:spLocks noEditPoints="1"/>
          </p:cNvSpPr>
          <p:nvPr/>
        </p:nvSpPr>
        <p:spPr bwMode="auto">
          <a:xfrm>
            <a:off x="2657546" y="1052720"/>
            <a:ext cx="432699" cy="393274"/>
          </a:xfrm>
          <a:custGeom>
            <a:avLst/>
            <a:gdLst>
              <a:gd name="T0" fmla="*/ 734 w 2186"/>
              <a:gd name="T1" fmla="*/ 1060 h 2093"/>
              <a:gd name="T2" fmla="*/ 699 w 2186"/>
              <a:gd name="T3" fmla="*/ 808 h 2093"/>
              <a:gd name="T4" fmla="*/ 712 w 2186"/>
              <a:gd name="T5" fmla="*/ 748 h 2093"/>
              <a:gd name="T6" fmla="*/ 736 w 2186"/>
              <a:gd name="T7" fmla="*/ 690 h 2093"/>
              <a:gd name="T8" fmla="*/ 768 w 2186"/>
              <a:gd name="T9" fmla="*/ 639 h 2093"/>
              <a:gd name="T10" fmla="*/ 806 w 2186"/>
              <a:gd name="T11" fmla="*/ 592 h 2093"/>
              <a:gd name="T12" fmla="*/ 851 w 2186"/>
              <a:gd name="T13" fmla="*/ 553 h 2093"/>
              <a:gd name="T14" fmla="*/ 902 w 2186"/>
              <a:gd name="T15" fmla="*/ 520 h 2093"/>
              <a:gd name="T16" fmla="*/ 957 w 2186"/>
              <a:gd name="T17" fmla="*/ 495 h 2093"/>
              <a:gd name="T18" fmla="*/ 966 w 2186"/>
              <a:gd name="T19" fmla="*/ 371 h 2093"/>
              <a:gd name="T20" fmla="*/ 973 w 2186"/>
              <a:gd name="T21" fmla="*/ 337 h 2093"/>
              <a:gd name="T22" fmla="*/ 991 w 2186"/>
              <a:gd name="T23" fmla="*/ 307 h 2093"/>
              <a:gd name="T24" fmla="*/ 1015 w 2186"/>
              <a:gd name="T25" fmla="*/ 284 h 2093"/>
              <a:gd name="T26" fmla="*/ 1046 w 2186"/>
              <a:gd name="T27" fmla="*/ 268 h 2093"/>
              <a:gd name="T28" fmla="*/ 1120 w 2186"/>
              <a:gd name="T29" fmla="*/ 269 h 2093"/>
              <a:gd name="T30" fmla="*/ 1150 w 2186"/>
              <a:gd name="T31" fmla="*/ 285 h 2093"/>
              <a:gd name="T32" fmla="*/ 1174 w 2186"/>
              <a:gd name="T33" fmla="*/ 308 h 2093"/>
              <a:gd name="T34" fmla="*/ 1190 w 2186"/>
              <a:gd name="T35" fmla="*/ 337 h 2093"/>
              <a:gd name="T36" fmla="*/ 1198 w 2186"/>
              <a:gd name="T37" fmla="*/ 371 h 2093"/>
              <a:gd name="T38" fmla="*/ 1210 w 2186"/>
              <a:gd name="T39" fmla="*/ 493 h 2093"/>
              <a:gd name="T40" fmla="*/ 1267 w 2186"/>
              <a:gd name="T41" fmla="*/ 517 h 2093"/>
              <a:gd name="T42" fmla="*/ 1319 w 2186"/>
              <a:gd name="T43" fmla="*/ 550 h 2093"/>
              <a:gd name="T44" fmla="*/ 1366 w 2186"/>
              <a:gd name="T45" fmla="*/ 589 h 2093"/>
              <a:gd name="T46" fmla="*/ 1406 w 2186"/>
              <a:gd name="T47" fmla="*/ 636 h 2093"/>
              <a:gd name="T48" fmla="*/ 1437 w 2186"/>
              <a:gd name="T49" fmla="*/ 688 h 2093"/>
              <a:gd name="T50" fmla="*/ 1461 w 2186"/>
              <a:gd name="T51" fmla="*/ 746 h 2093"/>
              <a:gd name="T52" fmla="*/ 1476 w 2186"/>
              <a:gd name="T53" fmla="*/ 808 h 2093"/>
              <a:gd name="T54" fmla="*/ 1448 w 2186"/>
              <a:gd name="T55" fmla="*/ 1060 h 2093"/>
              <a:gd name="T56" fmla="*/ 2186 w 2186"/>
              <a:gd name="T57" fmla="*/ 2093 h 2093"/>
              <a:gd name="T58" fmla="*/ 824 w 2186"/>
              <a:gd name="T59" fmla="*/ 1005 h 2093"/>
              <a:gd name="T60" fmla="*/ 946 w 2186"/>
              <a:gd name="T61" fmla="*/ 897 h 2093"/>
              <a:gd name="T62" fmla="*/ 946 w 2186"/>
              <a:gd name="T63" fmla="*/ 897 h 2093"/>
              <a:gd name="T64" fmla="*/ 1138 w 2186"/>
              <a:gd name="T65" fmla="*/ 897 h 2093"/>
              <a:gd name="T66" fmla="*/ 1255 w 2186"/>
              <a:gd name="T67" fmla="*/ 1005 h 2093"/>
              <a:gd name="T68" fmla="*/ 1302 w 2186"/>
              <a:gd name="T69" fmla="*/ 1005 h 2093"/>
              <a:gd name="T70" fmla="*/ 201 w 2186"/>
              <a:gd name="T71" fmla="*/ 1175 h 2093"/>
              <a:gd name="T72" fmla="*/ 201 w 2186"/>
              <a:gd name="T73" fmla="*/ 1175 h 2093"/>
              <a:gd name="T74" fmla="*/ 514 w 2186"/>
              <a:gd name="T75" fmla="*/ 1175 h 2093"/>
              <a:gd name="T76" fmla="*/ 702 w 2186"/>
              <a:gd name="T77" fmla="*/ 1365 h 2093"/>
              <a:gd name="T78" fmla="*/ 1508 w 2186"/>
              <a:gd name="T79" fmla="*/ 1365 h 2093"/>
              <a:gd name="T80" fmla="*/ 1688 w 2186"/>
              <a:gd name="T81" fmla="*/ 1175 h 2093"/>
              <a:gd name="T82" fmla="*/ 1688 w 2186"/>
              <a:gd name="T83" fmla="*/ 1175 h 2093"/>
              <a:gd name="T84" fmla="*/ 2009 w 2186"/>
              <a:gd name="T85" fmla="*/ 1175 h 2093"/>
              <a:gd name="T86" fmla="*/ 334 w 2186"/>
              <a:gd name="T87" fmla="*/ 1743 h 2093"/>
              <a:gd name="T88" fmla="*/ 382 w 2186"/>
              <a:gd name="T89" fmla="*/ 1743 h 2093"/>
              <a:gd name="T90" fmla="*/ 569 w 2186"/>
              <a:gd name="T91" fmla="*/ 1554 h 2093"/>
              <a:gd name="T92" fmla="*/ 569 w 2186"/>
              <a:gd name="T93" fmla="*/ 1554 h 2093"/>
              <a:gd name="T94" fmla="*/ 1640 w 2186"/>
              <a:gd name="T95" fmla="*/ 1554 h 2093"/>
              <a:gd name="T96" fmla="*/ 1821 w 2186"/>
              <a:gd name="T97" fmla="*/ 1743 h 2093"/>
              <a:gd name="T98" fmla="*/ 1876 w 2186"/>
              <a:gd name="T99" fmla="*/ 1743 h 2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86" h="2093">
                <a:moveTo>
                  <a:pt x="0" y="1830"/>
                </a:moveTo>
                <a:lnTo>
                  <a:pt x="108" y="1830"/>
                </a:lnTo>
                <a:lnTo>
                  <a:pt x="108" y="1060"/>
                </a:lnTo>
                <a:lnTo>
                  <a:pt x="734" y="1060"/>
                </a:lnTo>
                <a:lnTo>
                  <a:pt x="734" y="839"/>
                </a:lnTo>
                <a:lnTo>
                  <a:pt x="696" y="839"/>
                </a:lnTo>
                <a:lnTo>
                  <a:pt x="697" y="824"/>
                </a:lnTo>
                <a:lnTo>
                  <a:pt x="699" y="808"/>
                </a:lnTo>
                <a:lnTo>
                  <a:pt x="701" y="793"/>
                </a:lnTo>
                <a:lnTo>
                  <a:pt x="705" y="777"/>
                </a:lnTo>
                <a:lnTo>
                  <a:pt x="708" y="762"/>
                </a:lnTo>
                <a:lnTo>
                  <a:pt x="712" y="748"/>
                </a:lnTo>
                <a:lnTo>
                  <a:pt x="718" y="733"/>
                </a:lnTo>
                <a:lnTo>
                  <a:pt x="723" y="718"/>
                </a:lnTo>
                <a:lnTo>
                  <a:pt x="729" y="705"/>
                </a:lnTo>
                <a:lnTo>
                  <a:pt x="736" y="690"/>
                </a:lnTo>
                <a:lnTo>
                  <a:pt x="743" y="677"/>
                </a:lnTo>
                <a:lnTo>
                  <a:pt x="751" y="664"/>
                </a:lnTo>
                <a:lnTo>
                  <a:pt x="758" y="652"/>
                </a:lnTo>
                <a:lnTo>
                  <a:pt x="768" y="639"/>
                </a:lnTo>
                <a:lnTo>
                  <a:pt x="776" y="627"/>
                </a:lnTo>
                <a:lnTo>
                  <a:pt x="785" y="615"/>
                </a:lnTo>
                <a:lnTo>
                  <a:pt x="796" y="604"/>
                </a:lnTo>
                <a:lnTo>
                  <a:pt x="806" y="592"/>
                </a:lnTo>
                <a:lnTo>
                  <a:pt x="817" y="582"/>
                </a:lnTo>
                <a:lnTo>
                  <a:pt x="828" y="572"/>
                </a:lnTo>
                <a:lnTo>
                  <a:pt x="840" y="562"/>
                </a:lnTo>
                <a:lnTo>
                  <a:pt x="851" y="553"/>
                </a:lnTo>
                <a:lnTo>
                  <a:pt x="864" y="544"/>
                </a:lnTo>
                <a:lnTo>
                  <a:pt x="876" y="535"/>
                </a:lnTo>
                <a:lnTo>
                  <a:pt x="889" y="528"/>
                </a:lnTo>
                <a:lnTo>
                  <a:pt x="902" y="520"/>
                </a:lnTo>
                <a:lnTo>
                  <a:pt x="916" y="513"/>
                </a:lnTo>
                <a:lnTo>
                  <a:pt x="929" y="507"/>
                </a:lnTo>
                <a:lnTo>
                  <a:pt x="944" y="501"/>
                </a:lnTo>
                <a:lnTo>
                  <a:pt x="957" y="495"/>
                </a:lnTo>
                <a:lnTo>
                  <a:pt x="973" y="491"/>
                </a:lnTo>
                <a:lnTo>
                  <a:pt x="988" y="487"/>
                </a:lnTo>
                <a:lnTo>
                  <a:pt x="988" y="371"/>
                </a:lnTo>
                <a:lnTo>
                  <a:pt x="966" y="371"/>
                </a:lnTo>
                <a:lnTo>
                  <a:pt x="967" y="362"/>
                </a:lnTo>
                <a:lnTo>
                  <a:pt x="969" y="354"/>
                </a:lnTo>
                <a:lnTo>
                  <a:pt x="971" y="345"/>
                </a:lnTo>
                <a:lnTo>
                  <a:pt x="973" y="337"/>
                </a:lnTo>
                <a:lnTo>
                  <a:pt x="977" y="329"/>
                </a:lnTo>
                <a:lnTo>
                  <a:pt x="981" y="321"/>
                </a:lnTo>
                <a:lnTo>
                  <a:pt x="986" y="314"/>
                </a:lnTo>
                <a:lnTo>
                  <a:pt x="991" y="307"/>
                </a:lnTo>
                <a:lnTo>
                  <a:pt x="996" y="300"/>
                </a:lnTo>
                <a:lnTo>
                  <a:pt x="1002" y="294"/>
                </a:lnTo>
                <a:lnTo>
                  <a:pt x="1008" y="289"/>
                </a:lnTo>
                <a:lnTo>
                  <a:pt x="1015" y="284"/>
                </a:lnTo>
                <a:lnTo>
                  <a:pt x="1022" y="279"/>
                </a:lnTo>
                <a:lnTo>
                  <a:pt x="1029" y="275"/>
                </a:lnTo>
                <a:lnTo>
                  <a:pt x="1038" y="271"/>
                </a:lnTo>
                <a:lnTo>
                  <a:pt x="1046" y="268"/>
                </a:lnTo>
                <a:lnTo>
                  <a:pt x="1064" y="0"/>
                </a:lnTo>
                <a:lnTo>
                  <a:pt x="1083" y="0"/>
                </a:lnTo>
                <a:lnTo>
                  <a:pt x="1102" y="0"/>
                </a:lnTo>
                <a:lnTo>
                  <a:pt x="1120" y="269"/>
                </a:lnTo>
                <a:lnTo>
                  <a:pt x="1128" y="272"/>
                </a:lnTo>
                <a:lnTo>
                  <a:pt x="1136" y="275"/>
                </a:lnTo>
                <a:lnTo>
                  <a:pt x="1143" y="280"/>
                </a:lnTo>
                <a:lnTo>
                  <a:pt x="1150" y="285"/>
                </a:lnTo>
                <a:lnTo>
                  <a:pt x="1157" y="290"/>
                </a:lnTo>
                <a:lnTo>
                  <a:pt x="1163" y="295"/>
                </a:lnTo>
                <a:lnTo>
                  <a:pt x="1169" y="301"/>
                </a:lnTo>
                <a:lnTo>
                  <a:pt x="1174" y="308"/>
                </a:lnTo>
                <a:lnTo>
                  <a:pt x="1178" y="315"/>
                </a:lnTo>
                <a:lnTo>
                  <a:pt x="1184" y="322"/>
                </a:lnTo>
                <a:lnTo>
                  <a:pt x="1187" y="330"/>
                </a:lnTo>
                <a:lnTo>
                  <a:pt x="1190" y="337"/>
                </a:lnTo>
                <a:lnTo>
                  <a:pt x="1193" y="345"/>
                </a:lnTo>
                <a:lnTo>
                  <a:pt x="1195" y="354"/>
                </a:lnTo>
                <a:lnTo>
                  <a:pt x="1197" y="362"/>
                </a:lnTo>
                <a:lnTo>
                  <a:pt x="1198" y="371"/>
                </a:lnTo>
                <a:lnTo>
                  <a:pt x="1180" y="371"/>
                </a:lnTo>
                <a:lnTo>
                  <a:pt x="1180" y="485"/>
                </a:lnTo>
                <a:lnTo>
                  <a:pt x="1195" y="489"/>
                </a:lnTo>
                <a:lnTo>
                  <a:pt x="1210" y="493"/>
                </a:lnTo>
                <a:lnTo>
                  <a:pt x="1224" y="499"/>
                </a:lnTo>
                <a:lnTo>
                  <a:pt x="1239" y="505"/>
                </a:lnTo>
                <a:lnTo>
                  <a:pt x="1254" y="511"/>
                </a:lnTo>
                <a:lnTo>
                  <a:pt x="1267" y="517"/>
                </a:lnTo>
                <a:lnTo>
                  <a:pt x="1281" y="525"/>
                </a:lnTo>
                <a:lnTo>
                  <a:pt x="1294" y="533"/>
                </a:lnTo>
                <a:lnTo>
                  <a:pt x="1307" y="541"/>
                </a:lnTo>
                <a:lnTo>
                  <a:pt x="1319" y="550"/>
                </a:lnTo>
                <a:lnTo>
                  <a:pt x="1332" y="559"/>
                </a:lnTo>
                <a:lnTo>
                  <a:pt x="1343" y="569"/>
                </a:lnTo>
                <a:lnTo>
                  <a:pt x="1355" y="579"/>
                </a:lnTo>
                <a:lnTo>
                  <a:pt x="1366" y="589"/>
                </a:lnTo>
                <a:lnTo>
                  <a:pt x="1377" y="601"/>
                </a:lnTo>
                <a:lnTo>
                  <a:pt x="1386" y="612"/>
                </a:lnTo>
                <a:lnTo>
                  <a:pt x="1396" y="624"/>
                </a:lnTo>
                <a:lnTo>
                  <a:pt x="1406" y="636"/>
                </a:lnTo>
                <a:lnTo>
                  <a:pt x="1414" y="649"/>
                </a:lnTo>
                <a:lnTo>
                  <a:pt x="1422" y="662"/>
                </a:lnTo>
                <a:lnTo>
                  <a:pt x="1430" y="675"/>
                </a:lnTo>
                <a:lnTo>
                  <a:pt x="1437" y="688"/>
                </a:lnTo>
                <a:lnTo>
                  <a:pt x="1444" y="703"/>
                </a:lnTo>
                <a:lnTo>
                  <a:pt x="1451" y="716"/>
                </a:lnTo>
                <a:lnTo>
                  <a:pt x="1456" y="731"/>
                </a:lnTo>
                <a:lnTo>
                  <a:pt x="1461" y="746"/>
                </a:lnTo>
                <a:lnTo>
                  <a:pt x="1465" y="761"/>
                </a:lnTo>
                <a:lnTo>
                  <a:pt x="1469" y="777"/>
                </a:lnTo>
                <a:lnTo>
                  <a:pt x="1473" y="791"/>
                </a:lnTo>
                <a:lnTo>
                  <a:pt x="1476" y="808"/>
                </a:lnTo>
                <a:lnTo>
                  <a:pt x="1478" y="824"/>
                </a:lnTo>
                <a:lnTo>
                  <a:pt x="1479" y="839"/>
                </a:lnTo>
                <a:lnTo>
                  <a:pt x="1448" y="839"/>
                </a:lnTo>
                <a:lnTo>
                  <a:pt x="1448" y="1060"/>
                </a:lnTo>
                <a:lnTo>
                  <a:pt x="2078" y="1060"/>
                </a:lnTo>
                <a:lnTo>
                  <a:pt x="2078" y="1830"/>
                </a:lnTo>
                <a:lnTo>
                  <a:pt x="2186" y="1830"/>
                </a:lnTo>
                <a:lnTo>
                  <a:pt x="2186" y="2093"/>
                </a:lnTo>
                <a:lnTo>
                  <a:pt x="0" y="2093"/>
                </a:lnTo>
                <a:lnTo>
                  <a:pt x="0" y="1830"/>
                </a:lnTo>
                <a:close/>
                <a:moveTo>
                  <a:pt x="824" y="897"/>
                </a:moveTo>
                <a:lnTo>
                  <a:pt x="824" y="1005"/>
                </a:lnTo>
                <a:lnTo>
                  <a:pt x="899" y="1005"/>
                </a:lnTo>
                <a:lnTo>
                  <a:pt x="899" y="897"/>
                </a:lnTo>
                <a:lnTo>
                  <a:pt x="824" y="897"/>
                </a:lnTo>
                <a:close/>
                <a:moveTo>
                  <a:pt x="946" y="897"/>
                </a:moveTo>
                <a:lnTo>
                  <a:pt x="946" y="1005"/>
                </a:lnTo>
                <a:lnTo>
                  <a:pt x="1021" y="1005"/>
                </a:lnTo>
                <a:lnTo>
                  <a:pt x="1021" y="897"/>
                </a:lnTo>
                <a:lnTo>
                  <a:pt x="946" y="897"/>
                </a:lnTo>
                <a:close/>
                <a:moveTo>
                  <a:pt x="1063" y="897"/>
                </a:moveTo>
                <a:lnTo>
                  <a:pt x="1063" y="1005"/>
                </a:lnTo>
                <a:lnTo>
                  <a:pt x="1138" y="1005"/>
                </a:lnTo>
                <a:lnTo>
                  <a:pt x="1138" y="897"/>
                </a:lnTo>
                <a:lnTo>
                  <a:pt x="1063" y="897"/>
                </a:lnTo>
                <a:close/>
                <a:moveTo>
                  <a:pt x="1180" y="897"/>
                </a:moveTo>
                <a:lnTo>
                  <a:pt x="1180" y="1005"/>
                </a:lnTo>
                <a:lnTo>
                  <a:pt x="1255" y="1005"/>
                </a:lnTo>
                <a:lnTo>
                  <a:pt x="1255" y="897"/>
                </a:lnTo>
                <a:lnTo>
                  <a:pt x="1180" y="897"/>
                </a:lnTo>
                <a:close/>
                <a:moveTo>
                  <a:pt x="1302" y="897"/>
                </a:moveTo>
                <a:lnTo>
                  <a:pt x="1302" y="1005"/>
                </a:lnTo>
                <a:lnTo>
                  <a:pt x="1377" y="1005"/>
                </a:lnTo>
                <a:lnTo>
                  <a:pt x="1377" y="897"/>
                </a:lnTo>
                <a:lnTo>
                  <a:pt x="1302" y="897"/>
                </a:lnTo>
                <a:close/>
                <a:moveTo>
                  <a:pt x="201" y="1175"/>
                </a:moveTo>
                <a:lnTo>
                  <a:pt x="201" y="1365"/>
                </a:lnTo>
                <a:lnTo>
                  <a:pt x="334" y="1365"/>
                </a:lnTo>
                <a:lnTo>
                  <a:pt x="334" y="1175"/>
                </a:lnTo>
                <a:lnTo>
                  <a:pt x="201" y="1175"/>
                </a:lnTo>
                <a:close/>
                <a:moveTo>
                  <a:pt x="382" y="1175"/>
                </a:moveTo>
                <a:lnTo>
                  <a:pt x="382" y="1365"/>
                </a:lnTo>
                <a:lnTo>
                  <a:pt x="514" y="1365"/>
                </a:lnTo>
                <a:lnTo>
                  <a:pt x="514" y="1175"/>
                </a:lnTo>
                <a:lnTo>
                  <a:pt x="382" y="1175"/>
                </a:lnTo>
                <a:close/>
                <a:moveTo>
                  <a:pt x="569" y="1175"/>
                </a:moveTo>
                <a:lnTo>
                  <a:pt x="569" y="1365"/>
                </a:lnTo>
                <a:lnTo>
                  <a:pt x="702" y="1365"/>
                </a:lnTo>
                <a:lnTo>
                  <a:pt x="702" y="1175"/>
                </a:lnTo>
                <a:lnTo>
                  <a:pt x="569" y="1175"/>
                </a:lnTo>
                <a:close/>
                <a:moveTo>
                  <a:pt x="1508" y="1175"/>
                </a:moveTo>
                <a:lnTo>
                  <a:pt x="1508" y="1365"/>
                </a:lnTo>
                <a:lnTo>
                  <a:pt x="1640" y="1365"/>
                </a:lnTo>
                <a:lnTo>
                  <a:pt x="1640" y="1175"/>
                </a:lnTo>
                <a:lnTo>
                  <a:pt x="1508" y="1175"/>
                </a:lnTo>
                <a:close/>
                <a:moveTo>
                  <a:pt x="1688" y="1175"/>
                </a:moveTo>
                <a:lnTo>
                  <a:pt x="1688" y="1365"/>
                </a:lnTo>
                <a:lnTo>
                  <a:pt x="1821" y="1365"/>
                </a:lnTo>
                <a:lnTo>
                  <a:pt x="1821" y="1175"/>
                </a:lnTo>
                <a:lnTo>
                  <a:pt x="1688" y="1175"/>
                </a:lnTo>
                <a:close/>
                <a:moveTo>
                  <a:pt x="1876" y="1175"/>
                </a:moveTo>
                <a:lnTo>
                  <a:pt x="1876" y="1365"/>
                </a:lnTo>
                <a:lnTo>
                  <a:pt x="2009" y="1365"/>
                </a:lnTo>
                <a:lnTo>
                  <a:pt x="2009" y="1175"/>
                </a:lnTo>
                <a:lnTo>
                  <a:pt x="1876" y="1175"/>
                </a:lnTo>
                <a:close/>
                <a:moveTo>
                  <a:pt x="201" y="1554"/>
                </a:moveTo>
                <a:lnTo>
                  <a:pt x="201" y="1743"/>
                </a:lnTo>
                <a:lnTo>
                  <a:pt x="334" y="1743"/>
                </a:lnTo>
                <a:lnTo>
                  <a:pt x="334" y="1554"/>
                </a:lnTo>
                <a:lnTo>
                  <a:pt x="201" y="1554"/>
                </a:lnTo>
                <a:close/>
                <a:moveTo>
                  <a:pt x="382" y="1554"/>
                </a:moveTo>
                <a:lnTo>
                  <a:pt x="382" y="1743"/>
                </a:lnTo>
                <a:lnTo>
                  <a:pt x="514" y="1743"/>
                </a:lnTo>
                <a:lnTo>
                  <a:pt x="514" y="1554"/>
                </a:lnTo>
                <a:lnTo>
                  <a:pt x="382" y="1554"/>
                </a:lnTo>
                <a:close/>
                <a:moveTo>
                  <a:pt x="569" y="1554"/>
                </a:moveTo>
                <a:lnTo>
                  <a:pt x="569" y="1743"/>
                </a:lnTo>
                <a:lnTo>
                  <a:pt x="702" y="1743"/>
                </a:lnTo>
                <a:lnTo>
                  <a:pt x="702" y="1554"/>
                </a:lnTo>
                <a:lnTo>
                  <a:pt x="569" y="1554"/>
                </a:lnTo>
                <a:close/>
                <a:moveTo>
                  <a:pt x="1508" y="1554"/>
                </a:moveTo>
                <a:lnTo>
                  <a:pt x="1508" y="1743"/>
                </a:lnTo>
                <a:lnTo>
                  <a:pt x="1640" y="1743"/>
                </a:lnTo>
                <a:lnTo>
                  <a:pt x="1640" y="1554"/>
                </a:lnTo>
                <a:lnTo>
                  <a:pt x="1508" y="1554"/>
                </a:lnTo>
                <a:close/>
                <a:moveTo>
                  <a:pt x="1688" y="1554"/>
                </a:moveTo>
                <a:lnTo>
                  <a:pt x="1688" y="1743"/>
                </a:lnTo>
                <a:lnTo>
                  <a:pt x="1821" y="1743"/>
                </a:lnTo>
                <a:lnTo>
                  <a:pt x="1821" y="1554"/>
                </a:lnTo>
                <a:lnTo>
                  <a:pt x="1688" y="1554"/>
                </a:lnTo>
                <a:close/>
                <a:moveTo>
                  <a:pt x="1876" y="1554"/>
                </a:moveTo>
                <a:lnTo>
                  <a:pt x="1876" y="1743"/>
                </a:lnTo>
                <a:lnTo>
                  <a:pt x="2009" y="1743"/>
                </a:lnTo>
                <a:lnTo>
                  <a:pt x="2009" y="1554"/>
                </a:lnTo>
                <a:lnTo>
                  <a:pt x="1876" y="15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17" name="Group 116"/>
          <p:cNvGrpSpPr/>
          <p:nvPr/>
        </p:nvGrpSpPr>
        <p:grpSpPr>
          <a:xfrm>
            <a:off x="7566405" y="1130337"/>
            <a:ext cx="477127" cy="292631"/>
            <a:chOff x="1239461" y="4109533"/>
            <a:chExt cx="448012" cy="255694"/>
          </a:xfrm>
          <a:solidFill>
            <a:schemeClr val="bg1"/>
          </a:solidFill>
        </p:grpSpPr>
        <p:sp>
          <p:nvSpPr>
            <p:cNvPr id="118" name="Freeform 27"/>
            <p:cNvSpPr>
              <a:spLocks/>
            </p:cNvSpPr>
            <p:nvPr/>
          </p:nvSpPr>
          <p:spPr bwMode="auto">
            <a:xfrm>
              <a:off x="1499526" y="4109533"/>
              <a:ext cx="26225" cy="13113"/>
            </a:xfrm>
            <a:custGeom>
              <a:avLst/>
              <a:gdLst>
                <a:gd name="T0" fmla="*/ 0 w 46"/>
                <a:gd name="T1" fmla="*/ 22 h 22"/>
                <a:gd name="T2" fmla="*/ 1 w 46"/>
                <a:gd name="T3" fmla="*/ 18 h 22"/>
                <a:gd name="T4" fmla="*/ 2 w 46"/>
                <a:gd name="T5" fmla="*/ 14 h 22"/>
                <a:gd name="T6" fmla="*/ 4 w 46"/>
                <a:gd name="T7" fmla="*/ 9 h 22"/>
                <a:gd name="T8" fmla="*/ 7 w 46"/>
                <a:gd name="T9" fmla="*/ 6 h 22"/>
                <a:gd name="T10" fmla="*/ 10 w 46"/>
                <a:gd name="T11" fmla="*/ 3 h 22"/>
                <a:gd name="T12" fmla="*/ 14 w 46"/>
                <a:gd name="T13" fmla="*/ 1 h 22"/>
                <a:gd name="T14" fmla="*/ 18 w 46"/>
                <a:gd name="T15" fmla="*/ 0 h 22"/>
                <a:gd name="T16" fmla="*/ 22 w 46"/>
                <a:gd name="T17" fmla="*/ 0 h 22"/>
                <a:gd name="T18" fmla="*/ 28 w 46"/>
                <a:gd name="T19" fmla="*/ 0 h 22"/>
                <a:gd name="T20" fmla="*/ 32 w 46"/>
                <a:gd name="T21" fmla="*/ 1 h 22"/>
                <a:gd name="T22" fmla="*/ 35 w 46"/>
                <a:gd name="T23" fmla="*/ 3 h 22"/>
                <a:gd name="T24" fmla="*/ 38 w 46"/>
                <a:gd name="T25" fmla="*/ 6 h 22"/>
                <a:gd name="T26" fmla="*/ 42 w 46"/>
                <a:gd name="T27" fmla="*/ 9 h 22"/>
                <a:gd name="T28" fmla="*/ 44 w 46"/>
                <a:gd name="T29" fmla="*/ 14 h 22"/>
                <a:gd name="T30" fmla="*/ 45 w 46"/>
                <a:gd name="T31" fmla="*/ 18 h 22"/>
                <a:gd name="T32" fmla="*/ 46 w 46"/>
                <a:gd name="T33" fmla="*/ 22 h 22"/>
                <a:gd name="T34" fmla="*/ 0 w 46"/>
                <a:gd name="T3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2">
                  <a:moveTo>
                    <a:pt x="0" y="22"/>
                  </a:moveTo>
                  <a:lnTo>
                    <a:pt x="1" y="18"/>
                  </a:lnTo>
                  <a:lnTo>
                    <a:pt x="2" y="14"/>
                  </a:lnTo>
                  <a:lnTo>
                    <a:pt x="4" y="9"/>
                  </a:lnTo>
                  <a:lnTo>
                    <a:pt x="7" y="6"/>
                  </a:lnTo>
                  <a:lnTo>
                    <a:pt x="10" y="3"/>
                  </a:lnTo>
                  <a:lnTo>
                    <a:pt x="14" y="1"/>
                  </a:lnTo>
                  <a:lnTo>
                    <a:pt x="18" y="0"/>
                  </a:lnTo>
                  <a:lnTo>
                    <a:pt x="22" y="0"/>
                  </a:lnTo>
                  <a:lnTo>
                    <a:pt x="28" y="0"/>
                  </a:lnTo>
                  <a:lnTo>
                    <a:pt x="32" y="1"/>
                  </a:lnTo>
                  <a:lnTo>
                    <a:pt x="35" y="3"/>
                  </a:lnTo>
                  <a:lnTo>
                    <a:pt x="38" y="6"/>
                  </a:lnTo>
                  <a:lnTo>
                    <a:pt x="42" y="9"/>
                  </a:lnTo>
                  <a:lnTo>
                    <a:pt x="44" y="14"/>
                  </a:lnTo>
                  <a:lnTo>
                    <a:pt x="45" y="18"/>
                  </a:lnTo>
                  <a:lnTo>
                    <a:pt x="46" y="22"/>
                  </a:lnTo>
                  <a:lnTo>
                    <a:pt x="0"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9" name="Freeform 28"/>
            <p:cNvSpPr>
              <a:spLocks noEditPoints="1"/>
            </p:cNvSpPr>
            <p:nvPr/>
          </p:nvSpPr>
          <p:spPr bwMode="auto">
            <a:xfrm>
              <a:off x="1239461" y="4127017"/>
              <a:ext cx="448012" cy="209800"/>
            </a:xfrm>
            <a:custGeom>
              <a:avLst/>
              <a:gdLst>
                <a:gd name="T0" fmla="*/ 220 w 821"/>
                <a:gd name="T1" fmla="*/ 141 h 386"/>
                <a:gd name="T2" fmla="*/ 303 w 821"/>
                <a:gd name="T3" fmla="*/ 225 h 386"/>
                <a:gd name="T4" fmla="*/ 303 w 821"/>
                <a:gd name="T5" fmla="*/ 141 h 386"/>
                <a:gd name="T6" fmla="*/ 802 w 821"/>
                <a:gd name="T7" fmla="*/ 270 h 386"/>
                <a:gd name="T8" fmla="*/ 793 w 821"/>
                <a:gd name="T9" fmla="*/ 232 h 386"/>
                <a:gd name="T10" fmla="*/ 743 w 821"/>
                <a:gd name="T11" fmla="*/ 165 h 386"/>
                <a:gd name="T12" fmla="*/ 657 w 821"/>
                <a:gd name="T13" fmla="*/ 59 h 386"/>
                <a:gd name="T14" fmla="*/ 614 w 821"/>
                <a:gd name="T15" fmla="*/ 13 h 386"/>
                <a:gd name="T16" fmla="*/ 583 w 821"/>
                <a:gd name="T17" fmla="*/ 0 h 386"/>
                <a:gd name="T18" fmla="*/ 36 w 821"/>
                <a:gd name="T19" fmla="*/ 6 h 386"/>
                <a:gd name="T20" fmla="*/ 20 w 821"/>
                <a:gd name="T21" fmla="*/ 31 h 386"/>
                <a:gd name="T22" fmla="*/ 8 w 821"/>
                <a:gd name="T23" fmla="*/ 332 h 386"/>
                <a:gd name="T24" fmla="*/ 0 w 821"/>
                <a:gd name="T25" fmla="*/ 357 h 386"/>
                <a:gd name="T26" fmla="*/ 12 w 821"/>
                <a:gd name="T27" fmla="*/ 369 h 386"/>
                <a:gd name="T28" fmla="*/ 29 w 821"/>
                <a:gd name="T29" fmla="*/ 381 h 386"/>
                <a:gd name="T30" fmla="*/ 125 w 821"/>
                <a:gd name="T31" fmla="*/ 386 h 386"/>
                <a:gd name="T32" fmla="*/ 129 w 821"/>
                <a:gd name="T33" fmla="*/ 361 h 386"/>
                <a:gd name="T34" fmla="*/ 143 w 821"/>
                <a:gd name="T35" fmla="*/ 339 h 386"/>
                <a:gd name="T36" fmla="*/ 163 w 821"/>
                <a:gd name="T37" fmla="*/ 325 h 386"/>
                <a:gd name="T38" fmla="*/ 189 w 821"/>
                <a:gd name="T39" fmla="*/ 321 h 386"/>
                <a:gd name="T40" fmla="*/ 215 w 821"/>
                <a:gd name="T41" fmla="*/ 325 h 386"/>
                <a:gd name="T42" fmla="*/ 236 w 821"/>
                <a:gd name="T43" fmla="*/ 339 h 386"/>
                <a:gd name="T44" fmla="*/ 250 w 821"/>
                <a:gd name="T45" fmla="*/ 361 h 386"/>
                <a:gd name="T46" fmla="*/ 254 w 821"/>
                <a:gd name="T47" fmla="*/ 386 h 386"/>
                <a:gd name="T48" fmla="*/ 578 w 821"/>
                <a:gd name="T49" fmla="*/ 366 h 386"/>
                <a:gd name="T50" fmla="*/ 590 w 821"/>
                <a:gd name="T51" fmla="*/ 344 h 386"/>
                <a:gd name="T52" fmla="*/ 609 w 821"/>
                <a:gd name="T53" fmla="*/ 328 h 386"/>
                <a:gd name="T54" fmla="*/ 634 w 821"/>
                <a:gd name="T55" fmla="*/ 321 h 386"/>
                <a:gd name="T56" fmla="*/ 660 w 821"/>
                <a:gd name="T57" fmla="*/ 323 h 386"/>
                <a:gd name="T58" fmla="*/ 682 w 821"/>
                <a:gd name="T59" fmla="*/ 336 h 386"/>
                <a:gd name="T60" fmla="*/ 698 w 821"/>
                <a:gd name="T61" fmla="*/ 354 h 386"/>
                <a:gd name="T62" fmla="*/ 705 w 821"/>
                <a:gd name="T63" fmla="*/ 379 h 386"/>
                <a:gd name="T64" fmla="*/ 787 w 821"/>
                <a:gd name="T65" fmla="*/ 383 h 386"/>
                <a:gd name="T66" fmla="*/ 802 w 821"/>
                <a:gd name="T67" fmla="*/ 369 h 386"/>
                <a:gd name="T68" fmla="*/ 820 w 821"/>
                <a:gd name="T69" fmla="*/ 362 h 386"/>
                <a:gd name="T70" fmla="*/ 818 w 821"/>
                <a:gd name="T71" fmla="*/ 334 h 386"/>
                <a:gd name="T72" fmla="*/ 277 w 821"/>
                <a:gd name="T73" fmla="*/ 249 h 386"/>
                <a:gd name="T74" fmla="*/ 242 w 821"/>
                <a:gd name="T75" fmla="*/ 240 h 386"/>
                <a:gd name="T76" fmla="*/ 215 w 821"/>
                <a:gd name="T77" fmla="*/ 217 h 386"/>
                <a:gd name="T78" fmla="*/ 198 w 821"/>
                <a:gd name="T79" fmla="*/ 186 h 386"/>
                <a:gd name="T80" fmla="*/ 195 w 821"/>
                <a:gd name="T81" fmla="*/ 149 h 386"/>
                <a:gd name="T82" fmla="*/ 206 w 821"/>
                <a:gd name="T83" fmla="*/ 114 h 386"/>
                <a:gd name="T84" fmla="*/ 227 w 821"/>
                <a:gd name="T85" fmla="*/ 87 h 386"/>
                <a:gd name="T86" fmla="*/ 258 w 821"/>
                <a:gd name="T87" fmla="*/ 70 h 386"/>
                <a:gd name="T88" fmla="*/ 295 w 821"/>
                <a:gd name="T89" fmla="*/ 67 h 386"/>
                <a:gd name="T90" fmla="*/ 330 w 821"/>
                <a:gd name="T91" fmla="*/ 77 h 386"/>
                <a:gd name="T92" fmla="*/ 357 w 821"/>
                <a:gd name="T93" fmla="*/ 99 h 386"/>
                <a:gd name="T94" fmla="*/ 374 w 821"/>
                <a:gd name="T95" fmla="*/ 131 h 386"/>
                <a:gd name="T96" fmla="*/ 377 w 821"/>
                <a:gd name="T97" fmla="*/ 167 h 386"/>
                <a:gd name="T98" fmla="*/ 368 w 821"/>
                <a:gd name="T99" fmla="*/ 202 h 386"/>
                <a:gd name="T100" fmla="*/ 345 w 821"/>
                <a:gd name="T101" fmla="*/ 229 h 386"/>
                <a:gd name="T102" fmla="*/ 314 w 821"/>
                <a:gd name="T103" fmla="*/ 246 h 386"/>
                <a:gd name="T104" fmla="*/ 738 w 821"/>
                <a:gd name="T105" fmla="*/ 209 h 386"/>
                <a:gd name="T106" fmla="*/ 562 w 821"/>
                <a:gd name="T107" fmla="*/ 206 h 386"/>
                <a:gd name="T108" fmla="*/ 555 w 821"/>
                <a:gd name="T109" fmla="*/ 197 h 386"/>
                <a:gd name="T110" fmla="*/ 556 w 821"/>
                <a:gd name="T111" fmla="*/ 57 h 386"/>
                <a:gd name="T112" fmla="*/ 565 w 821"/>
                <a:gd name="T113" fmla="*/ 49 h 386"/>
                <a:gd name="T114" fmla="*/ 615 w 821"/>
                <a:gd name="T115" fmla="*/ 49 h 386"/>
                <a:gd name="T116" fmla="*/ 744 w 821"/>
                <a:gd name="T117" fmla="*/ 197 h 386"/>
                <a:gd name="T118" fmla="*/ 746 w 821"/>
                <a:gd name="T119" fmla="*/ 206 h 386"/>
                <a:gd name="T120" fmla="*/ 738 w 821"/>
                <a:gd name="T121" fmla="*/ 209 h 386"/>
                <a:gd name="T122" fmla="*/ 795 w 821"/>
                <a:gd name="T123" fmla="*/ 312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21" h="386">
                  <a:moveTo>
                    <a:pt x="303" y="92"/>
                  </a:moveTo>
                  <a:lnTo>
                    <a:pt x="269" y="92"/>
                  </a:lnTo>
                  <a:lnTo>
                    <a:pt x="269" y="141"/>
                  </a:lnTo>
                  <a:lnTo>
                    <a:pt x="220" y="141"/>
                  </a:lnTo>
                  <a:lnTo>
                    <a:pt x="220" y="175"/>
                  </a:lnTo>
                  <a:lnTo>
                    <a:pt x="269" y="175"/>
                  </a:lnTo>
                  <a:lnTo>
                    <a:pt x="269" y="225"/>
                  </a:lnTo>
                  <a:lnTo>
                    <a:pt x="303" y="225"/>
                  </a:lnTo>
                  <a:lnTo>
                    <a:pt x="303" y="175"/>
                  </a:lnTo>
                  <a:lnTo>
                    <a:pt x="352" y="175"/>
                  </a:lnTo>
                  <a:lnTo>
                    <a:pt x="352" y="141"/>
                  </a:lnTo>
                  <a:lnTo>
                    <a:pt x="303" y="141"/>
                  </a:lnTo>
                  <a:lnTo>
                    <a:pt x="303" y="92"/>
                  </a:lnTo>
                  <a:close/>
                  <a:moveTo>
                    <a:pt x="809" y="330"/>
                  </a:moveTo>
                  <a:lnTo>
                    <a:pt x="802" y="330"/>
                  </a:lnTo>
                  <a:lnTo>
                    <a:pt x="802" y="270"/>
                  </a:lnTo>
                  <a:lnTo>
                    <a:pt x="802" y="266"/>
                  </a:lnTo>
                  <a:lnTo>
                    <a:pt x="800" y="253"/>
                  </a:lnTo>
                  <a:lnTo>
                    <a:pt x="797" y="243"/>
                  </a:lnTo>
                  <a:lnTo>
                    <a:pt x="793" y="232"/>
                  </a:lnTo>
                  <a:lnTo>
                    <a:pt x="786" y="220"/>
                  </a:lnTo>
                  <a:lnTo>
                    <a:pt x="778" y="207"/>
                  </a:lnTo>
                  <a:lnTo>
                    <a:pt x="763" y="189"/>
                  </a:lnTo>
                  <a:lnTo>
                    <a:pt x="743" y="165"/>
                  </a:lnTo>
                  <a:lnTo>
                    <a:pt x="721" y="137"/>
                  </a:lnTo>
                  <a:lnTo>
                    <a:pt x="697" y="109"/>
                  </a:lnTo>
                  <a:lnTo>
                    <a:pt x="675" y="82"/>
                  </a:lnTo>
                  <a:lnTo>
                    <a:pt x="657" y="59"/>
                  </a:lnTo>
                  <a:lnTo>
                    <a:pt x="644" y="44"/>
                  </a:lnTo>
                  <a:lnTo>
                    <a:pt x="639" y="39"/>
                  </a:lnTo>
                  <a:lnTo>
                    <a:pt x="628" y="26"/>
                  </a:lnTo>
                  <a:lnTo>
                    <a:pt x="614" y="13"/>
                  </a:lnTo>
                  <a:lnTo>
                    <a:pt x="607" y="8"/>
                  </a:lnTo>
                  <a:lnTo>
                    <a:pt x="600" y="3"/>
                  </a:lnTo>
                  <a:lnTo>
                    <a:pt x="591" y="1"/>
                  </a:lnTo>
                  <a:lnTo>
                    <a:pt x="583" y="0"/>
                  </a:lnTo>
                  <a:lnTo>
                    <a:pt x="59" y="0"/>
                  </a:lnTo>
                  <a:lnTo>
                    <a:pt x="50" y="1"/>
                  </a:lnTo>
                  <a:lnTo>
                    <a:pt x="44" y="3"/>
                  </a:lnTo>
                  <a:lnTo>
                    <a:pt x="36" y="6"/>
                  </a:lnTo>
                  <a:lnTo>
                    <a:pt x="31" y="11"/>
                  </a:lnTo>
                  <a:lnTo>
                    <a:pt x="26" y="17"/>
                  </a:lnTo>
                  <a:lnTo>
                    <a:pt x="22" y="24"/>
                  </a:lnTo>
                  <a:lnTo>
                    <a:pt x="20" y="31"/>
                  </a:lnTo>
                  <a:lnTo>
                    <a:pt x="19" y="39"/>
                  </a:lnTo>
                  <a:lnTo>
                    <a:pt x="19" y="330"/>
                  </a:lnTo>
                  <a:lnTo>
                    <a:pt x="12" y="330"/>
                  </a:lnTo>
                  <a:lnTo>
                    <a:pt x="8" y="332"/>
                  </a:lnTo>
                  <a:lnTo>
                    <a:pt x="4" y="334"/>
                  </a:lnTo>
                  <a:lnTo>
                    <a:pt x="2" y="338"/>
                  </a:lnTo>
                  <a:lnTo>
                    <a:pt x="0" y="342"/>
                  </a:lnTo>
                  <a:lnTo>
                    <a:pt x="0" y="357"/>
                  </a:lnTo>
                  <a:lnTo>
                    <a:pt x="2" y="362"/>
                  </a:lnTo>
                  <a:lnTo>
                    <a:pt x="4" y="366"/>
                  </a:lnTo>
                  <a:lnTo>
                    <a:pt x="8" y="368"/>
                  </a:lnTo>
                  <a:lnTo>
                    <a:pt x="12" y="369"/>
                  </a:lnTo>
                  <a:lnTo>
                    <a:pt x="20" y="369"/>
                  </a:lnTo>
                  <a:lnTo>
                    <a:pt x="22" y="375"/>
                  </a:lnTo>
                  <a:lnTo>
                    <a:pt x="24" y="378"/>
                  </a:lnTo>
                  <a:lnTo>
                    <a:pt x="29" y="381"/>
                  </a:lnTo>
                  <a:lnTo>
                    <a:pt x="33" y="383"/>
                  </a:lnTo>
                  <a:lnTo>
                    <a:pt x="45" y="386"/>
                  </a:lnTo>
                  <a:lnTo>
                    <a:pt x="59" y="386"/>
                  </a:lnTo>
                  <a:lnTo>
                    <a:pt x="125" y="386"/>
                  </a:lnTo>
                  <a:lnTo>
                    <a:pt x="125" y="379"/>
                  </a:lnTo>
                  <a:lnTo>
                    <a:pt x="126" y="373"/>
                  </a:lnTo>
                  <a:lnTo>
                    <a:pt x="127" y="366"/>
                  </a:lnTo>
                  <a:lnTo>
                    <a:pt x="129" y="361"/>
                  </a:lnTo>
                  <a:lnTo>
                    <a:pt x="132" y="354"/>
                  </a:lnTo>
                  <a:lnTo>
                    <a:pt x="135" y="349"/>
                  </a:lnTo>
                  <a:lnTo>
                    <a:pt x="139" y="344"/>
                  </a:lnTo>
                  <a:lnTo>
                    <a:pt x="143" y="339"/>
                  </a:lnTo>
                  <a:lnTo>
                    <a:pt x="148" y="336"/>
                  </a:lnTo>
                  <a:lnTo>
                    <a:pt x="153" y="332"/>
                  </a:lnTo>
                  <a:lnTo>
                    <a:pt x="158" y="328"/>
                  </a:lnTo>
                  <a:lnTo>
                    <a:pt x="163" y="325"/>
                  </a:lnTo>
                  <a:lnTo>
                    <a:pt x="170" y="323"/>
                  </a:lnTo>
                  <a:lnTo>
                    <a:pt x="176" y="322"/>
                  </a:lnTo>
                  <a:lnTo>
                    <a:pt x="183" y="321"/>
                  </a:lnTo>
                  <a:lnTo>
                    <a:pt x="189" y="321"/>
                  </a:lnTo>
                  <a:lnTo>
                    <a:pt x="196" y="321"/>
                  </a:lnTo>
                  <a:lnTo>
                    <a:pt x="202" y="322"/>
                  </a:lnTo>
                  <a:lnTo>
                    <a:pt x="209" y="323"/>
                  </a:lnTo>
                  <a:lnTo>
                    <a:pt x="215" y="325"/>
                  </a:lnTo>
                  <a:lnTo>
                    <a:pt x="221" y="328"/>
                  </a:lnTo>
                  <a:lnTo>
                    <a:pt x="226" y="332"/>
                  </a:lnTo>
                  <a:lnTo>
                    <a:pt x="230" y="336"/>
                  </a:lnTo>
                  <a:lnTo>
                    <a:pt x="236" y="339"/>
                  </a:lnTo>
                  <a:lnTo>
                    <a:pt x="240" y="344"/>
                  </a:lnTo>
                  <a:lnTo>
                    <a:pt x="243" y="349"/>
                  </a:lnTo>
                  <a:lnTo>
                    <a:pt x="247" y="354"/>
                  </a:lnTo>
                  <a:lnTo>
                    <a:pt x="250" y="361"/>
                  </a:lnTo>
                  <a:lnTo>
                    <a:pt x="252" y="366"/>
                  </a:lnTo>
                  <a:lnTo>
                    <a:pt x="253" y="373"/>
                  </a:lnTo>
                  <a:lnTo>
                    <a:pt x="254" y="379"/>
                  </a:lnTo>
                  <a:lnTo>
                    <a:pt x="254" y="386"/>
                  </a:lnTo>
                  <a:lnTo>
                    <a:pt x="575" y="386"/>
                  </a:lnTo>
                  <a:lnTo>
                    <a:pt x="576" y="379"/>
                  </a:lnTo>
                  <a:lnTo>
                    <a:pt x="577" y="373"/>
                  </a:lnTo>
                  <a:lnTo>
                    <a:pt x="578" y="366"/>
                  </a:lnTo>
                  <a:lnTo>
                    <a:pt x="580" y="361"/>
                  </a:lnTo>
                  <a:lnTo>
                    <a:pt x="583" y="354"/>
                  </a:lnTo>
                  <a:lnTo>
                    <a:pt x="587" y="349"/>
                  </a:lnTo>
                  <a:lnTo>
                    <a:pt x="590" y="344"/>
                  </a:lnTo>
                  <a:lnTo>
                    <a:pt x="594" y="339"/>
                  </a:lnTo>
                  <a:lnTo>
                    <a:pt x="599" y="336"/>
                  </a:lnTo>
                  <a:lnTo>
                    <a:pt x="604" y="332"/>
                  </a:lnTo>
                  <a:lnTo>
                    <a:pt x="609" y="328"/>
                  </a:lnTo>
                  <a:lnTo>
                    <a:pt x="615" y="325"/>
                  </a:lnTo>
                  <a:lnTo>
                    <a:pt x="621" y="323"/>
                  </a:lnTo>
                  <a:lnTo>
                    <a:pt x="628" y="322"/>
                  </a:lnTo>
                  <a:lnTo>
                    <a:pt x="634" y="321"/>
                  </a:lnTo>
                  <a:lnTo>
                    <a:pt x="641" y="321"/>
                  </a:lnTo>
                  <a:lnTo>
                    <a:pt x="647" y="321"/>
                  </a:lnTo>
                  <a:lnTo>
                    <a:pt x="654" y="322"/>
                  </a:lnTo>
                  <a:lnTo>
                    <a:pt x="660" y="323"/>
                  </a:lnTo>
                  <a:lnTo>
                    <a:pt x="665" y="325"/>
                  </a:lnTo>
                  <a:lnTo>
                    <a:pt x="672" y="328"/>
                  </a:lnTo>
                  <a:lnTo>
                    <a:pt x="677" y="332"/>
                  </a:lnTo>
                  <a:lnTo>
                    <a:pt x="682" y="336"/>
                  </a:lnTo>
                  <a:lnTo>
                    <a:pt x="687" y="339"/>
                  </a:lnTo>
                  <a:lnTo>
                    <a:pt x="690" y="344"/>
                  </a:lnTo>
                  <a:lnTo>
                    <a:pt x="695" y="349"/>
                  </a:lnTo>
                  <a:lnTo>
                    <a:pt x="698" y="354"/>
                  </a:lnTo>
                  <a:lnTo>
                    <a:pt x="701" y="361"/>
                  </a:lnTo>
                  <a:lnTo>
                    <a:pt x="703" y="366"/>
                  </a:lnTo>
                  <a:lnTo>
                    <a:pt x="704" y="373"/>
                  </a:lnTo>
                  <a:lnTo>
                    <a:pt x="705" y="379"/>
                  </a:lnTo>
                  <a:lnTo>
                    <a:pt x="705" y="386"/>
                  </a:lnTo>
                  <a:lnTo>
                    <a:pt x="763" y="386"/>
                  </a:lnTo>
                  <a:lnTo>
                    <a:pt x="777" y="386"/>
                  </a:lnTo>
                  <a:lnTo>
                    <a:pt x="787" y="383"/>
                  </a:lnTo>
                  <a:lnTo>
                    <a:pt x="793" y="381"/>
                  </a:lnTo>
                  <a:lnTo>
                    <a:pt x="796" y="378"/>
                  </a:lnTo>
                  <a:lnTo>
                    <a:pt x="799" y="375"/>
                  </a:lnTo>
                  <a:lnTo>
                    <a:pt x="802" y="369"/>
                  </a:lnTo>
                  <a:lnTo>
                    <a:pt x="809" y="369"/>
                  </a:lnTo>
                  <a:lnTo>
                    <a:pt x="813" y="368"/>
                  </a:lnTo>
                  <a:lnTo>
                    <a:pt x="818" y="366"/>
                  </a:lnTo>
                  <a:lnTo>
                    <a:pt x="820" y="362"/>
                  </a:lnTo>
                  <a:lnTo>
                    <a:pt x="821" y="357"/>
                  </a:lnTo>
                  <a:lnTo>
                    <a:pt x="821" y="342"/>
                  </a:lnTo>
                  <a:lnTo>
                    <a:pt x="820" y="338"/>
                  </a:lnTo>
                  <a:lnTo>
                    <a:pt x="818" y="334"/>
                  </a:lnTo>
                  <a:lnTo>
                    <a:pt x="813" y="332"/>
                  </a:lnTo>
                  <a:lnTo>
                    <a:pt x="809" y="330"/>
                  </a:lnTo>
                  <a:close/>
                  <a:moveTo>
                    <a:pt x="287" y="251"/>
                  </a:moveTo>
                  <a:lnTo>
                    <a:pt x="277" y="249"/>
                  </a:lnTo>
                  <a:lnTo>
                    <a:pt x="267" y="248"/>
                  </a:lnTo>
                  <a:lnTo>
                    <a:pt x="258" y="246"/>
                  </a:lnTo>
                  <a:lnTo>
                    <a:pt x="250" y="243"/>
                  </a:lnTo>
                  <a:lnTo>
                    <a:pt x="242" y="240"/>
                  </a:lnTo>
                  <a:lnTo>
                    <a:pt x="235" y="234"/>
                  </a:lnTo>
                  <a:lnTo>
                    <a:pt x="227" y="229"/>
                  </a:lnTo>
                  <a:lnTo>
                    <a:pt x="221" y="224"/>
                  </a:lnTo>
                  <a:lnTo>
                    <a:pt x="215" y="217"/>
                  </a:lnTo>
                  <a:lnTo>
                    <a:pt x="210" y="209"/>
                  </a:lnTo>
                  <a:lnTo>
                    <a:pt x="206" y="202"/>
                  </a:lnTo>
                  <a:lnTo>
                    <a:pt x="201" y="194"/>
                  </a:lnTo>
                  <a:lnTo>
                    <a:pt x="198" y="186"/>
                  </a:lnTo>
                  <a:lnTo>
                    <a:pt x="196" y="177"/>
                  </a:lnTo>
                  <a:lnTo>
                    <a:pt x="195" y="167"/>
                  </a:lnTo>
                  <a:lnTo>
                    <a:pt x="194" y="158"/>
                  </a:lnTo>
                  <a:lnTo>
                    <a:pt x="195" y="149"/>
                  </a:lnTo>
                  <a:lnTo>
                    <a:pt x="196" y="139"/>
                  </a:lnTo>
                  <a:lnTo>
                    <a:pt x="198" y="131"/>
                  </a:lnTo>
                  <a:lnTo>
                    <a:pt x="201" y="122"/>
                  </a:lnTo>
                  <a:lnTo>
                    <a:pt x="206" y="114"/>
                  </a:lnTo>
                  <a:lnTo>
                    <a:pt x="210" y="107"/>
                  </a:lnTo>
                  <a:lnTo>
                    <a:pt x="215" y="99"/>
                  </a:lnTo>
                  <a:lnTo>
                    <a:pt x="221" y="93"/>
                  </a:lnTo>
                  <a:lnTo>
                    <a:pt x="227" y="87"/>
                  </a:lnTo>
                  <a:lnTo>
                    <a:pt x="235" y="82"/>
                  </a:lnTo>
                  <a:lnTo>
                    <a:pt x="242" y="77"/>
                  </a:lnTo>
                  <a:lnTo>
                    <a:pt x="250" y="73"/>
                  </a:lnTo>
                  <a:lnTo>
                    <a:pt x="258" y="70"/>
                  </a:lnTo>
                  <a:lnTo>
                    <a:pt x="267" y="68"/>
                  </a:lnTo>
                  <a:lnTo>
                    <a:pt x="277" y="67"/>
                  </a:lnTo>
                  <a:lnTo>
                    <a:pt x="287" y="66"/>
                  </a:lnTo>
                  <a:lnTo>
                    <a:pt x="295" y="67"/>
                  </a:lnTo>
                  <a:lnTo>
                    <a:pt x="305" y="68"/>
                  </a:lnTo>
                  <a:lnTo>
                    <a:pt x="314" y="70"/>
                  </a:lnTo>
                  <a:lnTo>
                    <a:pt x="322" y="73"/>
                  </a:lnTo>
                  <a:lnTo>
                    <a:pt x="330" y="77"/>
                  </a:lnTo>
                  <a:lnTo>
                    <a:pt x="337" y="82"/>
                  </a:lnTo>
                  <a:lnTo>
                    <a:pt x="345" y="87"/>
                  </a:lnTo>
                  <a:lnTo>
                    <a:pt x="351" y="93"/>
                  </a:lnTo>
                  <a:lnTo>
                    <a:pt x="357" y="99"/>
                  </a:lnTo>
                  <a:lnTo>
                    <a:pt x="362" y="107"/>
                  </a:lnTo>
                  <a:lnTo>
                    <a:pt x="368" y="114"/>
                  </a:lnTo>
                  <a:lnTo>
                    <a:pt x="371" y="122"/>
                  </a:lnTo>
                  <a:lnTo>
                    <a:pt x="374" y="131"/>
                  </a:lnTo>
                  <a:lnTo>
                    <a:pt x="376" y="139"/>
                  </a:lnTo>
                  <a:lnTo>
                    <a:pt x="377" y="149"/>
                  </a:lnTo>
                  <a:lnTo>
                    <a:pt x="378" y="158"/>
                  </a:lnTo>
                  <a:lnTo>
                    <a:pt x="377" y="167"/>
                  </a:lnTo>
                  <a:lnTo>
                    <a:pt x="376" y="177"/>
                  </a:lnTo>
                  <a:lnTo>
                    <a:pt x="374" y="186"/>
                  </a:lnTo>
                  <a:lnTo>
                    <a:pt x="371" y="194"/>
                  </a:lnTo>
                  <a:lnTo>
                    <a:pt x="368" y="202"/>
                  </a:lnTo>
                  <a:lnTo>
                    <a:pt x="362" y="209"/>
                  </a:lnTo>
                  <a:lnTo>
                    <a:pt x="357" y="217"/>
                  </a:lnTo>
                  <a:lnTo>
                    <a:pt x="351" y="224"/>
                  </a:lnTo>
                  <a:lnTo>
                    <a:pt x="345" y="229"/>
                  </a:lnTo>
                  <a:lnTo>
                    <a:pt x="337" y="234"/>
                  </a:lnTo>
                  <a:lnTo>
                    <a:pt x="330" y="240"/>
                  </a:lnTo>
                  <a:lnTo>
                    <a:pt x="322" y="243"/>
                  </a:lnTo>
                  <a:lnTo>
                    <a:pt x="314" y="246"/>
                  </a:lnTo>
                  <a:lnTo>
                    <a:pt x="305" y="248"/>
                  </a:lnTo>
                  <a:lnTo>
                    <a:pt x="295" y="249"/>
                  </a:lnTo>
                  <a:lnTo>
                    <a:pt x="287" y="251"/>
                  </a:lnTo>
                  <a:close/>
                  <a:moveTo>
                    <a:pt x="738" y="209"/>
                  </a:moveTo>
                  <a:lnTo>
                    <a:pt x="572" y="209"/>
                  </a:lnTo>
                  <a:lnTo>
                    <a:pt x="568" y="209"/>
                  </a:lnTo>
                  <a:lnTo>
                    <a:pt x="565" y="208"/>
                  </a:lnTo>
                  <a:lnTo>
                    <a:pt x="562" y="206"/>
                  </a:lnTo>
                  <a:lnTo>
                    <a:pt x="560" y="205"/>
                  </a:lnTo>
                  <a:lnTo>
                    <a:pt x="558" y="202"/>
                  </a:lnTo>
                  <a:lnTo>
                    <a:pt x="556" y="200"/>
                  </a:lnTo>
                  <a:lnTo>
                    <a:pt x="555" y="197"/>
                  </a:lnTo>
                  <a:lnTo>
                    <a:pt x="555" y="193"/>
                  </a:lnTo>
                  <a:lnTo>
                    <a:pt x="555" y="64"/>
                  </a:lnTo>
                  <a:lnTo>
                    <a:pt x="555" y="60"/>
                  </a:lnTo>
                  <a:lnTo>
                    <a:pt x="556" y="57"/>
                  </a:lnTo>
                  <a:lnTo>
                    <a:pt x="558" y="54"/>
                  </a:lnTo>
                  <a:lnTo>
                    <a:pt x="560" y="52"/>
                  </a:lnTo>
                  <a:lnTo>
                    <a:pt x="562" y="50"/>
                  </a:lnTo>
                  <a:lnTo>
                    <a:pt x="565" y="49"/>
                  </a:lnTo>
                  <a:lnTo>
                    <a:pt x="568" y="47"/>
                  </a:lnTo>
                  <a:lnTo>
                    <a:pt x="572" y="47"/>
                  </a:lnTo>
                  <a:lnTo>
                    <a:pt x="608" y="47"/>
                  </a:lnTo>
                  <a:lnTo>
                    <a:pt x="615" y="49"/>
                  </a:lnTo>
                  <a:lnTo>
                    <a:pt x="622" y="51"/>
                  </a:lnTo>
                  <a:lnTo>
                    <a:pt x="629" y="55"/>
                  </a:lnTo>
                  <a:lnTo>
                    <a:pt x="634" y="60"/>
                  </a:lnTo>
                  <a:lnTo>
                    <a:pt x="744" y="197"/>
                  </a:lnTo>
                  <a:lnTo>
                    <a:pt x="746" y="200"/>
                  </a:lnTo>
                  <a:lnTo>
                    <a:pt x="748" y="202"/>
                  </a:lnTo>
                  <a:lnTo>
                    <a:pt x="748" y="204"/>
                  </a:lnTo>
                  <a:lnTo>
                    <a:pt x="746" y="206"/>
                  </a:lnTo>
                  <a:lnTo>
                    <a:pt x="745" y="207"/>
                  </a:lnTo>
                  <a:lnTo>
                    <a:pt x="744" y="208"/>
                  </a:lnTo>
                  <a:lnTo>
                    <a:pt x="741" y="209"/>
                  </a:lnTo>
                  <a:lnTo>
                    <a:pt x="738" y="209"/>
                  </a:lnTo>
                  <a:close/>
                  <a:moveTo>
                    <a:pt x="776" y="312"/>
                  </a:moveTo>
                  <a:lnTo>
                    <a:pt x="773" y="267"/>
                  </a:lnTo>
                  <a:lnTo>
                    <a:pt x="793" y="267"/>
                  </a:lnTo>
                  <a:lnTo>
                    <a:pt x="795" y="312"/>
                  </a:lnTo>
                  <a:lnTo>
                    <a:pt x="776" y="3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0" name="Freeform 29"/>
            <p:cNvSpPr>
              <a:spLocks noEditPoints="1"/>
            </p:cNvSpPr>
            <p:nvPr/>
          </p:nvSpPr>
          <p:spPr bwMode="auto">
            <a:xfrm>
              <a:off x="1560717" y="4308406"/>
              <a:ext cx="56821" cy="56821"/>
            </a:xfrm>
            <a:custGeom>
              <a:avLst/>
              <a:gdLst>
                <a:gd name="T0" fmla="*/ 42 w 104"/>
                <a:gd name="T1" fmla="*/ 1 h 104"/>
                <a:gd name="T2" fmla="*/ 24 w 104"/>
                <a:gd name="T3" fmla="*/ 8 h 104"/>
                <a:gd name="T4" fmla="*/ 9 w 104"/>
                <a:gd name="T5" fmla="*/ 22 h 104"/>
                <a:gd name="T6" fmla="*/ 1 w 104"/>
                <a:gd name="T7" fmla="*/ 41 h 104"/>
                <a:gd name="T8" fmla="*/ 1 w 104"/>
                <a:gd name="T9" fmla="*/ 62 h 104"/>
                <a:gd name="T10" fmla="*/ 9 w 104"/>
                <a:gd name="T11" fmla="*/ 81 h 104"/>
                <a:gd name="T12" fmla="*/ 24 w 104"/>
                <a:gd name="T13" fmla="*/ 95 h 104"/>
                <a:gd name="T14" fmla="*/ 42 w 104"/>
                <a:gd name="T15" fmla="*/ 103 h 104"/>
                <a:gd name="T16" fmla="*/ 62 w 104"/>
                <a:gd name="T17" fmla="*/ 103 h 104"/>
                <a:gd name="T18" fmla="*/ 82 w 104"/>
                <a:gd name="T19" fmla="*/ 95 h 104"/>
                <a:gd name="T20" fmla="*/ 96 w 104"/>
                <a:gd name="T21" fmla="*/ 81 h 104"/>
                <a:gd name="T22" fmla="*/ 103 w 104"/>
                <a:gd name="T23" fmla="*/ 62 h 104"/>
                <a:gd name="T24" fmla="*/ 103 w 104"/>
                <a:gd name="T25" fmla="*/ 41 h 104"/>
                <a:gd name="T26" fmla="*/ 96 w 104"/>
                <a:gd name="T27" fmla="*/ 22 h 104"/>
                <a:gd name="T28" fmla="*/ 82 w 104"/>
                <a:gd name="T29" fmla="*/ 8 h 104"/>
                <a:gd name="T30" fmla="*/ 62 w 104"/>
                <a:gd name="T31" fmla="*/ 1 h 104"/>
                <a:gd name="T32" fmla="*/ 53 w 104"/>
                <a:gd name="T33" fmla="*/ 82 h 104"/>
                <a:gd name="T34" fmla="*/ 41 w 104"/>
                <a:gd name="T35" fmla="*/ 80 h 104"/>
                <a:gd name="T36" fmla="*/ 31 w 104"/>
                <a:gd name="T37" fmla="*/ 73 h 104"/>
                <a:gd name="T38" fmla="*/ 25 w 104"/>
                <a:gd name="T39" fmla="*/ 63 h 104"/>
                <a:gd name="T40" fmla="*/ 22 w 104"/>
                <a:gd name="T41" fmla="*/ 52 h 104"/>
                <a:gd name="T42" fmla="*/ 25 w 104"/>
                <a:gd name="T43" fmla="*/ 40 h 104"/>
                <a:gd name="T44" fmla="*/ 31 w 104"/>
                <a:gd name="T45" fmla="*/ 30 h 104"/>
                <a:gd name="T46" fmla="*/ 41 w 104"/>
                <a:gd name="T47" fmla="*/ 23 h 104"/>
                <a:gd name="T48" fmla="*/ 53 w 104"/>
                <a:gd name="T49" fmla="*/ 21 h 104"/>
                <a:gd name="T50" fmla="*/ 63 w 104"/>
                <a:gd name="T51" fmla="*/ 23 h 104"/>
                <a:gd name="T52" fmla="*/ 73 w 104"/>
                <a:gd name="T53" fmla="*/ 30 h 104"/>
                <a:gd name="T54" fmla="*/ 80 w 104"/>
                <a:gd name="T55" fmla="*/ 40 h 104"/>
                <a:gd name="T56" fmla="*/ 83 w 104"/>
                <a:gd name="T57" fmla="*/ 52 h 104"/>
                <a:gd name="T58" fmla="*/ 80 w 104"/>
                <a:gd name="T59" fmla="*/ 63 h 104"/>
                <a:gd name="T60" fmla="*/ 73 w 104"/>
                <a:gd name="T61" fmla="*/ 73 h 104"/>
                <a:gd name="T62" fmla="*/ 63 w 104"/>
                <a:gd name="T63" fmla="*/ 80 h 104"/>
                <a:gd name="T64" fmla="*/ 53 w 104"/>
                <a:gd name="T65"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104">
                  <a:moveTo>
                    <a:pt x="53" y="0"/>
                  </a:moveTo>
                  <a:lnTo>
                    <a:pt x="42" y="1"/>
                  </a:lnTo>
                  <a:lnTo>
                    <a:pt x="32" y="4"/>
                  </a:lnTo>
                  <a:lnTo>
                    <a:pt x="24" y="8"/>
                  </a:lnTo>
                  <a:lnTo>
                    <a:pt x="15" y="15"/>
                  </a:lnTo>
                  <a:lnTo>
                    <a:pt x="9" y="22"/>
                  </a:lnTo>
                  <a:lnTo>
                    <a:pt x="4" y="31"/>
                  </a:lnTo>
                  <a:lnTo>
                    <a:pt x="1" y="41"/>
                  </a:lnTo>
                  <a:lnTo>
                    <a:pt x="0" y="52"/>
                  </a:lnTo>
                  <a:lnTo>
                    <a:pt x="1" y="62"/>
                  </a:lnTo>
                  <a:lnTo>
                    <a:pt x="4" y="72"/>
                  </a:lnTo>
                  <a:lnTo>
                    <a:pt x="9" y="81"/>
                  </a:lnTo>
                  <a:lnTo>
                    <a:pt x="15" y="88"/>
                  </a:lnTo>
                  <a:lnTo>
                    <a:pt x="24" y="95"/>
                  </a:lnTo>
                  <a:lnTo>
                    <a:pt x="32" y="100"/>
                  </a:lnTo>
                  <a:lnTo>
                    <a:pt x="42" y="103"/>
                  </a:lnTo>
                  <a:lnTo>
                    <a:pt x="53" y="104"/>
                  </a:lnTo>
                  <a:lnTo>
                    <a:pt x="62" y="103"/>
                  </a:lnTo>
                  <a:lnTo>
                    <a:pt x="72" y="100"/>
                  </a:lnTo>
                  <a:lnTo>
                    <a:pt x="82" y="95"/>
                  </a:lnTo>
                  <a:lnTo>
                    <a:pt x="89" y="88"/>
                  </a:lnTo>
                  <a:lnTo>
                    <a:pt x="96" y="81"/>
                  </a:lnTo>
                  <a:lnTo>
                    <a:pt x="100" y="72"/>
                  </a:lnTo>
                  <a:lnTo>
                    <a:pt x="103" y="62"/>
                  </a:lnTo>
                  <a:lnTo>
                    <a:pt x="104" y="52"/>
                  </a:lnTo>
                  <a:lnTo>
                    <a:pt x="103" y="41"/>
                  </a:lnTo>
                  <a:lnTo>
                    <a:pt x="100" y="31"/>
                  </a:lnTo>
                  <a:lnTo>
                    <a:pt x="96" y="22"/>
                  </a:lnTo>
                  <a:lnTo>
                    <a:pt x="89" y="15"/>
                  </a:lnTo>
                  <a:lnTo>
                    <a:pt x="82" y="8"/>
                  </a:lnTo>
                  <a:lnTo>
                    <a:pt x="72" y="4"/>
                  </a:lnTo>
                  <a:lnTo>
                    <a:pt x="62" y="1"/>
                  </a:lnTo>
                  <a:lnTo>
                    <a:pt x="53" y="0"/>
                  </a:lnTo>
                  <a:close/>
                  <a:moveTo>
                    <a:pt x="53" y="82"/>
                  </a:moveTo>
                  <a:lnTo>
                    <a:pt x="46" y="82"/>
                  </a:lnTo>
                  <a:lnTo>
                    <a:pt x="41" y="80"/>
                  </a:lnTo>
                  <a:lnTo>
                    <a:pt x="35" y="76"/>
                  </a:lnTo>
                  <a:lnTo>
                    <a:pt x="31" y="73"/>
                  </a:lnTo>
                  <a:lnTo>
                    <a:pt x="27" y="69"/>
                  </a:lnTo>
                  <a:lnTo>
                    <a:pt x="25" y="63"/>
                  </a:lnTo>
                  <a:lnTo>
                    <a:pt x="22" y="58"/>
                  </a:lnTo>
                  <a:lnTo>
                    <a:pt x="22" y="52"/>
                  </a:lnTo>
                  <a:lnTo>
                    <a:pt x="22" y="46"/>
                  </a:lnTo>
                  <a:lnTo>
                    <a:pt x="25" y="40"/>
                  </a:lnTo>
                  <a:lnTo>
                    <a:pt x="27" y="35"/>
                  </a:lnTo>
                  <a:lnTo>
                    <a:pt x="31" y="30"/>
                  </a:lnTo>
                  <a:lnTo>
                    <a:pt x="35" y="27"/>
                  </a:lnTo>
                  <a:lnTo>
                    <a:pt x="41" y="23"/>
                  </a:lnTo>
                  <a:lnTo>
                    <a:pt x="46" y="22"/>
                  </a:lnTo>
                  <a:lnTo>
                    <a:pt x="53" y="21"/>
                  </a:lnTo>
                  <a:lnTo>
                    <a:pt x="58" y="22"/>
                  </a:lnTo>
                  <a:lnTo>
                    <a:pt x="63" y="23"/>
                  </a:lnTo>
                  <a:lnTo>
                    <a:pt x="69" y="27"/>
                  </a:lnTo>
                  <a:lnTo>
                    <a:pt x="73" y="30"/>
                  </a:lnTo>
                  <a:lnTo>
                    <a:pt x="77" y="35"/>
                  </a:lnTo>
                  <a:lnTo>
                    <a:pt x="80" y="40"/>
                  </a:lnTo>
                  <a:lnTo>
                    <a:pt x="82" y="46"/>
                  </a:lnTo>
                  <a:lnTo>
                    <a:pt x="83" y="52"/>
                  </a:lnTo>
                  <a:lnTo>
                    <a:pt x="82" y="58"/>
                  </a:lnTo>
                  <a:lnTo>
                    <a:pt x="80" y="63"/>
                  </a:lnTo>
                  <a:lnTo>
                    <a:pt x="77" y="69"/>
                  </a:lnTo>
                  <a:lnTo>
                    <a:pt x="73" y="73"/>
                  </a:lnTo>
                  <a:lnTo>
                    <a:pt x="69" y="76"/>
                  </a:lnTo>
                  <a:lnTo>
                    <a:pt x="63" y="80"/>
                  </a:lnTo>
                  <a:lnTo>
                    <a:pt x="58" y="82"/>
                  </a:lnTo>
                  <a:lnTo>
                    <a:pt x="53"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1" name="Freeform 30"/>
            <p:cNvSpPr>
              <a:spLocks noEditPoints="1"/>
            </p:cNvSpPr>
            <p:nvPr/>
          </p:nvSpPr>
          <p:spPr bwMode="auto">
            <a:xfrm>
              <a:off x="1313765" y="4308406"/>
              <a:ext cx="56821" cy="56821"/>
            </a:xfrm>
            <a:custGeom>
              <a:avLst/>
              <a:gdLst>
                <a:gd name="T0" fmla="*/ 41 w 103"/>
                <a:gd name="T1" fmla="*/ 1 h 104"/>
                <a:gd name="T2" fmla="*/ 22 w 103"/>
                <a:gd name="T3" fmla="*/ 8 h 104"/>
                <a:gd name="T4" fmla="*/ 8 w 103"/>
                <a:gd name="T5" fmla="*/ 22 h 104"/>
                <a:gd name="T6" fmla="*/ 1 w 103"/>
                <a:gd name="T7" fmla="*/ 41 h 104"/>
                <a:gd name="T8" fmla="*/ 1 w 103"/>
                <a:gd name="T9" fmla="*/ 62 h 104"/>
                <a:gd name="T10" fmla="*/ 8 w 103"/>
                <a:gd name="T11" fmla="*/ 81 h 104"/>
                <a:gd name="T12" fmla="*/ 22 w 103"/>
                <a:gd name="T13" fmla="*/ 95 h 104"/>
                <a:gd name="T14" fmla="*/ 41 w 103"/>
                <a:gd name="T15" fmla="*/ 103 h 104"/>
                <a:gd name="T16" fmla="*/ 62 w 103"/>
                <a:gd name="T17" fmla="*/ 103 h 104"/>
                <a:gd name="T18" fmla="*/ 81 w 103"/>
                <a:gd name="T19" fmla="*/ 95 h 104"/>
                <a:gd name="T20" fmla="*/ 95 w 103"/>
                <a:gd name="T21" fmla="*/ 81 h 104"/>
                <a:gd name="T22" fmla="*/ 102 w 103"/>
                <a:gd name="T23" fmla="*/ 62 h 104"/>
                <a:gd name="T24" fmla="*/ 102 w 103"/>
                <a:gd name="T25" fmla="*/ 41 h 104"/>
                <a:gd name="T26" fmla="*/ 95 w 103"/>
                <a:gd name="T27" fmla="*/ 22 h 104"/>
                <a:gd name="T28" fmla="*/ 81 w 103"/>
                <a:gd name="T29" fmla="*/ 8 h 104"/>
                <a:gd name="T30" fmla="*/ 62 w 103"/>
                <a:gd name="T31" fmla="*/ 1 h 104"/>
                <a:gd name="T32" fmla="*/ 51 w 103"/>
                <a:gd name="T33" fmla="*/ 82 h 104"/>
                <a:gd name="T34" fmla="*/ 40 w 103"/>
                <a:gd name="T35" fmla="*/ 80 h 104"/>
                <a:gd name="T36" fmla="*/ 30 w 103"/>
                <a:gd name="T37" fmla="*/ 73 h 104"/>
                <a:gd name="T38" fmla="*/ 23 w 103"/>
                <a:gd name="T39" fmla="*/ 63 h 104"/>
                <a:gd name="T40" fmla="*/ 21 w 103"/>
                <a:gd name="T41" fmla="*/ 52 h 104"/>
                <a:gd name="T42" fmla="*/ 23 w 103"/>
                <a:gd name="T43" fmla="*/ 40 h 104"/>
                <a:gd name="T44" fmla="*/ 30 w 103"/>
                <a:gd name="T45" fmla="*/ 30 h 104"/>
                <a:gd name="T46" fmla="*/ 40 w 103"/>
                <a:gd name="T47" fmla="*/ 23 h 104"/>
                <a:gd name="T48" fmla="*/ 51 w 103"/>
                <a:gd name="T49" fmla="*/ 21 h 104"/>
                <a:gd name="T50" fmla="*/ 63 w 103"/>
                <a:gd name="T51" fmla="*/ 23 h 104"/>
                <a:gd name="T52" fmla="*/ 73 w 103"/>
                <a:gd name="T53" fmla="*/ 30 h 104"/>
                <a:gd name="T54" fmla="*/ 79 w 103"/>
                <a:gd name="T55" fmla="*/ 40 h 104"/>
                <a:gd name="T56" fmla="*/ 82 w 103"/>
                <a:gd name="T57" fmla="*/ 52 h 104"/>
                <a:gd name="T58" fmla="*/ 79 w 103"/>
                <a:gd name="T59" fmla="*/ 63 h 104"/>
                <a:gd name="T60" fmla="*/ 73 w 103"/>
                <a:gd name="T61" fmla="*/ 73 h 104"/>
                <a:gd name="T62" fmla="*/ 63 w 103"/>
                <a:gd name="T63" fmla="*/ 80 h 104"/>
                <a:gd name="T64" fmla="*/ 51 w 103"/>
                <a:gd name="T65" fmla="*/ 82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3" h="104">
                  <a:moveTo>
                    <a:pt x="51" y="0"/>
                  </a:moveTo>
                  <a:lnTo>
                    <a:pt x="41" y="1"/>
                  </a:lnTo>
                  <a:lnTo>
                    <a:pt x="31" y="4"/>
                  </a:lnTo>
                  <a:lnTo>
                    <a:pt x="22" y="8"/>
                  </a:lnTo>
                  <a:lnTo>
                    <a:pt x="15" y="15"/>
                  </a:lnTo>
                  <a:lnTo>
                    <a:pt x="8" y="22"/>
                  </a:lnTo>
                  <a:lnTo>
                    <a:pt x="3" y="31"/>
                  </a:lnTo>
                  <a:lnTo>
                    <a:pt x="1" y="41"/>
                  </a:lnTo>
                  <a:lnTo>
                    <a:pt x="0" y="52"/>
                  </a:lnTo>
                  <a:lnTo>
                    <a:pt x="1" y="62"/>
                  </a:lnTo>
                  <a:lnTo>
                    <a:pt x="3" y="72"/>
                  </a:lnTo>
                  <a:lnTo>
                    <a:pt x="8" y="81"/>
                  </a:lnTo>
                  <a:lnTo>
                    <a:pt x="15" y="88"/>
                  </a:lnTo>
                  <a:lnTo>
                    <a:pt x="22" y="95"/>
                  </a:lnTo>
                  <a:lnTo>
                    <a:pt x="31" y="100"/>
                  </a:lnTo>
                  <a:lnTo>
                    <a:pt x="41" y="103"/>
                  </a:lnTo>
                  <a:lnTo>
                    <a:pt x="51" y="104"/>
                  </a:lnTo>
                  <a:lnTo>
                    <a:pt x="62" y="103"/>
                  </a:lnTo>
                  <a:lnTo>
                    <a:pt x="72" y="100"/>
                  </a:lnTo>
                  <a:lnTo>
                    <a:pt x="81" y="95"/>
                  </a:lnTo>
                  <a:lnTo>
                    <a:pt x="88" y="88"/>
                  </a:lnTo>
                  <a:lnTo>
                    <a:pt x="95" y="81"/>
                  </a:lnTo>
                  <a:lnTo>
                    <a:pt x="100" y="72"/>
                  </a:lnTo>
                  <a:lnTo>
                    <a:pt x="102" y="62"/>
                  </a:lnTo>
                  <a:lnTo>
                    <a:pt x="103" y="52"/>
                  </a:lnTo>
                  <a:lnTo>
                    <a:pt x="102" y="41"/>
                  </a:lnTo>
                  <a:lnTo>
                    <a:pt x="100" y="31"/>
                  </a:lnTo>
                  <a:lnTo>
                    <a:pt x="95" y="22"/>
                  </a:lnTo>
                  <a:lnTo>
                    <a:pt x="88" y="15"/>
                  </a:lnTo>
                  <a:lnTo>
                    <a:pt x="81" y="8"/>
                  </a:lnTo>
                  <a:lnTo>
                    <a:pt x="72" y="4"/>
                  </a:lnTo>
                  <a:lnTo>
                    <a:pt x="62" y="1"/>
                  </a:lnTo>
                  <a:lnTo>
                    <a:pt x="51" y="0"/>
                  </a:lnTo>
                  <a:close/>
                  <a:moveTo>
                    <a:pt x="51" y="82"/>
                  </a:moveTo>
                  <a:lnTo>
                    <a:pt x="45" y="82"/>
                  </a:lnTo>
                  <a:lnTo>
                    <a:pt x="40" y="80"/>
                  </a:lnTo>
                  <a:lnTo>
                    <a:pt x="34" y="76"/>
                  </a:lnTo>
                  <a:lnTo>
                    <a:pt x="30" y="73"/>
                  </a:lnTo>
                  <a:lnTo>
                    <a:pt x="27" y="69"/>
                  </a:lnTo>
                  <a:lnTo>
                    <a:pt x="23" y="63"/>
                  </a:lnTo>
                  <a:lnTo>
                    <a:pt x="22" y="58"/>
                  </a:lnTo>
                  <a:lnTo>
                    <a:pt x="21" y="52"/>
                  </a:lnTo>
                  <a:lnTo>
                    <a:pt x="22" y="46"/>
                  </a:lnTo>
                  <a:lnTo>
                    <a:pt x="23" y="40"/>
                  </a:lnTo>
                  <a:lnTo>
                    <a:pt x="27" y="35"/>
                  </a:lnTo>
                  <a:lnTo>
                    <a:pt x="30" y="30"/>
                  </a:lnTo>
                  <a:lnTo>
                    <a:pt x="34" y="27"/>
                  </a:lnTo>
                  <a:lnTo>
                    <a:pt x="40" y="23"/>
                  </a:lnTo>
                  <a:lnTo>
                    <a:pt x="45" y="22"/>
                  </a:lnTo>
                  <a:lnTo>
                    <a:pt x="51" y="21"/>
                  </a:lnTo>
                  <a:lnTo>
                    <a:pt x="58" y="22"/>
                  </a:lnTo>
                  <a:lnTo>
                    <a:pt x="63" y="23"/>
                  </a:lnTo>
                  <a:lnTo>
                    <a:pt x="69" y="27"/>
                  </a:lnTo>
                  <a:lnTo>
                    <a:pt x="73" y="30"/>
                  </a:lnTo>
                  <a:lnTo>
                    <a:pt x="76" y="35"/>
                  </a:lnTo>
                  <a:lnTo>
                    <a:pt x="79" y="40"/>
                  </a:lnTo>
                  <a:lnTo>
                    <a:pt x="81" y="46"/>
                  </a:lnTo>
                  <a:lnTo>
                    <a:pt x="82" y="52"/>
                  </a:lnTo>
                  <a:lnTo>
                    <a:pt x="81" y="58"/>
                  </a:lnTo>
                  <a:lnTo>
                    <a:pt x="79" y="63"/>
                  </a:lnTo>
                  <a:lnTo>
                    <a:pt x="76" y="69"/>
                  </a:lnTo>
                  <a:lnTo>
                    <a:pt x="73" y="73"/>
                  </a:lnTo>
                  <a:lnTo>
                    <a:pt x="69" y="76"/>
                  </a:lnTo>
                  <a:lnTo>
                    <a:pt x="63" y="80"/>
                  </a:lnTo>
                  <a:lnTo>
                    <a:pt x="58" y="82"/>
                  </a:lnTo>
                  <a:lnTo>
                    <a:pt x="51" y="8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22" name="Freeform 20"/>
          <p:cNvSpPr>
            <a:spLocks noEditPoints="1"/>
          </p:cNvSpPr>
          <p:nvPr/>
        </p:nvSpPr>
        <p:spPr bwMode="auto">
          <a:xfrm>
            <a:off x="9166747" y="1104755"/>
            <a:ext cx="629076" cy="300439"/>
          </a:xfrm>
          <a:custGeom>
            <a:avLst/>
            <a:gdLst>
              <a:gd name="T0" fmla="*/ 38 w 1289"/>
              <a:gd name="T1" fmla="*/ 520 h 771"/>
              <a:gd name="T2" fmla="*/ 10 w 1289"/>
              <a:gd name="T3" fmla="*/ 644 h 771"/>
              <a:gd name="T4" fmla="*/ 55 w 1289"/>
              <a:gd name="T5" fmla="*/ 602 h 771"/>
              <a:gd name="T6" fmla="*/ 117 w 1289"/>
              <a:gd name="T7" fmla="*/ 533 h 771"/>
              <a:gd name="T8" fmla="*/ 213 w 1289"/>
              <a:gd name="T9" fmla="*/ 520 h 771"/>
              <a:gd name="T10" fmla="*/ 294 w 1289"/>
              <a:gd name="T11" fmla="*/ 568 h 771"/>
              <a:gd name="T12" fmla="*/ 326 w 1289"/>
              <a:gd name="T13" fmla="*/ 658 h 771"/>
              <a:gd name="T14" fmla="*/ 932 w 1289"/>
              <a:gd name="T15" fmla="*/ 712 h 771"/>
              <a:gd name="T16" fmla="*/ 926 w 1289"/>
              <a:gd name="T17" fmla="*/ 617 h 771"/>
              <a:gd name="T18" fmla="*/ 956 w 1289"/>
              <a:gd name="T19" fmla="*/ 563 h 771"/>
              <a:gd name="T20" fmla="*/ 1012 w 1289"/>
              <a:gd name="T21" fmla="*/ 524 h 771"/>
              <a:gd name="T22" fmla="*/ 1084 w 1289"/>
              <a:gd name="T23" fmla="*/ 516 h 771"/>
              <a:gd name="T24" fmla="*/ 1147 w 1289"/>
              <a:gd name="T25" fmla="*/ 543 h 771"/>
              <a:gd name="T26" fmla="*/ 1191 w 1289"/>
              <a:gd name="T27" fmla="*/ 596 h 771"/>
              <a:gd name="T28" fmla="*/ 1204 w 1289"/>
              <a:gd name="T29" fmla="*/ 681 h 771"/>
              <a:gd name="T30" fmla="*/ 1287 w 1289"/>
              <a:gd name="T31" fmla="*/ 629 h 771"/>
              <a:gd name="T32" fmla="*/ 527 w 1289"/>
              <a:gd name="T33" fmla="*/ 596 h 771"/>
              <a:gd name="T34" fmla="*/ 306 w 1289"/>
              <a:gd name="T35" fmla="*/ 220 h 771"/>
              <a:gd name="T36" fmla="*/ 1253 w 1289"/>
              <a:gd name="T37" fmla="*/ 194 h 771"/>
              <a:gd name="T38" fmla="*/ 1283 w 1289"/>
              <a:gd name="T39" fmla="*/ 209 h 771"/>
              <a:gd name="T40" fmla="*/ 707 w 1289"/>
              <a:gd name="T41" fmla="*/ 509 h 771"/>
              <a:gd name="T42" fmla="*/ 577 w 1289"/>
              <a:gd name="T43" fmla="*/ 143 h 771"/>
              <a:gd name="T44" fmla="*/ 1085 w 1289"/>
              <a:gd name="T45" fmla="*/ 548 h 771"/>
              <a:gd name="T46" fmla="*/ 1150 w 1289"/>
              <a:gd name="T47" fmla="*/ 586 h 771"/>
              <a:gd name="T48" fmla="*/ 1175 w 1289"/>
              <a:gd name="T49" fmla="*/ 658 h 771"/>
              <a:gd name="T50" fmla="*/ 1150 w 1289"/>
              <a:gd name="T51" fmla="*/ 730 h 771"/>
              <a:gd name="T52" fmla="*/ 1085 w 1289"/>
              <a:gd name="T53" fmla="*/ 768 h 771"/>
              <a:gd name="T54" fmla="*/ 1009 w 1289"/>
              <a:gd name="T55" fmla="*/ 757 h 771"/>
              <a:gd name="T56" fmla="*/ 959 w 1289"/>
              <a:gd name="T57" fmla="*/ 703 h 771"/>
              <a:gd name="T58" fmla="*/ 955 w 1289"/>
              <a:gd name="T59" fmla="*/ 624 h 771"/>
              <a:gd name="T60" fmla="*/ 1000 w 1289"/>
              <a:gd name="T61" fmla="*/ 564 h 771"/>
              <a:gd name="T62" fmla="*/ 1062 w 1289"/>
              <a:gd name="T63" fmla="*/ 597 h 771"/>
              <a:gd name="T64" fmla="*/ 1114 w 1289"/>
              <a:gd name="T65" fmla="*/ 624 h 771"/>
              <a:gd name="T66" fmla="*/ 1123 w 1289"/>
              <a:gd name="T67" fmla="*/ 670 h 771"/>
              <a:gd name="T68" fmla="*/ 1080 w 1289"/>
              <a:gd name="T69" fmla="*/ 718 h 771"/>
              <a:gd name="T70" fmla="*/ 1039 w 1289"/>
              <a:gd name="T71" fmla="*/ 715 h 771"/>
              <a:gd name="T72" fmla="*/ 1001 w 1289"/>
              <a:gd name="T73" fmla="*/ 665 h 771"/>
              <a:gd name="T74" fmla="*/ 1019 w 1289"/>
              <a:gd name="T75" fmla="*/ 615 h 771"/>
              <a:gd name="T76" fmla="*/ 319 w 1289"/>
              <a:gd name="T77" fmla="*/ 705 h 771"/>
              <a:gd name="T78" fmla="*/ 208 w 1289"/>
              <a:gd name="T79" fmla="*/ 547 h 771"/>
              <a:gd name="T80" fmla="*/ 272 w 1289"/>
              <a:gd name="T81" fmla="*/ 586 h 771"/>
              <a:gd name="T82" fmla="*/ 298 w 1289"/>
              <a:gd name="T83" fmla="*/ 658 h 771"/>
              <a:gd name="T84" fmla="*/ 272 w 1289"/>
              <a:gd name="T85" fmla="*/ 729 h 771"/>
              <a:gd name="T86" fmla="*/ 208 w 1289"/>
              <a:gd name="T87" fmla="*/ 768 h 771"/>
              <a:gd name="T88" fmla="*/ 131 w 1289"/>
              <a:gd name="T89" fmla="*/ 757 h 771"/>
              <a:gd name="T90" fmla="*/ 82 w 1289"/>
              <a:gd name="T91" fmla="*/ 701 h 771"/>
              <a:gd name="T92" fmla="*/ 77 w 1289"/>
              <a:gd name="T93" fmla="*/ 624 h 771"/>
              <a:gd name="T94" fmla="*/ 122 w 1289"/>
              <a:gd name="T95" fmla="*/ 564 h 771"/>
              <a:gd name="T96" fmla="*/ 185 w 1289"/>
              <a:gd name="T97" fmla="*/ 597 h 771"/>
              <a:gd name="T98" fmla="*/ 236 w 1289"/>
              <a:gd name="T99" fmla="*/ 623 h 771"/>
              <a:gd name="T100" fmla="*/ 245 w 1289"/>
              <a:gd name="T101" fmla="*/ 670 h 771"/>
              <a:gd name="T102" fmla="*/ 204 w 1289"/>
              <a:gd name="T103" fmla="*/ 716 h 771"/>
              <a:gd name="T104" fmla="*/ 161 w 1289"/>
              <a:gd name="T105" fmla="*/ 714 h 771"/>
              <a:gd name="T106" fmla="*/ 124 w 1289"/>
              <a:gd name="T107" fmla="*/ 665 h 771"/>
              <a:gd name="T108" fmla="*/ 142 w 1289"/>
              <a:gd name="T109" fmla="*/ 614 h 771"/>
              <a:gd name="T110" fmla="*/ 459 w 1289"/>
              <a:gd name="T111" fmla="*/ 415 h 771"/>
              <a:gd name="T112" fmla="*/ 390 w 1289"/>
              <a:gd name="T113" fmla="*/ 435 h 771"/>
              <a:gd name="T114" fmla="*/ 459 w 1289"/>
              <a:gd name="T115" fmla="*/ 415 h 771"/>
              <a:gd name="T116" fmla="*/ 371 w 1289"/>
              <a:gd name="T117" fmla="*/ 256 h 771"/>
              <a:gd name="T118" fmla="*/ 304 w 1289"/>
              <a:gd name="T119" fmla="*/ 389 h 7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89" h="771">
                <a:moveTo>
                  <a:pt x="75" y="414"/>
                </a:moveTo>
                <a:lnTo>
                  <a:pt x="67" y="430"/>
                </a:lnTo>
                <a:lnTo>
                  <a:pt x="59" y="447"/>
                </a:lnTo>
                <a:lnTo>
                  <a:pt x="91" y="447"/>
                </a:lnTo>
                <a:lnTo>
                  <a:pt x="91" y="501"/>
                </a:lnTo>
                <a:lnTo>
                  <a:pt x="41" y="501"/>
                </a:lnTo>
                <a:lnTo>
                  <a:pt x="38" y="520"/>
                </a:lnTo>
                <a:lnTo>
                  <a:pt x="34" y="534"/>
                </a:lnTo>
                <a:lnTo>
                  <a:pt x="17" y="540"/>
                </a:lnTo>
                <a:lnTo>
                  <a:pt x="0" y="545"/>
                </a:lnTo>
                <a:lnTo>
                  <a:pt x="3" y="567"/>
                </a:lnTo>
                <a:lnTo>
                  <a:pt x="4" y="594"/>
                </a:lnTo>
                <a:lnTo>
                  <a:pt x="7" y="622"/>
                </a:lnTo>
                <a:lnTo>
                  <a:pt x="10" y="644"/>
                </a:lnTo>
                <a:lnTo>
                  <a:pt x="44" y="661"/>
                </a:lnTo>
                <a:lnTo>
                  <a:pt x="44" y="660"/>
                </a:lnTo>
                <a:lnTo>
                  <a:pt x="44" y="658"/>
                </a:lnTo>
                <a:lnTo>
                  <a:pt x="45" y="644"/>
                </a:lnTo>
                <a:lnTo>
                  <a:pt x="47" y="629"/>
                </a:lnTo>
                <a:lnTo>
                  <a:pt x="51" y="616"/>
                </a:lnTo>
                <a:lnTo>
                  <a:pt x="55" y="602"/>
                </a:lnTo>
                <a:lnTo>
                  <a:pt x="61" y="591"/>
                </a:lnTo>
                <a:lnTo>
                  <a:pt x="68" y="579"/>
                </a:lnTo>
                <a:lnTo>
                  <a:pt x="76" y="568"/>
                </a:lnTo>
                <a:lnTo>
                  <a:pt x="85" y="559"/>
                </a:lnTo>
                <a:lnTo>
                  <a:pt x="95" y="549"/>
                </a:lnTo>
                <a:lnTo>
                  <a:pt x="106" y="541"/>
                </a:lnTo>
                <a:lnTo>
                  <a:pt x="117" y="533"/>
                </a:lnTo>
                <a:lnTo>
                  <a:pt x="130" y="528"/>
                </a:lnTo>
                <a:lnTo>
                  <a:pt x="143" y="523"/>
                </a:lnTo>
                <a:lnTo>
                  <a:pt x="157" y="520"/>
                </a:lnTo>
                <a:lnTo>
                  <a:pt x="170" y="517"/>
                </a:lnTo>
                <a:lnTo>
                  <a:pt x="185" y="517"/>
                </a:lnTo>
                <a:lnTo>
                  <a:pt x="199" y="517"/>
                </a:lnTo>
                <a:lnTo>
                  <a:pt x="213" y="520"/>
                </a:lnTo>
                <a:lnTo>
                  <a:pt x="227" y="523"/>
                </a:lnTo>
                <a:lnTo>
                  <a:pt x="239" y="528"/>
                </a:lnTo>
                <a:lnTo>
                  <a:pt x="252" y="533"/>
                </a:lnTo>
                <a:lnTo>
                  <a:pt x="264" y="541"/>
                </a:lnTo>
                <a:lnTo>
                  <a:pt x="275" y="549"/>
                </a:lnTo>
                <a:lnTo>
                  <a:pt x="284" y="559"/>
                </a:lnTo>
                <a:lnTo>
                  <a:pt x="294" y="568"/>
                </a:lnTo>
                <a:lnTo>
                  <a:pt x="302" y="579"/>
                </a:lnTo>
                <a:lnTo>
                  <a:pt x="309" y="591"/>
                </a:lnTo>
                <a:lnTo>
                  <a:pt x="315" y="602"/>
                </a:lnTo>
                <a:lnTo>
                  <a:pt x="320" y="616"/>
                </a:lnTo>
                <a:lnTo>
                  <a:pt x="324" y="629"/>
                </a:lnTo>
                <a:lnTo>
                  <a:pt x="326" y="644"/>
                </a:lnTo>
                <a:lnTo>
                  <a:pt x="326" y="658"/>
                </a:lnTo>
                <a:lnTo>
                  <a:pt x="326" y="669"/>
                </a:lnTo>
                <a:lnTo>
                  <a:pt x="325" y="681"/>
                </a:lnTo>
                <a:lnTo>
                  <a:pt x="527" y="681"/>
                </a:lnTo>
                <a:lnTo>
                  <a:pt x="546" y="721"/>
                </a:lnTo>
                <a:lnTo>
                  <a:pt x="844" y="721"/>
                </a:lnTo>
                <a:lnTo>
                  <a:pt x="936" y="721"/>
                </a:lnTo>
                <a:lnTo>
                  <a:pt x="932" y="712"/>
                </a:lnTo>
                <a:lnTo>
                  <a:pt x="928" y="704"/>
                </a:lnTo>
                <a:lnTo>
                  <a:pt x="925" y="695"/>
                </a:lnTo>
                <a:lnTo>
                  <a:pt x="924" y="685"/>
                </a:lnTo>
                <a:lnTo>
                  <a:pt x="921" y="667"/>
                </a:lnTo>
                <a:lnTo>
                  <a:pt x="921" y="650"/>
                </a:lnTo>
                <a:lnTo>
                  <a:pt x="924" y="632"/>
                </a:lnTo>
                <a:lnTo>
                  <a:pt x="926" y="617"/>
                </a:lnTo>
                <a:lnTo>
                  <a:pt x="931" y="605"/>
                </a:lnTo>
                <a:lnTo>
                  <a:pt x="934" y="596"/>
                </a:lnTo>
                <a:lnTo>
                  <a:pt x="934" y="596"/>
                </a:lnTo>
                <a:lnTo>
                  <a:pt x="939" y="586"/>
                </a:lnTo>
                <a:lnTo>
                  <a:pt x="943" y="578"/>
                </a:lnTo>
                <a:lnTo>
                  <a:pt x="949" y="570"/>
                </a:lnTo>
                <a:lnTo>
                  <a:pt x="956" y="563"/>
                </a:lnTo>
                <a:lnTo>
                  <a:pt x="963" y="555"/>
                </a:lnTo>
                <a:lnTo>
                  <a:pt x="970" y="549"/>
                </a:lnTo>
                <a:lnTo>
                  <a:pt x="978" y="543"/>
                </a:lnTo>
                <a:lnTo>
                  <a:pt x="986" y="538"/>
                </a:lnTo>
                <a:lnTo>
                  <a:pt x="994" y="532"/>
                </a:lnTo>
                <a:lnTo>
                  <a:pt x="1003" y="528"/>
                </a:lnTo>
                <a:lnTo>
                  <a:pt x="1012" y="524"/>
                </a:lnTo>
                <a:lnTo>
                  <a:pt x="1022" y="521"/>
                </a:lnTo>
                <a:lnTo>
                  <a:pt x="1032" y="518"/>
                </a:lnTo>
                <a:lnTo>
                  <a:pt x="1041" y="516"/>
                </a:lnTo>
                <a:lnTo>
                  <a:pt x="1052" y="515"/>
                </a:lnTo>
                <a:lnTo>
                  <a:pt x="1062" y="515"/>
                </a:lnTo>
                <a:lnTo>
                  <a:pt x="1073" y="515"/>
                </a:lnTo>
                <a:lnTo>
                  <a:pt x="1084" y="516"/>
                </a:lnTo>
                <a:lnTo>
                  <a:pt x="1093" y="518"/>
                </a:lnTo>
                <a:lnTo>
                  <a:pt x="1103" y="521"/>
                </a:lnTo>
                <a:lnTo>
                  <a:pt x="1113" y="524"/>
                </a:lnTo>
                <a:lnTo>
                  <a:pt x="1122" y="528"/>
                </a:lnTo>
                <a:lnTo>
                  <a:pt x="1131" y="532"/>
                </a:lnTo>
                <a:lnTo>
                  <a:pt x="1139" y="538"/>
                </a:lnTo>
                <a:lnTo>
                  <a:pt x="1147" y="543"/>
                </a:lnTo>
                <a:lnTo>
                  <a:pt x="1155" y="549"/>
                </a:lnTo>
                <a:lnTo>
                  <a:pt x="1162" y="555"/>
                </a:lnTo>
                <a:lnTo>
                  <a:pt x="1169" y="563"/>
                </a:lnTo>
                <a:lnTo>
                  <a:pt x="1176" y="570"/>
                </a:lnTo>
                <a:lnTo>
                  <a:pt x="1182" y="578"/>
                </a:lnTo>
                <a:lnTo>
                  <a:pt x="1186" y="586"/>
                </a:lnTo>
                <a:lnTo>
                  <a:pt x="1191" y="596"/>
                </a:lnTo>
                <a:lnTo>
                  <a:pt x="1191" y="596"/>
                </a:lnTo>
                <a:lnTo>
                  <a:pt x="1197" y="610"/>
                </a:lnTo>
                <a:lnTo>
                  <a:pt x="1201" y="628"/>
                </a:lnTo>
                <a:lnTo>
                  <a:pt x="1205" y="644"/>
                </a:lnTo>
                <a:lnTo>
                  <a:pt x="1206" y="658"/>
                </a:lnTo>
                <a:lnTo>
                  <a:pt x="1205" y="672"/>
                </a:lnTo>
                <a:lnTo>
                  <a:pt x="1204" y="681"/>
                </a:lnTo>
                <a:lnTo>
                  <a:pt x="1222" y="681"/>
                </a:lnTo>
                <a:lnTo>
                  <a:pt x="1238" y="676"/>
                </a:lnTo>
                <a:lnTo>
                  <a:pt x="1254" y="670"/>
                </a:lnTo>
                <a:lnTo>
                  <a:pt x="1269" y="666"/>
                </a:lnTo>
                <a:lnTo>
                  <a:pt x="1285" y="661"/>
                </a:lnTo>
                <a:lnTo>
                  <a:pt x="1287" y="645"/>
                </a:lnTo>
                <a:lnTo>
                  <a:pt x="1287" y="629"/>
                </a:lnTo>
                <a:lnTo>
                  <a:pt x="1288" y="612"/>
                </a:lnTo>
                <a:lnTo>
                  <a:pt x="1289" y="596"/>
                </a:lnTo>
                <a:lnTo>
                  <a:pt x="1206" y="596"/>
                </a:lnTo>
                <a:lnTo>
                  <a:pt x="1206" y="423"/>
                </a:lnTo>
                <a:lnTo>
                  <a:pt x="878" y="515"/>
                </a:lnTo>
                <a:lnTo>
                  <a:pt x="878" y="596"/>
                </a:lnTo>
                <a:lnTo>
                  <a:pt x="527" y="596"/>
                </a:lnTo>
                <a:lnTo>
                  <a:pt x="509" y="211"/>
                </a:lnTo>
                <a:lnTo>
                  <a:pt x="470" y="212"/>
                </a:lnTo>
                <a:lnTo>
                  <a:pt x="432" y="213"/>
                </a:lnTo>
                <a:lnTo>
                  <a:pt x="396" y="214"/>
                </a:lnTo>
                <a:lnTo>
                  <a:pt x="364" y="217"/>
                </a:lnTo>
                <a:lnTo>
                  <a:pt x="334" y="218"/>
                </a:lnTo>
                <a:lnTo>
                  <a:pt x="306" y="220"/>
                </a:lnTo>
                <a:lnTo>
                  <a:pt x="283" y="222"/>
                </a:lnTo>
                <a:lnTo>
                  <a:pt x="264" y="225"/>
                </a:lnTo>
                <a:lnTo>
                  <a:pt x="148" y="388"/>
                </a:lnTo>
                <a:lnTo>
                  <a:pt x="75" y="414"/>
                </a:lnTo>
                <a:close/>
                <a:moveTo>
                  <a:pt x="614" y="87"/>
                </a:moveTo>
                <a:lnTo>
                  <a:pt x="708" y="57"/>
                </a:lnTo>
                <a:lnTo>
                  <a:pt x="1253" y="194"/>
                </a:lnTo>
                <a:lnTo>
                  <a:pt x="1246" y="209"/>
                </a:lnTo>
                <a:lnTo>
                  <a:pt x="700" y="127"/>
                </a:lnTo>
                <a:lnTo>
                  <a:pt x="613" y="118"/>
                </a:lnTo>
                <a:lnTo>
                  <a:pt x="614" y="87"/>
                </a:lnTo>
                <a:close/>
                <a:moveTo>
                  <a:pt x="1283" y="161"/>
                </a:moveTo>
                <a:lnTo>
                  <a:pt x="1283" y="184"/>
                </a:lnTo>
                <a:lnTo>
                  <a:pt x="1283" y="209"/>
                </a:lnTo>
                <a:lnTo>
                  <a:pt x="1283" y="232"/>
                </a:lnTo>
                <a:lnTo>
                  <a:pt x="1283" y="255"/>
                </a:lnTo>
                <a:lnTo>
                  <a:pt x="1283" y="279"/>
                </a:lnTo>
                <a:lnTo>
                  <a:pt x="1283" y="302"/>
                </a:lnTo>
                <a:lnTo>
                  <a:pt x="1283" y="325"/>
                </a:lnTo>
                <a:lnTo>
                  <a:pt x="1283" y="348"/>
                </a:lnTo>
                <a:lnTo>
                  <a:pt x="707" y="509"/>
                </a:lnTo>
                <a:lnTo>
                  <a:pt x="577" y="478"/>
                </a:lnTo>
                <a:lnTo>
                  <a:pt x="577" y="423"/>
                </a:lnTo>
                <a:lnTo>
                  <a:pt x="577" y="366"/>
                </a:lnTo>
                <a:lnTo>
                  <a:pt x="577" y="311"/>
                </a:lnTo>
                <a:lnTo>
                  <a:pt x="577" y="255"/>
                </a:lnTo>
                <a:lnTo>
                  <a:pt x="577" y="199"/>
                </a:lnTo>
                <a:lnTo>
                  <a:pt x="577" y="143"/>
                </a:lnTo>
                <a:lnTo>
                  <a:pt x="577" y="88"/>
                </a:lnTo>
                <a:lnTo>
                  <a:pt x="577" y="31"/>
                </a:lnTo>
                <a:lnTo>
                  <a:pt x="707" y="0"/>
                </a:lnTo>
                <a:lnTo>
                  <a:pt x="1283" y="161"/>
                </a:lnTo>
                <a:close/>
                <a:moveTo>
                  <a:pt x="1062" y="546"/>
                </a:moveTo>
                <a:lnTo>
                  <a:pt x="1073" y="546"/>
                </a:lnTo>
                <a:lnTo>
                  <a:pt x="1085" y="548"/>
                </a:lnTo>
                <a:lnTo>
                  <a:pt x="1095" y="551"/>
                </a:lnTo>
                <a:lnTo>
                  <a:pt x="1106" y="554"/>
                </a:lnTo>
                <a:lnTo>
                  <a:pt x="1116" y="560"/>
                </a:lnTo>
                <a:lnTo>
                  <a:pt x="1125" y="564"/>
                </a:lnTo>
                <a:lnTo>
                  <a:pt x="1135" y="571"/>
                </a:lnTo>
                <a:lnTo>
                  <a:pt x="1143" y="578"/>
                </a:lnTo>
                <a:lnTo>
                  <a:pt x="1150" y="586"/>
                </a:lnTo>
                <a:lnTo>
                  <a:pt x="1155" y="596"/>
                </a:lnTo>
                <a:lnTo>
                  <a:pt x="1161" y="605"/>
                </a:lnTo>
                <a:lnTo>
                  <a:pt x="1166" y="614"/>
                </a:lnTo>
                <a:lnTo>
                  <a:pt x="1170" y="624"/>
                </a:lnTo>
                <a:lnTo>
                  <a:pt x="1173" y="636"/>
                </a:lnTo>
                <a:lnTo>
                  <a:pt x="1175" y="647"/>
                </a:lnTo>
                <a:lnTo>
                  <a:pt x="1175" y="658"/>
                </a:lnTo>
                <a:lnTo>
                  <a:pt x="1175" y="669"/>
                </a:lnTo>
                <a:lnTo>
                  <a:pt x="1173" y="681"/>
                </a:lnTo>
                <a:lnTo>
                  <a:pt x="1170" y="692"/>
                </a:lnTo>
                <a:lnTo>
                  <a:pt x="1166" y="703"/>
                </a:lnTo>
                <a:lnTo>
                  <a:pt x="1161" y="712"/>
                </a:lnTo>
                <a:lnTo>
                  <a:pt x="1155" y="721"/>
                </a:lnTo>
                <a:lnTo>
                  <a:pt x="1150" y="730"/>
                </a:lnTo>
                <a:lnTo>
                  <a:pt x="1143" y="738"/>
                </a:lnTo>
                <a:lnTo>
                  <a:pt x="1135" y="745"/>
                </a:lnTo>
                <a:lnTo>
                  <a:pt x="1125" y="751"/>
                </a:lnTo>
                <a:lnTo>
                  <a:pt x="1116" y="757"/>
                </a:lnTo>
                <a:lnTo>
                  <a:pt x="1106" y="761"/>
                </a:lnTo>
                <a:lnTo>
                  <a:pt x="1095" y="766"/>
                </a:lnTo>
                <a:lnTo>
                  <a:pt x="1085" y="768"/>
                </a:lnTo>
                <a:lnTo>
                  <a:pt x="1073" y="771"/>
                </a:lnTo>
                <a:lnTo>
                  <a:pt x="1062" y="771"/>
                </a:lnTo>
                <a:lnTo>
                  <a:pt x="1050" y="771"/>
                </a:lnTo>
                <a:lnTo>
                  <a:pt x="1040" y="768"/>
                </a:lnTo>
                <a:lnTo>
                  <a:pt x="1029" y="766"/>
                </a:lnTo>
                <a:lnTo>
                  <a:pt x="1018" y="761"/>
                </a:lnTo>
                <a:lnTo>
                  <a:pt x="1009" y="757"/>
                </a:lnTo>
                <a:lnTo>
                  <a:pt x="1000" y="751"/>
                </a:lnTo>
                <a:lnTo>
                  <a:pt x="991" y="745"/>
                </a:lnTo>
                <a:lnTo>
                  <a:pt x="982" y="738"/>
                </a:lnTo>
                <a:lnTo>
                  <a:pt x="976" y="730"/>
                </a:lnTo>
                <a:lnTo>
                  <a:pt x="969" y="721"/>
                </a:lnTo>
                <a:lnTo>
                  <a:pt x="964" y="712"/>
                </a:lnTo>
                <a:lnTo>
                  <a:pt x="959" y="703"/>
                </a:lnTo>
                <a:lnTo>
                  <a:pt x="955" y="692"/>
                </a:lnTo>
                <a:lnTo>
                  <a:pt x="953" y="681"/>
                </a:lnTo>
                <a:lnTo>
                  <a:pt x="950" y="669"/>
                </a:lnTo>
                <a:lnTo>
                  <a:pt x="950" y="658"/>
                </a:lnTo>
                <a:lnTo>
                  <a:pt x="950" y="647"/>
                </a:lnTo>
                <a:lnTo>
                  <a:pt x="953" y="636"/>
                </a:lnTo>
                <a:lnTo>
                  <a:pt x="955" y="624"/>
                </a:lnTo>
                <a:lnTo>
                  <a:pt x="959" y="614"/>
                </a:lnTo>
                <a:lnTo>
                  <a:pt x="964" y="605"/>
                </a:lnTo>
                <a:lnTo>
                  <a:pt x="969" y="596"/>
                </a:lnTo>
                <a:lnTo>
                  <a:pt x="976" y="586"/>
                </a:lnTo>
                <a:lnTo>
                  <a:pt x="982" y="578"/>
                </a:lnTo>
                <a:lnTo>
                  <a:pt x="991" y="571"/>
                </a:lnTo>
                <a:lnTo>
                  <a:pt x="1000" y="564"/>
                </a:lnTo>
                <a:lnTo>
                  <a:pt x="1009" y="560"/>
                </a:lnTo>
                <a:lnTo>
                  <a:pt x="1018" y="554"/>
                </a:lnTo>
                <a:lnTo>
                  <a:pt x="1029" y="551"/>
                </a:lnTo>
                <a:lnTo>
                  <a:pt x="1040" y="548"/>
                </a:lnTo>
                <a:lnTo>
                  <a:pt x="1050" y="546"/>
                </a:lnTo>
                <a:lnTo>
                  <a:pt x="1062" y="546"/>
                </a:lnTo>
                <a:close/>
                <a:moveTo>
                  <a:pt x="1062" y="597"/>
                </a:moveTo>
                <a:lnTo>
                  <a:pt x="1069" y="597"/>
                </a:lnTo>
                <a:lnTo>
                  <a:pt x="1075" y="598"/>
                </a:lnTo>
                <a:lnTo>
                  <a:pt x="1080" y="599"/>
                </a:lnTo>
                <a:lnTo>
                  <a:pt x="1086" y="601"/>
                </a:lnTo>
                <a:lnTo>
                  <a:pt x="1097" y="607"/>
                </a:lnTo>
                <a:lnTo>
                  <a:pt x="1106" y="615"/>
                </a:lnTo>
                <a:lnTo>
                  <a:pt x="1114" y="624"/>
                </a:lnTo>
                <a:lnTo>
                  <a:pt x="1120" y="635"/>
                </a:lnTo>
                <a:lnTo>
                  <a:pt x="1122" y="640"/>
                </a:lnTo>
                <a:lnTo>
                  <a:pt x="1123" y="646"/>
                </a:lnTo>
                <a:lnTo>
                  <a:pt x="1124" y="652"/>
                </a:lnTo>
                <a:lnTo>
                  <a:pt x="1124" y="658"/>
                </a:lnTo>
                <a:lnTo>
                  <a:pt x="1124" y="665"/>
                </a:lnTo>
                <a:lnTo>
                  <a:pt x="1123" y="670"/>
                </a:lnTo>
                <a:lnTo>
                  <a:pt x="1122" y="676"/>
                </a:lnTo>
                <a:lnTo>
                  <a:pt x="1120" y="682"/>
                </a:lnTo>
                <a:lnTo>
                  <a:pt x="1114" y="692"/>
                </a:lnTo>
                <a:lnTo>
                  <a:pt x="1106" y="701"/>
                </a:lnTo>
                <a:lnTo>
                  <a:pt x="1097" y="710"/>
                </a:lnTo>
                <a:lnTo>
                  <a:pt x="1086" y="715"/>
                </a:lnTo>
                <a:lnTo>
                  <a:pt x="1080" y="718"/>
                </a:lnTo>
                <a:lnTo>
                  <a:pt x="1075" y="719"/>
                </a:lnTo>
                <a:lnTo>
                  <a:pt x="1069" y="720"/>
                </a:lnTo>
                <a:lnTo>
                  <a:pt x="1062" y="720"/>
                </a:lnTo>
                <a:lnTo>
                  <a:pt x="1056" y="720"/>
                </a:lnTo>
                <a:lnTo>
                  <a:pt x="1050" y="719"/>
                </a:lnTo>
                <a:lnTo>
                  <a:pt x="1045" y="718"/>
                </a:lnTo>
                <a:lnTo>
                  <a:pt x="1039" y="715"/>
                </a:lnTo>
                <a:lnTo>
                  <a:pt x="1029" y="710"/>
                </a:lnTo>
                <a:lnTo>
                  <a:pt x="1019" y="701"/>
                </a:lnTo>
                <a:lnTo>
                  <a:pt x="1011" y="692"/>
                </a:lnTo>
                <a:lnTo>
                  <a:pt x="1006" y="682"/>
                </a:lnTo>
                <a:lnTo>
                  <a:pt x="1003" y="676"/>
                </a:lnTo>
                <a:lnTo>
                  <a:pt x="1002" y="670"/>
                </a:lnTo>
                <a:lnTo>
                  <a:pt x="1001" y="665"/>
                </a:lnTo>
                <a:lnTo>
                  <a:pt x="1001" y="658"/>
                </a:lnTo>
                <a:lnTo>
                  <a:pt x="1001" y="652"/>
                </a:lnTo>
                <a:lnTo>
                  <a:pt x="1002" y="646"/>
                </a:lnTo>
                <a:lnTo>
                  <a:pt x="1003" y="640"/>
                </a:lnTo>
                <a:lnTo>
                  <a:pt x="1006" y="635"/>
                </a:lnTo>
                <a:lnTo>
                  <a:pt x="1011" y="624"/>
                </a:lnTo>
                <a:lnTo>
                  <a:pt x="1019" y="615"/>
                </a:lnTo>
                <a:lnTo>
                  <a:pt x="1029" y="607"/>
                </a:lnTo>
                <a:lnTo>
                  <a:pt x="1039" y="601"/>
                </a:lnTo>
                <a:lnTo>
                  <a:pt x="1045" y="599"/>
                </a:lnTo>
                <a:lnTo>
                  <a:pt x="1050" y="598"/>
                </a:lnTo>
                <a:lnTo>
                  <a:pt x="1056" y="597"/>
                </a:lnTo>
                <a:lnTo>
                  <a:pt x="1062" y="597"/>
                </a:lnTo>
                <a:close/>
                <a:moveTo>
                  <a:pt x="319" y="705"/>
                </a:moveTo>
                <a:lnTo>
                  <a:pt x="509" y="705"/>
                </a:lnTo>
                <a:lnTo>
                  <a:pt x="521" y="730"/>
                </a:lnTo>
                <a:lnTo>
                  <a:pt x="319" y="730"/>
                </a:lnTo>
                <a:lnTo>
                  <a:pt x="319" y="705"/>
                </a:lnTo>
                <a:close/>
                <a:moveTo>
                  <a:pt x="185" y="545"/>
                </a:moveTo>
                <a:lnTo>
                  <a:pt x="197" y="546"/>
                </a:lnTo>
                <a:lnTo>
                  <a:pt x="208" y="547"/>
                </a:lnTo>
                <a:lnTo>
                  <a:pt x="219" y="551"/>
                </a:lnTo>
                <a:lnTo>
                  <a:pt x="229" y="554"/>
                </a:lnTo>
                <a:lnTo>
                  <a:pt x="238" y="559"/>
                </a:lnTo>
                <a:lnTo>
                  <a:pt x="248" y="564"/>
                </a:lnTo>
                <a:lnTo>
                  <a:pt x="257" y="571"/>
                </a:lnTo>
                <a:lnTo>
                  <a:pt x="265" y="578"/>
                </a:lnTo>
                <a:lnTo>
                  <a:pt x="272" y="586"/>
                </a:lnTo>
                <a:lnTo>
                  <a:pt x="279" y="594"/>
                </a:lnTo>
                <a:lnTo>
                  <a:pt x="284" y="605"/>
                </a:lnTo>
                <a:lnTo>
                  <a:pt x="289" y="614"/>
                </a:lnTo>
                <a:lnTo>
                  <a:pt x="292" y="624"/>
                </a:lnTo>
                <a:lnTo>
                  <a:pt x="296" y="635"/>
                </a:lnTo>
                <a:lnTo>
                  <a:pt x="297" y="646"/>
                </a:lnTo>
                <a:lnTo>
                  <a:pt x="298" y="658"/>
                </a:lnTo>
                <a:lnTo>
                  <a:pt x="297" y="669"/>
                </a:lnTo>
                <a:lnTo>
                  <a:pt x="296" y="681"/>
                </a:lnTo>
                <a:lnTo>
                  <a:pt x="292" y="691"/>
                </a:lnTo>
                <a:lnTo>
                  <a:pt x="289" y="701"/>
                </a:lnTo>
                <a:lnTo>
                  <a:pt x="284" y="712"/>
                </a:lnTo>
                <a:lnTo>
                  <a:pt x="279" y="721"/>
                </a:lnTo>
                <a:lnTo>
                  <a:pt x="272" y="729"/>
                </a:lnTo>
                <a:lnTo>
                  <a:pt x="265" y="737"/>
                </a:lnTo>
                <a:lnTo>
                  <a:pt x="257" y="744"/>
                </a:lnTo>
                <a:lnTo>
                  <a:pt x="248" y="751"/>
                </a:lnTo>
                <a:lnTo>
                  <a:pt x="238" y="757"/>
                </a:lnTo>
                <a:lnTo>
                  <a:pt x="229" y="761"/>
                </a:lnTo>
                <a:lnTo>
                  <a:pt x="219" y="765"/>
                </a:lnTo>
                <a:lnTo>
                  <a:pt x="208" y="768"/>
                </a:lnTo>
                <a:lnTo>
                  <a:pt x="197" y="769"/>
                </a:lnTo>
                <a:lnTo>
                  <a:pt x="185" y="771"/>
                </a:lnTo>
                <a:lnTo>
                  <a:pt x="174" y="769"/>
                </a:lnTo>
                <a:lnTo>
                  <a:pt x="162" y="768"/>
                </a:lnTo>
                <a:lnTo>
                  <a:pt x="152" y="765"/>
                </a:lnTo>
                <a:lnTo>
                  <a:pt x="142" y="761"/>
                </a:lnTo>
                <a:lnTo>
                  <a:pt x="131" y="757"/>
                </a:lnTo>
                <a:lnTo>
                  <a:pt x="122" y="751"/>
                </a:lnTo>
                <a:lnTo>
                  <a:pt x="114" y="744"/>
                </a:lnTo>
                <a:lnTo>
                  <a:pt x="106" y="737"/>
                </a:lnTo>
                <a:lnTo>
                  <a:pt x="98" y="729"/>
                </a:lnTo>
                <a:lnTo>
                  <a:pt x="92" y="721"/>
                </a:lnTo>
                <a:lnTo>
                  <a:pt x="86" y="712"/>
                </a:lnTo>
                <a:lnTo>
                  <a:pt x="82" y="701"/>
                </a:lnTo>
                <a:lnTo>
                  <a:pt x="77" y="691"/>
                </a:lnTo>
                <a:lnTo>
                  <a:pt x="75" y="681"/>
                </a:lnTo>
                <a:lnTo>
                  <a:pt x="74" y="669"/>
                </a:lnTo>
                <a:lnTo>
                  <a:pt x="72" y="658"/>
                </a:lnTo>
                <a:lnTo>
                  <a:pt x="74" y="646"/>
                </a:lnTo>
                <a:lnTo>
                  <a:pt x="75" y="635"/>
                </a:lnTo>
                <a:lnTo>
                  <a:pt x="77" y="624"/>
                </a:lnTo>
                <a:lnTo>
                  <a:pt x="82" y="614"/>
                </a:lnTo>
                <a:lnTo>
                  <a:pt x="86" y="605"/>
                </a:lnTo>
                <a:lnTo>
                  <a:pt x="92" y="594"/>
                </a:lnTo>
                <a:lnTo>
                  <a:pt x="98" y="586"/>
                </a:lnTo>
                <a:lnTo>
                  <a:pt x="106" y="578"/>
                </a:lnTo>
                <a:lnTo>
                  <a:pt x="114" y="571"/>
                </a:lnTo>
                <a:lnTo>
                  <a:pt x="122" y="564"/>
                </a:lnTo>
                <a:lnTo>
                  <a:pt x="131" y="559"/>
                </a:lnTo>
                <a:lnTo>
                  <a:pt x="142" y="554"/>
                </a:lnTo>
                <a:lnTo>
                  <a:pt x="152" y="551"/>
                </a:lnTo>
                <a:lnTo>
                  <a:pt x="162" y="547"/>
                </a:lnTo>
                <a:lnTo>
                  <a:pt x="174" y="546"/>
                </a:lnTo>
                <a:lnTo>
                  <a:pt x="185" y="545"/>
                </a:lnTo>
                <a:close/>
                <a:moveTo>
                  <a:pt x="185" y="597"/>
                </a:moveTo>
                <a:lnTo>
                  <a:pt x="191" y="597"/>
                </a:lnTo>
                <a:lnTo>
                  <a:pt x="198" y="598"/>
                </a:lnTo>
                <a:lnTo>
                  <a:pt x="204" y="599"/>
                </a:lnTo>
                <a:lnTo>
                  <a:pt x="210" y="601"/>
                </a:lnTo>
                <a:lnTo>
                  <a:pt x="220" y="607"/>
                </a:lnTo>
                <a:lnTo>
                  <a:pt x="229" y="614"/>
                </a:lnTo>
                <a:lnTo>
                  <a:pt x="236" y="623"/>
                </a:lnTo>
                <a:lnTo>
                  <a:pt x="242" y="634"/>
                </a:lnTo>
                <a:lnTo>
                  <a:pt x="244" y="639"/>
                </a:lnTo>
                <a:lnTo>
                  <a:pt x="245" y="645"/>
                </a:lnTo>
                <a:lnTo>
                  <a:pt x="246" y="652"/>
                </a:lnTo>
                <a:lnTo>
                  <a:pt x="246" y="658"/>
                </a:lnTo>
                <a:lnTo>
                  <a:pt x="246" y="665"/>
                </a:lnTo>
                <a:lnTo>
                  <a:pt x="245" y="670"/>
                </a:lnTo>
                <a:lnTo>
                  <a:pt x="244" y="676"/>
                </a:lnTo>
                <a:lnTo>
                  <a:pt x="242" y="682"/>
                </a:lnTo>
                <a:lnTo>
                  <a:pt x="236" y="692"/>
                </a:lnTo>
                <a:lnTo>
                  <a:pt x="229" y="701"/>
                </a:lnTo>
                <a:lnTo>
                  <a:pt x="220" y="708"/>
                </a:lnTo>
                <a:lnTo>
                  <a:pt x="210" y="714"/>
                </a:lnTo>
                <a:lnTo>
                  <a:pt x="204" y="716"/>
                </a:lnTo>
                <a:lnTo>
                  <a:pt x="198" y="718"/>
                </a:lnTo>
                <a:lnTo>
                  <a:pt x="191" y="719"/>
                </a:lnTo>
                <a:lnTo>
                  <a:pt x="185" y="720"/>
                </a:lnTo>
                <a:lnTo>
                  <a:pt x="178" y="719"/>
                </a:lnTo>
                <a:lnTo>
                  <a:pt x="173" y="718"/>
                </a:lnTo>
                <a:lnTo>
                  <a:pt x="167" y="716"/>
                </a:lnTo>
                <a:lnTo>
                  <a:pt x="161" y="714"/>
                </a:lnTo>
                <a:lnTo>
                  <a:pt x="151" y="708"/>
                </a:lnTo>
                <a:lnTo>
                  <a:pt x="142" y="701"/>
                </a:lnTo>
                <a:lnTo>
                  <a:pt x="133" y="692"/>
                </a:lnTo>
                <a:lnTo>
                  <a:pt x="129" y="682"/>
                </a:lnTo>
                <a:lnTo>
                  <a:pt x="127" y="676"/>
                </a:lnTo>
                <a:lnTo>
                  <a:pt x="124" y="670"/>
                </a:lnTo>
                <a:lnTo>
                  <a:pt x="124" y="665"/>
                </a:lnTo>
                <a:lnTo>
                  <a:pt x="123" y="658"/>
                </a:lnTo>
                <a:lnTo>
                  <a:pt x="124" y="652"/>
                </a:lnTo>
                <a:lnTo>
                  <a:pt x="124" y="645"/>
                </a:lnTo>
                <a:lnTo>
                  <a:pt x="127" y="639"/>
                </a:lnTo>
                <a:lnTo>
                  <a:pt x="129" y="634"/>
                </a:lnTo>
                <a:lnTo>
                  <a:pt x="133" y="623"/>
                </a:lnTo>
                <a:lnTo>
                  <a:pt x="142" y="614"/>
                </a:lnTo>
                <a:lnTo>
                  <a:pt x="151" y="607"/>
                </a:lnTo>
                <a:lnTo>
                  <a:pt x="161" y="601"/>
                </a:lnTo>
                <a:lnTo>
                  <a:pt x="167" y="599"/>
                </a:lnTo>
                <a:lnTo>
                  <a:pt x="173" y="598"/>
                </a:lnTo>
                <a:lnTo>
                  <a:pt x="178" y="597"/>
                </a:lnTo>
                <a:lnTo>
                  <a:pt x="185" y="597"/>
                </a:lnTo>
                <a:close/>
                <a:moveTo>
                  <a:pt x="459" y="415"/>
                </a:moveTo>
                <a:lnTo>
                  <a:pt x="462" y="445"/>
                </a:lnTo>
                <a:lnTo>
                  <a:pt x="451" y="444"/>
                </a:lnTo>
                <a:lnTo>
                  <a:pt x="430" y="442"/>
                </a:lnTo>
                <a:lnTo>
                  <a:pt x="417" y="441"/>
                </a:lnTo>
                <a:lnTo>
                  <a:pt x="405" y="440"/>
                </a:lnTo>
                <a:lnTo>
                  <a:pt x="396" y="438"/>
                </a:lnTo>
                <a:lnTo>
                  <a:pt x="390" y="435"/>
                </a:lnTo>
                <a:lnTo>
                  <a:pt x="387" y="432"/>
                </a:lnTo>
                <a:lnTo>
                  <a:pt x="386" y="430"/>
                </a:lnTo>
                <a:lnTo>
                  <a:pt x="385" y="426"/>
                </a:lnTo>
                <a:lnTo>
                  <a:pt x="385" y="424"/>
                </a:lnTo>
                <a:lnTo>
                  <a:pt x="385" y="420"/>
                </a:lnTo>
                <a:lnTo>
                  <a:pt x="386" y="419"/>
                </a:lnTo>
                <a:lnTo>
                  <a:pt x="459" y="415"/>
                </a:lnTo>
                <a:close/>
                <a:moveTo>
                  <a:pt x="201" y="415"/>
                </a:moveTo>
                <a:lnTo>
                  <a:pt x="222" y="379"/>
                </a:lnTo>
                <a:lnTo>
                  <a:pt x="249" y="335"/>
                </a:lnTo>
                <a:lnTo>
                  <a:pt x="275" y="294"/>
                </a:lnTo>
                <a:lnTo>
                  <a:pt x="297" y="260"/>
                </a:lnTo>
                <a:lnTo>
                  <a:pt x="332" y="258"/>
                </a:lnTo>
                <a:lnTo>
                  <a:pt x="371" y="256"/>
                </a:lnTo>
                <a:lnTo>
                  <a:pt x="412" y="255"/>
                </a:lnTo>
                <a:lnTo>
                  <a:pt x="456" y="253"/>
                </a:lnTo>
                <a:lnTo>
                  <a:pt x="457" y="287"/>
                </a:lnTo>
                <a:lnTo>
                  <a:pt x="457" y="319"/>
                </a:lnTo>
                <a:lnTo>
                  <a:pt x="458" y="353"/>
                </a:lnTo>
                <a:lnTo>
                  <a:pt x="458" y="386"/>
                </a:lnTo>
                <a:lnTo>
                  <a:pt x="304" y="389"/>
                </a:lnTo>
                <a:lnTo>
                  <a:pt x="288" y="412"/>
                </a:lnTo>
                <a:lnTo>
                  <a:pt x="201" y="415"/>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3" name="Freeform 122"/>
          <p:cNvSpPr>
            <a:spLocks noEditPoints="1"/>
          </p:cNvSpPr>
          <p:nvPr/>
        </p:nvSpPr>
        <p:spPr bwMode="auto">
          <a:xfrm>
            <a:off x="10933606" y="1057357"/>
            <a:ext cx="349823" cy="383999"/>
          </a:xfrm>
          <a:custGeom>
            <a:avLst/>
            <a:gdLst>
              <a:gd name="T0" fmla="*/ 42 w 1861"/>
              <a:gd name="T1" fmla="*/ 931 h 2159"/>
              <a:gd name="T2" fmla="*/ 568 w 1861"/>
              <a:gd name="T3" fmla="*/ 443 h 2159"/>
              <a:gd name="T4" fmla="*/ 1506 w 1861"/>
              <a:gd name="T5" fmla="*/ 19 h 2159"/>
              <a:gd name="T6" fmla="*/ 1861 w 1861"/>
              <a:gd name="T7" fmla="*/ 2151 h 2159"/>
              <a:gd name="T8" fmla="*/ 1376 w 1861"/>
              <a:gd name="T9" fmla="*/ 205 h 2159"/>
              <a:gd name="T10" fmla="*/ 970 w 1861"/>
              <a:gd name="T11" fmla="*/ 606 h 2159"/>
              <a:gd name="T12" fmla="*/ 981 w 1861"/>
              <a:gd name="T13" fmla="*/ 610 h 2159"/>
              <a:gd name="T14" fmla="*/ 1335 w 1861"/>
              <a:gd name="T15" fmla="*/ 2146 h 2159"/>
              <a:gd name="T16" fmla="*/ 850 w 1861"/>
              <a:gd name="T17" fmla="*/ 785 h 2159"/>
              <a:gd name="T18" fmla="*/ 108 w 1861"/>
              <a:gd name="T19" fmla="*/ 2159 h 2159"/>
              <a:gd name="T20" fmla="*/ 277 w 1861"/>
              <a:gd name="T21" fmla="*/ 2142 h 2159"/>
              <a:gd name="T22" fmla="*/ 390 w 1861"/>
              <a:gd name="T23" fmla="*/ 2142 h 2159"/>
              <a:gd name="T24" fmla="*/ 512 w 1861"/>
              <a:gd name="T25" fmla="*/ 2142 h 2159"/>
              <a:gd name="T26" fmla="*/ 646 w 1861"/>
              <a:gd name="T27" fmla="*/ 2142 h 2159"/>
              <a:gd name="T28" fmla="*/ 751 w 1861"/>
              <a:gd name="T29" fmla="*/ 2113 h 2159"/>
              <a:gd name="T30" fmla="*/ 751 w 1861"/>
              <a:gd name="T31" fmla="*/ 1998 h 2159"/>
              <a:gd name="T32" fmla="*/ 716 w 1861"/>
              <a:gd name="T33" fmla="*/ 1915 h 2159"/>
              <a:gd name="T34" fmla="*/ 578 w 1861"/>
              <a:gd name="T35" fmla="*/ 1924 h 2159"/>
              <a:gd name="T36" fmla="*/ 450 w 1861"/>
              <a:gd name="T37" fmla="*/ 1933 h 2159"/>
              <a:gd name="T38" fmla="*/ 333 w 1861"/>
              <a:gd name="T39" fmla="*/ 1940 h 2159"/>
              <a:gd name="T40" fmla="*/ 249 w 1861"/>
              <a:gd name="T41" fmla="*/ 1970 h 2159"/>
              <a:gd name="T42" fmla="*/ 249 w 1861"/>
              <a:gd name="T43" fmla="*/ 2068 h 2159"/>
              <a:gd name="T44" fmla="*/ 249 w 1861"/>
              <a:gd name="T45" fmla="*/ 1293 h 2159"/>
              <a:gd name="T46" fmla="*/ 361 w 1861"/>
              <a:gd name="T47" fmla="*/ 1260 h 2159"/>
              <a:gd name="T48" fmla="*/ 480 w 1861"/>
              <a:gd name="T49" fmla="*/ 1227 h 2159"/>
              <a:gd name="T50" fmla="*/ 612 w 1861"/>
              <a:gd name="T51" fmla="*/ 1190 h 2159"/>
              <a:gd name="T52" fmla="*/ 751 w 1861"/>
              <a:gd name="T53" fmla="*/ 1151 h 2159"/>
              <a:gd name="T54" fmla="*/ 751 w 1861"/>
              <a:gd name="T55" fmla="*/ 1036 h 2159"/>
              <a:gd name="T56" fmla="*/ 751 w 1861"/>
              <a:gd name="T57" fmla="*/ 920 h 2159"/>
              <a:gd name="T58" fmla="*/ 612 w 1861"/>
              <a:gd name="T59" fmla="*/ 969 h 2159"/>
              <a:gd name="T60" fmla="*/ 480 w 1861"/>
              <a:gd name="T61" fmla="*/ 1015 h 2159"/>
              <a:gd name="T62" fmla="*/ 361 w 1861"/>
              <a:gd name="T63" fmla="*/ 1056 h 2159"/>
              <a:gd name="T64" fmla="*/ 249 w 1861"/>
              <a:gd name="T65" fmla="*/ 1096 h 2159"/>
              <a:gd name="T66" fmla="*/ 249 w 1861"/>
              <a:gd name="T67" fmla="*/ 1195 h 2159"/>
              <a:gd name="T68" fmla="*/ 249 w 1861"/>
              <a:gd name="T69" fmla="*/ 1293 h 2159"/>
              <a:gd name="T70" fmla="*/ 333 w 1861"/>
              <a:gd name="T71" fmla="*/ 1557 h 2159"/>
              <a:gd name="T72" fmla="*/ 450 w 1861"/>
              <a:gd name="T73" fmla="*/ 1536 h 2159"/>
              <a:gd name="T74" fmla="*/ 578 w 1861"/>
              <a:gd name="T75" fmla="*/ 1511 h 2159"/>
              <a:gd name="T76" fmla="*/ 716 w 1861"/>
              <a:gd name="T77" fmla="*/ 1484 h 2159"/>
              <a:gd name="T78" fmla="*/ 751 w 1861"/>
              <a:gd name="T79" fmla="*/ 1392 h 2159"/>
              <a:gd name="T80" fmla="*/ 751 w 1861"/>
              <a:gd name="T81" fmla="*/ 1277 h 2159"/>
              <a:gd name="T82" fmla="*/ 646 w 1861"/>
              <a:gd name="T83" fmla="*/ 1275 h 2159"/>
              <a:gd name="T84" fmla="*/ 512 w 1861"/>
              <a:gd name="T85" fmla="*/ 1309 h 2159"/>
              <a:gd name="T86" fmla="*/ 390 w 1861"/>
              <a:gd name="T87" fmla="*/ 1341 h 2159"/>
              <a:gd name="T88" fmla="*/ 277 w 1861"/>
              <a:gd name="T89" fmla="*/ 1370 h 2159"/>
              <a:gd name="T90" fmla="*/ 249 w 1861"/>
              <a:gd name="T91" fmla="*/ 1450 h 2159"/>
              <a:gd name="T92" fmla="*/ 249 w 1861"/>
              <a:gd name="T93" fmla="*/ 1549 h 2159"/>
              <a:gd name="T94" fmla="*/ 304 w 1861"/>
              <a:gd name="T95" fmla="*/ 1850 h 2159"/>
              <a:gd name="T96" fmla="*/ 420 w 1861"/>
              <a:gd name="T97" fmla="*/ 1840 h 2159"/>
              <a:gd name="T98" fmla="*/ 545 w 1861"/>
              <a:gd name="T99" fmla="*/ 1827 h 2159"/>
              <a:gd name="T100" fmla="*/ 680 w 1861"/>
              <a:gd name="T101" fmla="*/ 1815 h 2159"/>
              <a:gd name="T102" fmla="*/ 751 w 1861"/>
              <a:gd name="T103" fmla="*/ 1750 h 2159"/>
              <a:gd name="T104" fmla="*/ 751 w 1861"/>
              <a:gd name="T105" fmla="*/ 1636 h 2159"/>
              <a:gd name="T106" fmla="*/ 680 w 1861"/>
              <a:gd name="T107" fmla="*/ 1590 h 2159"/>
              <a:gd name="T108" fmla="*/ 545 w 1861"/>
              <a:gd name="T109" fmla="*/ 1612 h 2159"/>
              <a:gd name="T110" fmla="*/ 420 w 1861"/>
              <a:gd name="T111" fmla="*/ 1631 h 2159"/>
              <a:gd name="T112" fmla="*/ 304 w 1861"/>
              <a:gd name="T113" fmla="*/ 1650 h 2159"/>
              <a:gd name="T114" fmla="*/ 249 w 1861"/>
              <a:gd name="T115" fmla="*/ 1709 h 2159"/>
              <a:gd name="T116" fmla="*/ 249 w 1861"/>
              <a:gd name="T117" fmla="*/ 1807 h 2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61" h="2159">
                <a:moveTo>
                  <a:pt x="0" y="2029"/>
                </a:moveTo>
                <a:lnTo>
                  <a:pt x="42" y="2029"/>
                </a:lnTo>
                <a:lnTo>
                  <a:pt x="42" y="977"/>
                </a:lnTo>
                <a:lnTo>
                  <a:pt x="42" y="931"/>
                </a:lnTo>
                <a:lnTo>
                  <a:pt x="86" y="915"/>
                </a:lnTo>
                <a:lnTo>
                  <a:pt x="568" y="746"/>
                </a:lnTo>
                <a:lnTo>
                  <a:pt x="568" y="484"/>
                </a:lnTo>
                <a:lnTo>
                  <a:pt x="568" y="443"/>
                </a:lnTo>
                <a:lnTo>
                  <a:pt x="605" y="425"/>
                </a:lnTo>
                <a:lnTo>
                  <a:pt x="1413" y="44"/>
                </a:lnTo>
                <a:lnTo>
                  <a:pt x="1506" y="0"/>
                </a:lnTo>
                <a:lnTo>
                  <a:pt x="1506" y="19"/>
                </a:lnTo>
                <a:lnTo>
                  <a:pt x="1762" y="170"/>
                </a:lnTo>
                <a:lnTo>
                  <a:pt x="1762" y="2020"/>
                </a:lnTo>
                <a:lnTo>
                  <a:pt x="1861" y="2020"/>
                </a:lnTo>
                <a:lnTo>
                  <a:pt x="1861" y="2151"/>
                </a:lnTo>
                <a:lnTo>
                  <a:pt x="1442" y="2151"/>
                </a:lnTo>
                <a:lnTo>
                  <a:pt x="1376" y="2151"/>
                </a:lnTo>
                <a:lnTo>
                  <a:pt x="1376" y="2085"/>
                </a:lnTo>
                <a:lnTo>
                  <a:pt x="1376" y="205"/>
                </a:lnTo>
                <a:lnTo>
                  <a:pt x="698" y="525"/>
                </a:lnTo>
                <a:lnTo>
                  <a:pt x="698" y="700"/>
                </a:lnTo>
                <a:lnTo>
                  <a:pt x="894" y="632"/>
                </a:lnTo>
                <a:lnTo>
                  <a:pt x="970" y="606"/>
                </a:lnTo>
                <a:lnTo>
                  <a:pt x="970" y="604"/>
                </a:lnTo>
                <a:lnTo>
                  <a:pt x="972" y="605"/>
                </a:lnTo>
                <a:lnTo>
                  <a:pt x="981" y="601"/>
                </a:lnTo>
                <a:lnTo>
                  <a:pt x="981" y="610"/>
                </a:lnTo>
                <a:lnTo>
                  <a:pt x="1234" y="761"/>
                </a:lnTo>
                <a:lnTo>
                  <a:pt x="1234" y="2016"/>
                </a:lnTo>
                <a:lnTo>
                  <a:pt x="1335" y="2016"/>
                </a:lnTo>
                <a:lnTo>
                  <a:pt x="1335" y="2146"/>
                </a:lnTo>
                <a:lnTo>
                  <a:pt x="916" y="2146"/>
                </a:lnTo>
                <a:lnTo>
                  <a:pt x="850" y="2146"/>
                </a:lnTo>
                <a:lnTo>
                  <a:pt x="850" y="2082"/>
                </a:lnTo>
                <a:lnTo>
                  <a:pt x="850" y="785"/>
                </a:lnTo>
                <a:lnTo>
                  <a:pt x="172" y="1023"/>
                </a:lnTo>
                <a:lnTo>
                  <a:pt x="172" y="2093"/>
                </a:lnTo>
                <a:lnTo>
                  <a:pt x="172" y="2159"/>
                </a:lnTo>
                <a:lnTo>
                  <a:pt x="108" y="2159"/>
                </a:lnTo>
                <a:lnTo>
                  <a:pt x="0" y="2159"/>
                </a:lnTo>
                <a:lnTo>
                  <a:pt x="0" y="2029"/>
                </a:lnTo>
                <a:close/>
                <a:moveTo>
                  <a:pt x="249" y="2142"/>
                </a:moveTo>
                <a:lnTo>
                  <a:pt x="277" y="2142"/>
                </a:lnTo>
                <a:lnTo>
                  <a:pt x="304" y="2142"/>
                </a:lnTo>
                <a:lnTo>
                  <a:pt x="333" y="2142"/>
                </a:lnTo>
                <a:lnTo>
                  <a:pt x="361" y="2142"/>
                </a:lnTo>
                <a:lnTo>
                  <a:pt x="390" y="2142"/>
                </a:lnTo>
                <a:lnTo>
                  <a:pt x="420" y="2142"/>
                </a:lnTo>
                <a:lnTo>
                  <a:pt x="450" y="2142"/>
                </a:lnTo>
                <a:lnTo>
                  <a:pt x="480" y="2142"/>
                </a:lnTo>
                <a:lnTo>
                  <a:pt x="512" y="2142"/>
                </a:lnTo>
                <a:lnTo>
                  <a:pt x="545" y="2142"/>
                </a:lnTo>
                <a:lnTo>
                  <a:pt x="578" y="2142"/>
                </a:lnTo>
                <a:lnTo>
                  <a:pt x="612" y="2142"/>
                </a:lnTo>
                <a:lnTo>
                  <a:pt x="646" y="2142"/>
                </a:lnTo>
                <a:lnTo>
                  <a:pt x="680" y="2142"/>
                </a:lnTo>
                <a:lnTo>
                  <a:pt x="716" y="2142"/>
                </a:lnTo>
                <a:lnTo>
                  <a:pt x="751" y="2142"/>
                </a:lnTo>
                <a:lnTo>
                  <a:pt x="751" y="2113"/>
                </a:lnTo>
                <a:lnTo>
                  <a:pt x="751" y="2085"/>
                </a:lnTo>
                <a:lnTo>
                  <a:pt x="751" y="2056"/>
                </a:lnTo>
                <a:lnTo>
                  <a:pt x="751" y="2028"/>
                </a:lnTo>
                <a:lnTo>
                  <a:pt x="751" y="1998"/>
                </a:lnTo>
                <a:lnTo>
                  <a:pt x="751" y="1970"/>
                </a:lnTo>
                <a:lnTo>
                  <a:pt x="751" y="1941"/>
                </a:lnTo>
                <a:lnTo>
                  <a:pt x="751" y="1913"/>
                </a:lnTo>
                <a:lnTo>
                  <a:pt x="716" y="1915"/>
                </a:lnTo>
                <a:lnTo>
                  <a:pt x="680" y="1917"/>
                </a:lnTo>
                <a:lnTo>
                  <a:pt x="646" y="1919"/>
                </a:lnTo>
                <a:lnTo>
                  <a:pt x="612" y="1921"/>
                </a:lnTo>
                <a:lnTo>
                  <a:pt x="578" y="1924"/>
                </a:lnTo>
                <a:lnTo>
                  <a:pt x="545" y="1926"/>
                </a:lnTo>
                <a:lnTo>
                  <a:pt x="512" y="1929"/>
                </a:lnTo>
                <a:lnTo>
                  <a:pt x="480" y="1931"/>
                </a:lnTo>
                <a:lnTo>
                  <a:pt x="450" y="1933"/>
                </a:lnTo>
                <a:lnTo>
                  <a:pt x="420" y="1934"/>
                </a:lnTo>
                <a:lnTo>
                  <a:pt x="390" y="1936"/>
                </a:lnTo>
                <a:lnTo>
                  <a:pt x="361" y="1938"/>
                </a:lnTo>
                <a:lnTo>
                  <a:pt x="333" y="1940"/>
                </a:lnTo>
                <a:lnTo>
                  <a:pt x="304" y="1942"/>
                </a:lnTo>
                <a:lnTo>
                  <a:pt x="277" y="1944"/>
                </a:lnTo>
                <a:lnTo>
                  <a:pt x="249" y="1945"/>
                </a:lnTo>
                <a:lnTo>
                  <a:pt x="249" y="1970"/>
                </a:lnTo>
                <a:lnTo>
                  <a:pt x="249" y="1995"/>
                </a:lnTo>
                <a:lnTo>
                  <a:pt x="249" y="2019"/>
                </a:lnTo>
                <a:lnTo>
                  <a:pt x="249" y="2044"/>
                </a:lnTo>
                <a:lnTo>
                  <a:pt x="249" y="2068"/>
                </a:lnTo>
                <a:lnTo>
                  <a:pt x="249" y="2093"/>
                </a:lnTo>
                <a:lnTo>
                  <a:pt x="249" y="2117"/>
                </a:lnTo>
                <a:lnTo>
                  <a:pt x="249" y="2142"/>
                </a:lnTo>
                <a:close/>
                <a:moveTo>
                  <a:pt x="249" y="1293"/>
                </a:moveTo>
                <a:lnTo>
                  <a:pt x="277" y="1285"/>
                </a:lnTo>
                <a:lnTo>
                  <a:pt x="304" y="1277"/>
                </a:lnTo>
                <a:lnTo>
                  <a:pt x="333" y="1269"/>
                </a:lnTo>
                <a:lnTo>
                  <a:pt x="361" y="1260"/>
                </a:lnTo>
                <a:lnTo>
                  <a:pt x="390" y="1253"/>
                </a:lnTo>
                <a:lnTo>
                  <a:pt x="420" y="1245"/>
                </a:lnTo>
                <a:lnTo>
                  <a:pt x="450" y="1235"/>
                </a:lnTo>
                <a:lnTo>
                  <a:pt x="480" y="1227"/>
                </a:lnTo>
                <a:lnTo>
                  <a:pt x="512" y="1218"/>
                </a:lnTo>
                <a:lnTo>
                  <a:pt x="545" y="1209"/>
                </a:lnTo>
                <a:lnTo>
                  <a:pt x="578" y="1200"/>
                </a:lnTo>
                <a:lnTo>
                  <a:pt x="612" y="1190"/>
                </a:lnTo>
                <a:lnTo>
                  <a:pt x="646" y="1180"/>
                </a:lnTo>
                <a:lnTo>
                  <a:pt x="680" y="1171"/>
                </a:lnTo>
                <a:lnTo>
                  <a:pt x="716" y="1160"/>
                </a:lnTo>
                <a:lnTo>
                  <a:pt x="751" y="1151"/>
                </a:lnTo>
                <a:lnTo>
                  <a:pt x="751" y="1122"/>
                </a:lnTo>
                <a:lnTo>
                  <a:pt x="751" y="1094"/>
                </a:lnTo>
                <a:lnTo>
                  <a:pt x="751" y="1064"/>
                </a:lnTo>
                <a:lnTo>
                  <a:pt x="751" y="1036"/>
                </a:lnTo>
                <a:lnTo>
                  <a:pt x="751" y="1007"/>
                </a:lnTo>
                <a:lnTo>
                  <a:pt x="751" y="979"/>
                </a:lnTo>
                <a:lnTo>
                  <a:pt x="751" y="950"/>
                </a:lnTo>
                <a:lnTo>
                  <a:pt x="751" y="920"/>
                </a:lnTo>
                <a:lnTo>
                  <a:pt x="716" y="933"/>
                </a:lnTo>
                <a:lnTo>
                  <a:pt x="680" y="945"/>
                </a:lnTo>
                <a:lnTo>
                  <a:pt x="646" y="957"/>
                </a:lnTo>
                <a:lnTo>
                  <a:pt x="612" y="969"/>
                </a:lnTo>
                <a:lnTo>
                  <a:pt x="578" y="981"/>
                </a:lnTo>
                <a:lnTo>
                  <a:pt x="545" y="992"/>
                </a:lnTo>
                <a:lnTo>
                  <a:pt x="512" y="1004"/>
                </a:lnTo>
                <a:lnTo>
                  <a:pt x="480" y="1015"/>
                </a:lnTo>
                <a:lnTo>
                  <a:pt x="450" y="1026"/>
                </a:lnTo>
                <a:lnTo>
                  <a:pt x="420" y="1036"/>
                </a:lnTo>
                <a:lnTo>
                  <a:pt x="390" y="1047"/>
                </a:lnTo>
                <a:lnTo>
                  <a:pt x="361" y="1056"/>
                </a:lnTo>
                <a:lnTo>
                  <a:pt x="333" y="1066"/>
                </a:lnTo>
                <a:lnTo>
                  <a:pt x="304" y="1077"/>
                </a:lnTo>
                <a:lnTo>
                  <a:pt x="277" y="1086"/>
                </a:lnTo>
                <a:lnTo>
                  <a:pt x="249" y="1096"/>
                </a:lnTo>
                <a:lnTo>
                  <a:pt x="249" y="1121"/>
                </a:lnTo>
                <a:lnTo>
                  <a:pt x="249" y="1145"/>
                </a:lnTo>
                <a:lnTo>
                  <a:pt x="249" y="1170"/>
                </a:lnTo>
                <a:lnTo>
                  <a:pt x="249" y="1195"/>
                </a:lnTo>
                <a:lnTo>
                  <a:pt x="249" y="1219"/>
                </a:lnTo>
                <a:lnTo>
                  <a:pt x="249" y="1244"/>
                </a:lnTo>
                <a:lnTo>
                  <a:pt x="249" y="1269"/>
                </a:lnTo>
                <a:lnTo>
                  <a:pt x="249" y="1293"/>
                </a:lnTo>
                <a:close/>
                <a:moveTo>
                  <a:pt x="249" y="1573"/>
                </a:moveTo>
                <a:lnTo>
                  <a:pt x="277" y="1568"/>
                </a:lnTo>
                <a:lnTo>
                  <a:pt x="304" y="1563"/>
                </a:lnTo>
                <a:lnTo>
                  <a:pt x="333" y="1557"/>
                </a:lnTo>
                <a:lnTo>
                  <a:pt x="361" y="1552"/>
                </a:lnTo>
                <a:lnTo>
                  <a:pt x="390" y="1546"/>
                </a:lnTo>
                <a:lnTo>
                  <a:pt x="420" y="1541"/>
                </a:lnTo>
                <a:lnTo>
                  <a:pt x="450" y="1536"/>
                </a:lnTo>
                <a:lnTo>
                  <a:pt x="480" y="1529"/>
                </a:lnTo>
                <a:lnTo>
                  <a:pt x="512" y="1523"/>
                </a:lnTo>
                <a:lnTo>
                  <a:pt x="545" y="1517"/>
                </a:lnTo>
                <a:lnTo>
                  <a:pt x="578" y="1511"/>
                </a:lnTo>
                <a:lnTo>
                  <a:pt x="612" y="1504"/>
                </a:lnTo>
                <a:lnTo>
                  <a:pt x="646" y="1498"/>
                </a:lnTo>
                <a:lnTo>
                  <a:pt x="680" y="1492"/>
                </a:lnTo>
                <a:lnTo>
                  <a:pt x="716" y="1484"/>
                </a:lnTo>
                <a:lnTo>
                  <a:pt x="751" y="1478"/>
                </a:lnTo>
                <a:lnTo>
                  <a:pt x="751" y="1449"/>
                </a:lnTo>
                <a:lnTo>
                  <a:pt x="751" y="1421"/>
                </a:lnTo>
                <a:lnTo>
                  <a:pt x="751" y="1392"/>
                </a:lnTo>
                <a:lnTo>
                  <a:pt x="751" y="1364"/>
                </a:lnTo>
                <a:lnTo>
                  <a:pt x="751" y="1334"/>
                </a:lnTo>
                <a:lnTo>
                  <a:pt x="751" y="1306"/>
                </a:lnTo>
                <a:lnTo>
                  <a:pt x="751" y="1277"/>
                </a:lnTo>
                <a:lnTo>
                  <a:pt x="751" y="1249"/>
                </a:lnTo>
                <a:lnTo>
                  <a:pt x="716" y="1257"/>
                </a:lnTo>
                <a:lnTo>
                  <a:pt x="680" y="1267"/>
                </a:lnTo>
                <a:lnTo>
                  <a:pt x="646" y="1275"/>
                </a:lnTo>
                <a:lnTo>
                  <a:pt x="612" y="1284"/>
                </a:lnTo>
                <a:lnTo>
                  <a:pt x="578" y="1293"/>
                </a:lnTo>
                <a:lnTo>
                  <a:pt x="545" y="1301"/>
                </a:lnTo>
                <a:lnTo>
                  <a:pt x="512" y="1309"/>
                </a:lnTo>
                <a:lnTo>
                  <a:pt x="480" y="1318"/>
                </a:lnTo>
                <a:lnTo>
                  <a:pt x="450" y="1325"/>
                </a:lnTo>
                <a:lnTo>
                  <a:pt x="420" y="1332"/>
                </a:lnTo>
                <a:lnTo>
                  <a:pt x="390" y="1341"/>
                </a:lnTo>
                <a:lnTo>
                  <a:pt x="361" y="1348"/>
                </a:lnTo>
                <a:lnTo>
                  <a:pt x="333" y="1355"/>
                </a:lnTo>
                <a:lnTo>
                  <a:pt x="304" y="1362"/>
                </a:lnTo>
                <a:lnTo>
                  <a:pt x="277" y="1370"/>
                </a:lnTo>
                <a:lnTo>
                  <a:pt x="249" y="1376"/>
                </a:lnTo>
                <a:lnTo>
                  <a:pt x="249" y="1401"/>
                </a:lnTo>
                <a:lnTo>
                  <a:pt x="249" y="1426"/>
                </a:lnTo>
                <a:lnTo>
                  <a:pt x="249" y="1450"/>
                </a:lnTo>
                <a:lnTo>
                  <a:pt x="249" y="1475"/>
                </a:lnTo>
                <a:lnTo>
                  <a:pt x="249" y="1499"/>
                </a:lnTo>
                <a:lnTo>
                  <a:pt x="249" y="1524"/>
                </a:lnTo>
                <a:lnTo>
                  <a:pt x="249" y="1549"/>
                </a:lnTo>
                <a:lnTo>
                  <a:pt x="249" y="1573"/>
                </a:lnTo>
                <a:close/>
                <a:moveTo>
                  <a:pt x="249" y="1856"/>
                </a:moveTo>
                <a:lnTo>
                  <a:pt x="277" y="1853"/>
                </a:lnTo>
                <a:lnTo>
                  <a:pt x="304" y="1850"/>
                </a:lnTo>
                <a:lnTo>
                  <a:pt x="333" y="1847"/>
                </a:lnTo>
                <a:lnTo>
                  <a:pt x="361" y="1845"/>
                </a:lnTo>
                <a:lnTo>
                  <a:pt x="390" y="1842"/>
                </a:lnTo>
                <a:lnTo>
                  <a:pt x="420" y="1840"/>
                </a:lnTo>
                <a:lnTo>
                  <a:pt x="450" y="1837"/>
                </a:lnTo>
                <a:lnTo>
                  <a:pt x="480" y="1834"/>
                </a:lnTo>
                <a:lnTo>
                  <a:pt x="512" y="1831"/>
                </a:lnTo>
                <a:lnTo>
                  <a:pt x="545" y="1827"/>
                </a:lnTo>
                <a:lnTo>
                  <a:pt x="578" y="1824"/>
                </a:lnTo>
                <a:lnTo>
                  <a:pt x="612" y="1821"/>
                </a:lnTo>
                <a:lnTo>
                  <a:pt x="646" y="1818"/>
                </a:lnTo>
                <a:lnTo>
                  <a:pt x="680" y="1815"/>
                </a:lnTo>
                <a:lnTo>
                  <a:pt x="716" y="1811"/>
                </a:lnTo>
                <a:lnTo>
                  <a:pt x="751" y="1808"/>
                </a:lnTo>
                <a:lnTo>
                  <a:pt x="751" y="1779"/>
                </a:lnTo>
                <a:lnTo>
                  <a:pt x="751" y="1750"/>
                </a:lnTo>
                <a:lnTo>
                  <a:pt x="751" y="1722"/>
                </a:lnTo>
                <a:lnTo>
                  <a:pt x="751" y="1693"/>
                </a:lnTo>
                <a:lnTo>
                  <a:pt x="751" y="1665"/>
                </a:lnTo>
                <a:lnTo>
                  <a:pt x="751" y="1636"/>
                </a:lnTo>
                <a:lnTo>
                  <a:pt x="751" y="1607"/>
                </a:lnTo>
                <a:lnTo>
                  <a:pt x="751" y="1578"/>
                </a:lnTo>
                <a:lnTo>
                  <a:pt x="716" y="1585"/>
                </a:lnTo>
                <a:lnTo>
                  <a:pt x="680" y="1590"/>
                </a:lnTo>
                <a:lnTo>
                  <a:pt x="646" y="1595"/>
                </a:lnTo>
                <a:lnTo>
                  <a:pt x="612" y="1600"/>
                </a:lnTo>
                <a:lnTo>
                  <a:pt x="578" y="1606"/>
                </a:lnTo>
                <a:lnTo>
                  <a:pt x="545" y="1612"/>
                </a:lnTo>
                <a:lnTo>
                  <a:pt x="512" y="1617"/>
                </a:lnTo>
                <a:lnTo>
                  <a:pt x="480" y="1622"/>
                </a:lnTo>
                <a:lnTo>
                  <a:pt x="450" y="1626"/>
                </a:lnTo>
                <a:lnTo>
                  <a:pt x="420" y="1631"/>
                </a:lnTo>
                <a:lnTo>
                  <a:pt x="390" y="1637"/>
                </a:lnTo>
                <a:lnTo>
                  <a:pt x="361" y="1641"/>
                </a:lnTo>
                <a:lnTo>
                  <a:pt x="333" y="1646"/>
                </a:lnTo>
                <a:lnTo>
                  <a:pt x="304" y="1650"/>
                </a:lnTo>
                <a:lnTo>
                  <a:pt x="277" y="1654"/>
                </a:lnTo>
                <a:lnTo>
                  <a:pt x="249" y="1659"/>
                </a:lnTo>
                <a:lnTo>
                  <a:pt x="249" y="1684"/>
                </a:lnTo>
                <a:lnTo>
                  <a:pt x="249" y="1709"/>
                </a:lnTo>
                <a:lnTo>
                  <a:pt x="249" y="1733"/>
                </a:lnTo>
                <a:lnTo>
                  <a:pt x="249" y="1758"/>
                </a:lnTo>
                <a:lnTo>
                  <a:pt x="249" y="1782"/>
                </a:lnTo>
                <a:lnTo>
                  <a:pt x="249" y="1807"/>
                </a:lnTo>
                <a:lnTo>
                  <a:pt x="249" y="1832"/>
                </a:lnTo>
                <a:lnTo>
                  <a:pt x="249" y="18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7" name="Freeform 14"/>
          <p:cNvSpPr>
            <a:spLocks noEditPoints="1"/>
          </p:cNvSpPr>
          <p:nvPr/>
        </p:nvSpPr>
        <p:spPr bwMode="auto">
          <a:xfrm>
            <a:off x="5972302" y="1047037"/>
            <a:ext cx="375356" cy="431934"/>
          </a:xfrm>
          <a:custGeom>
            <a:avLst/>
            <a:gdLst>
              <a:gd name="T0" fmla="*/ 964 w 2191"/>
              <a:gd name="T1" fmla="*/ 2209 h 2670"/>
              <a:gd name="T2" fmla="*/ 1141 w 2191"/>
              <a:gd name="T3" fmla="*/ 2232 h 2670"/>
              <a:gd name="T4" fmla="*/ 1294 w 2191"/>
              <a:gd name="T5" fmla="*/ 2153 h 2670"/>
              <a:gd name="T6" fmla="*/ 1290 w 2191"/>
              <a:gd name="T7" fmla="*/ 1864 h 2670"/>
              <a:gd name="T8" fmla="*/ 1332 w 2191"/>
              <a:gd name="T9" fmla="*/ 1774 h 2670"/>
              <a:gd name="T10" fmla="*/ 1471 w 2191"/>
              <a:gd name="T11" fmla="*/ 1578 h 2670"/>
              <a:gd name="T12" fmla="*/ 1549 w 2191"/>
              <a:gd name="T13" fmla="*/ 1432 h 2670"/>
              <a:gd name="T14" fmla="*/ 1574 w 2191"/>
              <a:gd name="T15" fmla="*/ 1335 h 2670"/>
              <a:gd name="T16" fmla="*/ 1379 w 2191"/>
              <a:gd name="T17" fmla="*/ 1210 h 2670"/>
              <a:gd name="T18" fmla="*/ 1148 w 2191"/>
              <a:gd name="T19" fmla="*/ 1032 h 2670"/>
              <a:gd name="T20" fmla="*/ 1013 w 2191"/>
              <a:gd name="T21" fmla="*/ 829 h 2670"/>
              <a:gd name="T22" fmla="*/ 909 w 2191"/>
              <a:gd name="T23" fmla="*/ 972 h 2670"/>
              <a:gd name="T24" fmla="*/ 683 w 2191"/>
              <a:gd name="T25" fmla="*/ 1151 h 2670"/>
              <a:gd name="T26" fmla="*/ 619 w 2191"/>
              <a:gd name="T27" fmla="*/ 1310 h 2670"/>
              <a:gd name="T28" fmla="*/ 582 w 2191"/>
              <a:gd name="T29" fmla="*/ 1351 h 2670"/>
              <a:gd name="T30" fmla="*/ 637 w 2191"/>
              <a:gd name="T31" fmla="*/ 1466 h 2670"/>
              <a:gd name="T32" fmla="*/ 739 w 2191"/>
              <a:gd name="T33" fmla="*/ 1669 h 2670"/>
              <a:gd name="T34" fmla="*/ 869 w 2191"/>
              <a:gd name="T35" fmla="*/ 1844 h 2670"/>
              <a:gd name="T36" fmla="*/ 1708 w 2191"/>
              <a:gd name="T37" fmla="*/ 412 h 2670"/>
              <a:gd name="T38" fmla="*/ 1688 w 2191"/>
              <a:gd name="T39" fmla="*/ 1098 h 2670"/>
              <a:gd name="T40" fmla="*/ 1723 w 2191"/>
              <a:gd name="T41" fmla="*/ 1149 h 2670"/>
              <a:gd name="T42" fmla="*/ 1762 w 2191"/>
              <a:gd name="T43" fmla="*/ 1098 h 2670"/>
              <a:gd name="T44" fmla="*/ 1743 w 2191"/>
              <a:gd name="T45" fmla="*/ 412 h 2670"/>
              <a:gd name="T46" fmla="*/ 1743 w 2191"/>
              <a:gd name="T47" fmla="*/ 377 h 2670"/>
              <a:gd name="T48" fmla="*/ 1753 w 2191"/>
              <a:gd name="T49" fmla="*/ 319 h 2670"/>
              <a:gd name="T50" fmla="*/ 1736 w 2191"/>
              <a:gd name="T51" fmla="*/ 233 h 2670"/>
              <a:gd name="T52" fmla="*/ 1933 w 2191"/>
              <a:gd name="T53" fmla="*/ 135 h 2670"/>
              <a:gd name="T54" fmla="*/ 690 w 2191"/>
              <a:gd name="T55" fmla="*/ 387 h 2670"/>
              <a:gd name="T56" fmla="*/ 695 w 2191"/>
              <a:gd name="T57" fmla="*/ 667 h 2670"/>
              <a:gd name="T58" fmla="*/ 1192 w 2191"/>
              <a:gd name="T59" fmla="*/ 600 h 2670"/>
              <a:gd name="T60" fmla="*/ 1454 w 2191"/>
              <a:gd name="T61" fmla="*/ 642 h 2670"/>
              <a:gd name="T62" fmla="*/ 1478 w 2191"/>
              <a:gd name="T63" fmla="*/ 330 h 2670"/>
              <a:gd name="T64" fmla="*/ 1715 w 2191"/>
              <a:gd name="T65" fmla="*/ 254 h 2670"/>
              <a:gd name="T66" fmla="*/ 1708 w 2191"/>
              <a:gd name="T67" fmla="*/ 353 h 2670"/>
              <a:gd name="T68" fmla="*/ 1708 w 2191"/>
              <a:gd name="T69" fmla="*/ 388 h 2670"/>
              <a:gd name="T70" fmla="*/ 1464 w 2191"/>
              <a:gd name="T71" fmla="*/ 2070 h 2670"/>
              <a:gd name="T72" fmla="*/ 1800 w 2191"/>
              <a:gd name="T73" fmla="*/ 2182 h 2670"/>
              <a:gd name="T74" fmla="*/ 2076 w 2191"/>
              <a:gd name="T75" fmla="*/ 2386 h 2670"/>
              <a:gd name="T76" fmla="*/ 0 w 2191"/>
              <a:gd name="T77" fmla="*/ 2670 h 2670"/>
              <a:gd name="T78" fmla="*/ 107 w 2191"/>
              <a:gd name="T79" fmla="*/ 2392 h 2670"/>
              <a:gd name="T80" fmla="*/ 349 w 2191"/>
              <a:gd name="T81" fmla="*/ 2183 h 2670"/>
              <a:gd name="T82" fmla="*/ 720 w 2191"/>
              <a:gd name="T83" fmla="*/ 2059 h 2670"/>
              <a:gd name="T84" fmla="*/ 817 w 2191"/>
              <a:gd name="T85" fmla="*/ 1853 h 2670"/>
              <a:gd name="T86" fmla="*/ 662 w 2191"/>
              <a:gd name="T87" fmla="*/ 1647 h 2670"/>
              <a:gd name="T88" fmla="*/ 575 w 2191"/>
              <a:gd name="T89" fmla="*/ 1480 h 2670"/>
              <a:gd name="T90" fmla="*/ 530 w 2191"/>
              <a:gd name="T91" fmla="*/ 1332 h 2670"/>
              <a:gd name="T92" fmla="*/ 579 w 2191"/>
              <a:gd name="T93" fmla="*/ 1264 h 2670"/>
              <a:gd name="T94" fmla="*/ 559 w 2191"/>
              <a:gd name="T95" fmla="*/ 1062 h 2670"/>
              <a:gd name="T96" fmla="*/ 599 w 2191"/>
              <a:gd name="T97" fmla="*/ 769 h 2670"/>
              <a:gd name="T98" fmla="*/ 753 w 2191"/>
              <a:gd name="T99" fmla="*/ 683 h 2670"/>
              <a:gd name="T100" fmla="*/ 1153 w 2191"/>
              <a:gd name="T101" fmla="*/ 635 h 2670"/>
              <a:gd name="T102" fmla="*/ 1453 w 2191"/>
              <a:gd name="T103" fmla="*/ 671 h 2670"/>
              <a:gd name="T104" fmla="*/ 1568 w 2191"/>
              <a:gd name="T105" fmla="*/ 954 h 2670"/>
              <a:gd name="T106" fmla="*/ 1562 w 2191"/>
              <a:gd name="T107" fmla="*/ 1260 h 2670"/>
              <a:gd name="T108" fmla="*/ 1627 w 2191"/>
              <a:gd name="T109" fmla="*/ 1325 h 2670"/>
              <a:gd name="T110" fmla="*/ 1602 w 2191"/>
              <a:gd name="T111" fmla="*/ 1450 h 2670"/>
              <a:gd name="T112" fmla="*/ 1500 w 2191"/>
              <a:gd name="T113" fmla="*/ 1635 h 2670"/>
              <a:gd name="T114" fmla="*/ 1347 w 2191"/>
              <a:gd name="T115" fmla="*/ 1830 h 2670"/>
              <a:gd name="T116" fmla="*/ 1358 w 2191"/>
              <a:gd name="T117" fmla="*/ 2005 h 2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91" h="2670">
                <a:moveTo>
                  <a:pt x="853" y="2107"/>
                </a:moveTo>
                <a:lnTo>
                  <a:pt x="861" y="2122"/>
                </a:lnTo>
                <a:lnTo>
                  <a:pt x="871" y="2136"/>
                </a:lnTo>
                <a:lnTo>
                  <a:pt x="881" y="2150"/>
                </a:lnTo>
                <a:lnTo>
                  <a:pt x="893" y="2163"/>
                </a:lnTo>
                <a:lnTo>
                  <a:pt x="905" y="2173"/>
                </a:lnTo>
                <a:lnTo>
                  <a:pt x="919" y="2184"/>
                </a:lnTo>
                <a:lnTo>
                  <a:pt x="932" y="2194"/>
                </a:lnTo>
                <a:lnTo>
                  <a:pt x="948" y="2202"/>
                </a:lnTo>
                <a:lnTo>
                  <a:pt x="964" y="2209"/>
                </a:lnTo>
                <a:lnTo>
                  <a:pt x="980" y="2217"/>
                </a:lnTo>
                <a:lnTo>
                  <a:pt x="997" y="2222"/>
                </a:lnTo>
                <a:lnTo>
                  <a:pt x="1015" y="2227"/>
                </a:lnTo>
                <a:lnTo>
                  <a:pt x="1032" y="2230"/>
                </a:lnTo>
                <a:lnTo>
                  <a:pt x="1050" y="2234"/>
                </a:lnTo>
                <a:lnTo>
                  <a:pt x="1069" y="2236"/>
                </a:lnTo>
                <a:lnTo>
                  <a:pt x="1087" y="2237"/>
                </a:lnTo>
                <a:lnTo>
                  <a:pt x="1105" y="2236"/>
                </a:lnTo>
                <a:lnTo>
                  <a:pt x="1123" y="2235"/>
                </a:lnTo>
                <a:lnTo>
                  <a:pt x="1141" y="2232"/>
                </a:lnTo>
                <a:lnTo>
                  <a:pt x="1159" y="2229"/>
                </a:lnTo>
                <a:lnTo>
                  <a:pt x="1176" y="2225"/>
                </a:lnTo>
                <a:lnTo>
                  <a:pt x="1194" y="2220"/>
                </a:lnTo>
                <a:lnTo>
                  <a:pt x="1210" y="2214"/>
                </a:lnTo>
                <a:lnTo>
                  <a:pt x="1226" y="2206"/>
                </a:lnTo>
                <a:lnTo>
                  <a:pt x="1241" y="2198"/>
                </a:lnTo>
                <a:lnTo>
                  <a:pt x="1256" y="2188"/>
                </a:lnTo>
                <a:lnTo>
                  <a:pt x="1270" y="2177"/>
                </a:lnTo>
                <a:lnTo>
                  <a:pt x="1283" y="2166"/>
                </a:lnTo>
                <a:lnTo>
                  <a:pt x="1294" y="2153"/>
                </a:lnTo>
                <a:lnTo>
                  <a:pt x="1305" y="2140"/>
                </a:lnTo>
                <a:lnTo>
                  <a:pt x="1314" y="2124"/>
                </a:lnTo>
                <a:lnTo>
                  <a:pt x="1322" y="2108"/>
                </a:lnTo>
                <a:lnTo>
                  <a:pt x="1316" y="2075"/>
                </a:lnTo>
                <a:lnTo>
                  <a:pt x="1309" y="2032"/>
                </a:lnTo>
                <a:lnTo>
                  <a:pt x="1300" y="1984"/>
                </a:lnTo>
                <a:lnTo>
                  <a:pt x="1293" y="1935"/>
                </a:lnTo>
                <a:lnTo>
                  <a:pt x="1291" y="1910"/>
                </a:lnTo>
                <a:lnTo>
                  <a:pt x="1290" y="1887"/>
                </a:lnTo>
                <a:lnTo>
                  <a:pt x="1290" y="1864"/>
                </a:lnTo>
                <a:lnTo>
                  <a:pt x="1291" y="1844"/>
                </a:lnTo>
                <a:lnTo>
                  <a:pt x="1293" y="1835"/>
                </a:lnTo>
                <a:lnTo>
                  <a:pt x="1294" y="1825"/>
                </a:lnTo>
                <a:lnTo>
                  <a:pt x="1296" y="1817"/>
                </a:lnTo>
                <a:lnTo>
                  <a:pt x="1299" y="1810"/>
                </a:lnTo>
                <a:lnTo>
                  <a:pt x="1303" y="1802"/>
                </a:lnTo>
                <a:lnTo>
                  <a:pt x="1307" y="1796"/>
                </a:lnTo>
                <a:lnTo>
                  <a:pt x="1311" y="1791"/>
                </a:lnTo>
                <a:lnTo>
                  <a:pt x="1316" y="1787"/>
                </a:lnTo>
                <a:lnTo>
                  <a:pt x="1332" y="1774"/>
                </a:lnTo>
                <a:lnTo>
                  <a:pt x="1346" y="1760"/>
                </a:lnTo>
                <a:lnTo>
                  <a:pt x="1362" y="1744"/>
                </a:lnTo>
                <a:lnTo>
                  <a:pt x="1378" y="1726"/>
                </a:lnTo>
                <a:lnTo>
                  <a:pt x="1392" y="1707"/>
                </a:lnTo>
                <a:lnTo>
                  <a:pt x="1407" y="1687"/>
                </a:lnTo>
                <a:lnTo>
                  <a:pt x="1420" y="1666"/>
                </a:lnTo>
                <a:lnTo>
                  <a:pt x="1434" y="1645"/>
                </a:lnTo>
                <a:lnTo>
                  <a:pt x="1447" y="1623"/>
                </a:lnTo>
                <a:lnTo>
                  <a:pt x="1459" y="1601"/>
                </a:lnTo>
                <a:lnTo>
                  <a:pt x="1471" y="1578"/>
                </a:lnTo>
                <a:lnTo>
                  <a:pt x="1481" y="1556"/>
                </a:lnTo>
                <a:lnTo>
                  <a:pt x="1490" y="1535"/>
                </a:lnTo>
                <a:lnTo>
                  <a:pt x="1500" y="1514"/>
                </a:lnTo>
                <a:lnTo>
                  <a:pt x="1507" y="1493"/>
                </a:lnTo>
                <a:lnTo>
                  <a:pt x="1513" y="1475"/>
                </a:lnTo>
                <a:lnTo>
                  <a:pt x="1521" y="1468"/>
                </a:lnTo>
                <a:lnTo>
                  <a:pt x="1528" y="1461"/>
                </a:lnTo>
                <a:lnTo>
                  <a:pt x="1535" y="1452"/>
                </a:lnTo>
                <a:lnTo>
                  <a:pt x="1543" y="1442"/>
                </a:lnTo>
                <a:lnTo>
                  <a:pt x="1549" y="1432"/>
                </a:lnTo>
                <a:lnTo>
                  <a:pt x="1556" y="1420"/>
                </a:lnTo>
                <a:lnTo>
                  <a:pt x="1562" y="1409"/>
                </a:lnTo>
                <a:lnTo>
                  <a:pt x="1568" y="1396"/>
                </a:lnTo>
                <a:lnTo>
                  <a:pt x="1572" y="1385"/>
                </a:lnTo>
                <a:lnTo>
                  <a:pt x="1575" y="1372"/>
                </a:lnTo>
                <a:lnTo>
                  <a:pt x="1577" y="1361"/>
                </a:lnTo>
                <a:lnTo>
                  <a:pt x="1577" y="1350"/>
                </a:lnTo>
                <a:lnTo>
                  <a:pt x="1577" y="1344"/>
                </a:lnTo>
                <a:lnTo>
                  <a:pt x="1575" y="1340"/>
                </a:lnTo>
                <a:lnTo>
                  <a:pt x="1574" y="1335"/>
                </a:lnTo>
                <a:lnTo>
                  <a:pt x="1572" y="1330"/>
                </a:lnTo>
                <a:lnTo>
                  <a:pt x="1569" y="1325"/>
                </a:lnTo>
                <a:lnTo>
                  <a:pt x="1565" y="1321"/>
                </a:lnTo>
                <a:lnTo>
                  <a:pt x="1561" y="1317"/>
                </a:lnTo>
                <a:lnTo>
                  <a:pt x="1556" y="1314"/>
                </a:lnTo>
                <a:lnTo>
                  <a:pt x="1523" y="1292"/>
                </a:lnTo>
                <a:lnTo>
                  <a:pt x="1488" y="1271"/>
                </a:lnTo>
                <a:lnTo>
                  <a:pt x="1452" y="1250"/>
                </a:lnTo>
                <a:lnTo>
                  <a:pt x="1415" y="1230"/>
                </a:lnTo>
                <a:lnTo>
                  <a:pt x="1379" y="1210"/>
                </a:lnTo>
                <a:lnTo>
                  <a:pt x="1342" y="1188"/>
                </a:lnTo>
                <a:lnTo>
                  <a:pt x="1305" y="1165"/>
                </a:lnTo>
                <a:lnTo>
                  <a:pt x="1268" y="1140"/>
                </a:lnTo>
                <a:lnTo>
                  <a:pt x="1250" y="1126"/>
                </a:lnTo>
                <a:lnTo>
                  <a:pt x="1233" y="1112"/>
                </a:lnTo>
                <a:lnTo>
                  <a:pt x="1215" y="1098"/>
                </a:lnTo>
                <a:lnTo>
                  <a:pt x="1198" y="1082"/>
                </a:lnTo>
                <a:lnTo>
                  <a:pt x="1182" y="1067"/>
                </a:lnTo>
                <a:lnTo>
                  <a:pt x="1165" y="1050"/>
                </a:lnTo>
                <a:lnTo>
                  <a:pt x="1148" y="1032"/>
                </a:lnTo>
                <a:lnTo>
                  <a:pt x="1133" y="1014"/>
                </a:lnTo>
                <a:lnTo>
                  <a:pt x="1117" y="995"/>
                </a:lnTo>
                <a:lnTo>
                  <a:pt x="1102" y="974"/>
                </a:lnTo>
                <a:lnTo>
                  <a:pt x="1088" y="953"/>
                </a:lnTo>
                <a:lnTo>
                  <a:pt x="1073" y="930"/>
                </a:lnTo>
                <a:lnTo>
                  <a:pt x="1061" y="906"/>
                </a:lnTo>
                <a:lnTo>
                  <a:pt x="1047" y="881"/>
                </a:lnTo>
                <a:lnTo>
                  <a:pt x="1034" y="855"/>
                </a:lnTo>
                <a:lnTo>
                  <a:pt x="1023" y="827"/>
                </a:lnTo>
                <a:lnTo>
                  <a:pt x="1013" y="829"/>
                </a:lnTo>
                <a:lnTo>
                  <a:pt x="1002" y="830"/>
                </a:lnTo>
                <a:lnTo>
                  <a:pt x="993" y="849"/>
                </a:lnTo>
                <a:lnTo>
                  <a:pt x="984" y="868"/>
                </a:lnTo>
                <a:lnTo>
                  <a:pt x="974" y="886"/>
                </a:lnTo>
                <a:lnTo>
                  <a:pt x="965" y="902"/>
                </a:lnTo>
                <a:lnTo>
                  <a:pt x="954" y="917"/>
                </a:lnTo>
                <a:lnTo>
                  <a:pt x="943" y="932"/>
                </a:lnTo>
                <a:lnTo>
                  <a:pt x="932" y="946"/>
                </a:lnTo>
                <a:lnTo>
                  <a:pt x="921" y="959"/>
                </a:lnTo>
                <a:lnTo>
                  <a:pt x="909" y="972"/>
                </a:lnTo>
                <a:lnTo>
                  <a:pt x="897" y="983"/>
                </a:lnTo>
                <a:lnTo>
                  <a:pt x="885" y="995"/>
                </a:lnTo>
                <a:lnTo>
                  <a:pt x="874" y="1005"/>
                </a:lnTo>
                <a:lnTo>
                  <a:pt x="849" y="1025"/>
                </a:lnTo>
                <a:lnTo>
                  <a:pt x="825" y="1043"/>
                </a:lnTo>
                <a:lnTo>
                  <a:pt x="777" y="1076"/>
                </a:lnTo>
                <a:lnTo>
                  <a:pt x="732" y="1108"/>
                </a:lnTo>
                <a:lnTo>
                  <a:pt x="711" y="1124"/>
                </a:lnTo>
                <a:lnTo>
                  <a:pt x="692" y="1142"/>
                </a:lnTo>
                <a:lnTo>
                  <a:pt x="683" y="1151"/>
                </a:lnTo>
                <a:lnTo>
                  <a:pt x="675" y="1160"/>
                </a:lnTo>
                <a:lnTo>
                  <a:pt x="666" y="1170"/>
                </a:lnTo>
                <a:lnTo>
                  <a:pt x="659" y="1180"/>
                </a:lnTo>
                <a:lnTo>
                  <a:pt x="654" y="1214"/>
                </a:lnTo>
                <a:lnTo>
                  <a:pt x="652" y="1246"/>
                </a:lnTo>
                <a:lnTo>
                  <a:pt x="650" y="1279"/>
                </a:lnTo>
                <a:lnTo>
                  <a:pt x="648" y="1313"/>
                </a:lnTo>
                <a:lnTo>
                  <a:pt x="638" y="1311"/>
                </a:lnTo>
                <a:lnTo>
                  <a:pt x="628" y="1310"/>
                </a:lnTo>
                <a:lnTo>
                  <a:pt x="619" y="1310"/>
                </a:lnTo>
                <a:lnTo>
                  <a:pt x="611" y="1311"/>
                </a:lnTo>
                <a:lnTo>
                  <a:pt x="605" y="1313"/>
                </a:lnTo>
                <a:lnTo>
                  <a:pt x="598" y="1316"/>
                </a:lnTo>
                <a:lnTo>
                  <a:pt x="593" y="1319"/>
                </a:lnTo>
                <a:lnTo>
                  <a:pt x="590" y="1323"/>
                </a:lnTo>
                <a:lnTo>
                  <a:pt x="587" y="1327"/>
                </a:lnTo>
                <a:lnTo>
                  <a:pt x="584" y="1333"/>
                </a:lnTo>
                <a:lnTo>
                  <a:pt x="583" y="1339"/>
                </a:lnTo>
                <a:lnTo>
                  <a:pt x="582" y="1345"/>
                </a:lnTo>
                <a:lnTo>
                  <a:pt x="582" y="1351"/>
                </a:lnTo>
                <a:lnTo>
                  <a:pt x="582" y="1358"/>
                </a:lnTo>
                <a:lnTo>
                  <a:pt x="583" y="1365"/>
                </a:lnTo>
                <a:lnTo>
                  <a:pt x="585" y="1372"/>
                </a:lnTo>
                <a:lnTo>
                  <a:pt x="589" y="1388"/>
                </a:lnTo>
                <a:lnTo>
                  <a:pt x="595" y="1403"/>
                </a:lnTo>
                <a:lnTo>
                  <a:pt x="603" y="1418"/>
                </a:lnTo>
                <a:lnTo>
                  <a:pt x="610" y="1432"/>
                </a:lnTo>
                <a:lnTo>
                  <a:pt x="619" y="1445"/>
                </a:lnTo>
                <a:lnTo>
                  <a:pt x="628" y="1457"/>
                </a:lnTo>
                <a:lnTo>
                  <a:pt x="637" y="1466"/>
                </a:lnTo>
                <a:lnTo>
                  <a:pt x="645" y="1473"/>
                </a:lnTo>
                <a:lnTo>
                  <a:pt x="654" y="1500"/>
                </a:lnTo>
                <a:lnTo>
                  <a:pt x="663" y="1525"/>
                </a:lnTo>
                <a:lnTo>
                  <a:pt x="672" y="1548"/>
                </a:lnTo>
                <a:lnTo>
                  <a:pt x="683" y="1571"/>
                </a:lnTo>
                <a:lnTo>
                  <a:pt x="693" y="1592"/>
                </a:lnTo>
                <a:lnTo>
                  <a:pt x="704" y="1612"/>
                </a:lnTo>
                <a:lnTo>
                  <a:pt x="715" y="1631"/>
                </a:lnTo>
                <a:lnTo>
                  <a:pt x="727" y="1650"/>
                </a:lnTo>
                <a:lnTo>
                  <a:pt x="739" y="1669"/>
                </a:lnTo>
                <a:lnTo>
                  <a:pt x="753" y="1688"/>
                </a:lnTo>
                <a:lnTo>
                  <a:pt x="766" y="1705"/>
                </a:lnTo>
                <a:lnTo>
                  <a:pt x="781" y="1724"/>
                </a:lnTo>
                <a:lnTo>
                  <a:pt x="813" y="1762"/>
                </a:lnTo>
                <a:lnTo>
                  <a:pt x="850" y="1802"/>
                </a:lnTo>
                <a:lnTo>
                  <a:pt x="854" y="1808"/>
                </a:lnTo>
                <a:lnTo>
                  <a:pt x="857" y="1813"/>
                </a:lnTo>
                <a:lnTo>
                  <a:pt x="861" y="1820"/>
                </a:lnTo>
                <a:lnTo>
                  <a:pt x="863" y="1827"/>
                </a:lnTo>
                <a:lnTo>
                  <a:pt x="869" y="1844"/>
                </a:lnTo>
                <a:lnTo>
                  <a:pt x="872" y="1863"/>
                </a:lnTo>
                <a:lnTo>
                  <a:pt x="874" y="1883"/>
                </a:lnTo>
                <a:lnTo>
                  <a:pt x="875" y="1904"/>
                </a:lnTo>
                <a:lnTo>
                  <a:pt x="875" y="1927"/>
                </a:lnTo>
                <a:lnTo>
                  <a:pt x="874" y="1950"/>
                </a:lnTo>
                <a:lnTo>
                  <a:pt x="870" y="1996"/>
                </a:lnTo>
                <a:lnTo>
                  <a:pt x="864" y="2038"/>
                </a:lnTo>
                <a:lnTo>
                  <a:pt x="858" y="2077"/>
                </a:lnTo>
                <a:lnTo>
                  <a:pt x="853" y="2107"/>
                </a:lnTo>
                <a:close/>
                <a:moveTo>
                  <a:pt x="1708" y="412"/>
                </a:moveTo>
                <a:lnTo>
                  <a:pt x="1705" y="435"/>
                </a:lnTo>
                <a:lnTo>
                  <a:pt x="1702" y="468"/>
                </a:lnTo>
                <a:lnTo>
                  <a:pt x="1700" y="510"/>
                </a:lnTo>
                <a:lnTo>
                  <a:pt x="1697" y="559"/>
                </a:lnTo>
                <a:lnTo>
                  <a:pt x="1692" y="672"/>
                </a:lnTo>
                <a:lnTo>
                  <a:pt x="1689" y="795"/>
                </a:lnTo>
                <a:lnTo>
                  <a:pt x="1685" y="915"/>
                </a:lnTo>
                <a:lnTo>
                  <a:pt x="1685" y="1020"/>
                </a:lnTo>
                <a:lnTo>
                  <a:pt x="1685" y="1063"/>
                </a:lnTo>
                <a:lnTo>
                  <a:pt x="1688" y="1098"/>
                </a:lnTo>
                <a:lnTo>
                  <a:pt x="1689" y="1111"/>
                </a:lnTo>
                <a:lnTo>
                  <a:pt x="1690" y="1122"/>
                </a:lnTo>
                <a:lnTo>
                  <a:pt x="1691" y="1130"/>
                </a:lnTo>
                <a:lnTo>
                  <a:pt x="1692" y="1135"/>
                </a:lnTo>
                <a:lnTo>
                  <a:pt x="1694" y="1139"/>
                </a:lnTo>
                <a:lnTo>
                  <a:pt x="1696" y="1141"/>
                </a:lnTo>
                <a:lnTo>
                  <a:pt x="1700" y="1143"/>
                </a:lnTo>
                <a:lnTo>
                  <a:pt x="1703" y="1145"/>
                </a:lnTo>
                <a:lnTo>
                  <a:pt x="1713" y="1148"/>
                </a:lnTo>
                <a:lnTo>
                  <a:pt x="1723" y="1149"/>
                </a:lnTo>
                <a:lnTo>
                  <a:pt x="1733" y="1149"/>
                </a:lnTo>
                <a:lnTo>
                  <a:pt x="1743" y="1146"/>
                </a:lnTo>
                <a:lnTo>
                  <a:pt x="1747" y="1145"/>
                </a:lnTo>
                <a:lnTo>
                  <a:pt x="1751" y="1142"/>
                </a:lnTo>
                <a:lnTo>
                  <a:pt x="1753" y="1140"/>
                </a:lnTo>
                <a:lnTo>
                  <a:pt x="1756" y="1135"/>
                </a:lnTo>
                <a:lnTo>
                  <a:pt x="1757" y="1130"/>
                </a:lnTo>
                <a:lnTo>
                  <a:pt x="1760" y="1123"/>
                </a:lnTo>
                <a:lnTo>
                  <a:pt x="1761" y="1111"/>
                </a:lnTo>
                <a:lnTo>
                  <a:pt x="1762" y="1098"/>
                </a:lnTo>
                <a:lnTo>
                  <a:pt x="1763" y="1063"/>
                </a:lnTo>
                <a:lnTo>
                  <a:pt x="1764" y="1021"/>
                </a:lnTo>
                <a:lnTo>
                  <a:pt x="1764" y="915"/>
                </a:lnTo>
                <a:lnTo>
                  <a:pt x="1763" y="795"/>
                </a:lnTo>
                <a:lnTo>
                  <a:pt x="1758" y="672"/>
                </a:lnTo>
                <a:lnTo>
                  <a:pt x="1754" y="558"/>
                </a:lnTo>
                <a:lnTo>
                  <a:pt x="1751" y="509"/>
                </a:lnTo>
                <a:lnTo>
                  <a:pt x="1748" y="468"/>
                </a:lnTo>
                <a:lnTo>
                  <a:pt x="1746" y="435"/>
                </a:lnTo>
                <a:lnTo>
                  <a:pt x="1743" y="412"/>
                </a:lnTo>
                <a:lnTo>
                  <a:pt x="1743" y="407"/>
                </a:lnTo>
                <a:lnTo>
                  <a:pt x="1743" y="401"/>
                </a:lnTo>
                <a:lnTo>
                  <a:pt x="1746" y="396"/>
                </a:lnTo>
                <a:lnTo>
                  <a:pt x="1747" y="394"/>
                </a:lnTo>
                <a:lnTo>
                  <a:pt x="1746" y="392"/>
                </a:lnTo>
                <a:lnTo>
                  <a:pt x="1743" y="388"/>
                </a:lnTo>
                <a:lnTo>
                  <a:pt x="1746" y="385"/>
                </a:lnTo>
                <a:lnTo>
                  <a:pt x="1747" y="382"/>
                </a:lnTo>
                <a:lnTo>
                  <a:pt x="1746" y="380"/>
                </a:lnTo>
                <a:lnTo>
                  <a:pt x="1743" y="377"/>
                </a:lnTo>
                <a:lnTo>
                  <a:pt x="1746" y="372"/>
                </a:lnTo>
                <a:lnTo>
                  <a:pt x="1747" y="370"/>
                </a:lnTo>
                <a:lnTo>
                  <a:pt x="1746" y="368"/>
                </a:lnTo>
                <a:lnTo>
                  <a:pt x="1743" y="364"/>
                </a:lnTo>
                <a:lnTo>
                  <a:pt x="1743" y="358"/>
                </a:lnTo>
                <a:lnTo>
                  <a:pt x="1743" y="353"/>
                </a:lnTo>
                <a:lnTo>
                  <a:pt x="1748" y="343"/>
                </a:lnTo>
                <a:lnTo>
                  <a:pt x="1751" y="336"/>
                </a:lnTo>
                <a:lnTo>
                  <a:pt x="1753" y="328"/>
                </a:lnTo>
                <a:lnTo>
                  <a:pt x="1753" y="319"/>
                </a:lnTo>
                <a:lnTo>
                  <a:pt x="1752" y="312"/>
                </a:lnTo>
                <a:lnTo>
                  <a:pt x="1749" y="302"/>
                </a:lnTo>
                <a:lnTo>
                  <a:pt x="1746" y="293"/>
                </a:lnTo>
                <a:lnTo>
                  <a:pt x="1742" y="282"/>
                </a:lnTo>
                <a:lnTo>
                  <a:pt x="1739" y="271"/>
                </a:lnTo>
                <a:lnTo>
                  <a:pt x="1736" y="262"/>
                </a:lnTo>
                <a:lnTo>
                  <a:pt x="1734" y="254"/>
                </a:lnTo>
                <a:lnTo>
                  <a:pt x="1733" y="247"/>
                </a:lnTo>
                <a:lnTo>
                  <a:pt x="1734" y="240"/>
                </a:lnTo>
                <a:lnTo>
                  <a:pt x="1736" y="233"/>
                </a:lnTo>
                <a:lnTo>
                  <a:pt x="1737" y="225"/>
                </a:lnTo>
                <a:lnTo>
                  <a:pt x="1740" y="218"/>
                </a:lnTo>
                <a:lnTo>
                  <a:pt x="1765" y="206"/>
                </a:lnTo>
                <a:lnTo>
                  <a:pt x="1790" y="196"/>
                </a:lnTo>
                <a:lnTo>
                  <a:pt x="1815" y="186"/>
                </a:lnTo>
                <a:lnTo>
                  <a:pt x="1840" y="175"/>
                </a:lnTo>
                <a:lnTo>
                  <a:pt x="1864" y="165"/>
                </a:lnTo>
                <a:lnTo>
                  <a:pt x="1888" y="154"/>
                </a:lnTo>
                <a:lnTo>
                  <a:pt x="1911" y="145"/>
                </a:lnTo>
                <a:lnTo>
                  <a:pt x="1933" y="135"/>
                </a:lnTo>
                <a:lnTo>
                  <a:pt x="976" y="0"/>
                </a:lnTo>
                <a:lnTo>
                  <a:pt x="38" y="417"/>
                </a:lnTo>
                <a:lnTo>
                  <a:pt x="125" y="414"/>
                </a:lnTo>
                <a:lnTo>
                  <a:pt x="213" y="410"/>
                </a:lnTo>
                <a:lnTo>
                  <a:pt x="302" y="406"/>
                </a:lnTo>
                <a:lnTo>
                  <a:pt x="390" y="401"/>
                </a:lnTo>
                <a:lnTo>
                  <a:pt x="474" y="396"/>
                </a:lnTo>
                <a:lnTo>
                  <a:pt x="554" y="393"/>
                </a:lnTo>
                <a:lnTo>
                  <a:pt x="627" y="389"/>
                </a:lnTo>
                <a:lnTo>
                  <a:pt x="690" y="387"/>
                </a:lnTo>
                <a:lnTo>
                  <a:pt x="687" y="425"/>
                </a:lnTo>
                <a:lnTo>
                  <a:pt x="684" y="457"/>
                </a:lnTo>
                <a:lnTo>
                  <a:pt x="680" y="488"/>
                </a:lnTo>
                <a:lnTo>
                  <a:pt x="675" y="520"/>
                </a:lnTo>
                <a:lnTo>
                  <a:pt x="668" y="553"/>
                </a:lnTo>
                <a:lnTo>
                  <a:pt x="661" y="591"/>
                </a:lnTo>
                <a:lnTo>
                  <a:pt x="652" y="633"/>
                </a:lnTo>
                <a:lnTo>
                  <a:pt x="641" y="683"/>
                </a:lnTo>
                <a:lnTo>
                  <a:pt x="668" y="675"/>
                </a:lnTo>
                <a:lnTo>
                  <a:pt x="695" y="667"/>
                </a:lnTo>
                <a:lnTo>
                  <a:pt x="723" y="658"/>
                </a:lnTo>
                <a:lnTo>
                  <a:pt x="750" y="651"/>
                </a:lnTo>
                <a:lnTo>
                  <a:pt x="806" y="639"/>
                </a:lnTo>
                <a:lnTo>
                  <a:pt x="862" y="627"/>
                </a:lnTo>
                <a:lnTo>
                  <a:pt x="919" y="618"/>
                </a:lnTo>
                <a:lnTo>
                  <a:pt x="975" y="610"/>
                </a:lnTo>
                <a:lnTo>
                  <a:pt x="1030" y="605"/>
                </a:lnTo>
                <a:lnTo>
                  <a:pt x="1086" y="601"/>
                </a:lnTo>
                <a:lnTo>
                  <a:pt x="1140" y="599"/>
                </a:lnTo>
                <a:lnTo>
                  <a:pt x="1192" y="600"/>
                </a:lnTo>
                <a:lnTo>
                  <a:pt x="1242" y="602"/>
                </a:lnTo>
                <a:lnTo>
                  <a:pt x="1290" y="606"/>
                </a:lnTo>
                <a:lnTo>
                  <a:pt x="1313" y="608"/>
                </a:lnTo>
                <a:lnTo>
                  <a:pt x="1336" y="611"/>
                </a:lnTo>
                <a:lnTo>
                  <a:pt x="1358" y="616"/>
                </a:lnTo>
                <a:lnTo>
                  <a:pt x="1379" y="620"/>
                </a:lnTo>
                <a:lnTo>
                  <a:pt x="1399" y="624"/>
                </a:lnTo>
                <a:lnTo>
                  <a:pt x="1418" y="629"/>
                </a:lnTo>
                <a:lnTo>
                  <a:pt x="1436" y="635"/>
                </a:lnTo>
                <a:lnTo>
                  <a:pt x="1454" y="642"/>
                </a:lnTo>
                <a:lnTo>
                  <a:pt x="1447" y="602"/>
                </a:lnTo>
                <a:lnTo>
                  <a:pt x="1440" y="565"/>
                </a:lnTo>
                <a:lnTo>
                  <a:pt x="1435" y="530"/>
                </a:lnTo>
                <a:lnTo>
                  <a:pt x="1430" y="496"/>
                </a:lnTo>
                <a:lnTo>
                  <a:pt x="1425" y="461"/>
                </a:lnTo>
                <a:lnTo>
                  <a:pt x="1420" y="428"/>
                </a:lnTo>
                <a:lnTo>
                  <a:pt x="1416" y="393"/>
                </a:lnTo>
                <a:lnTo>
                  <a:pt x="1413" y="357"/>
                </a:lnTo>
                <a:lnTo>
                  <a:pt x="1444" y="344"/>
                </a:lnTo>
                <a:lnTo>
                  <a:pt x="1478" y="330"/>
                </a:lnTo>
                <a:lnTo>
                  <a:pt x="1513" y="314"/>
                </a:lnTo>
                <a:lnTo>
                  <a:pt x="1551" y="298"/>
                </a:lnTo>
                <a:lnTo>
                  <a:pt x="1591" y="282"/>
                </a:lnTo>
                <a:lnTo>
                  <a:pt x="1630" y="264"/>
                </a:lnTo>
                <a:lnTo>
                  <a:pt x="1672" y="247"/>
                </a:lnTo>
                <a:lnTo>
                  <a:pt x="1713" y="229"/>
                </a:lnTo>
                <a:lnTo>
                  <a:pt x="1715" y="237"/>
                </a:lnTo>
                <a:lnTo>
                  <a:pt x="1716" y="243"/>
                </a:lnTo>
                <a:lnTo>
                  <a:pt x="1716" y="249"/>
                </a:lnTo>
                <a:lnTo>
                  <a:pt x="1715" y="254"/>
                </a:lnTo>
                <a:lnTo>
                  <a:pt x="1712" y="268"/>
                </a:lnTo>
                <a:lnTo>
                  <a:pt x="1706" y="284"/>
                </a:lnTo>
                <a:lnTo>
                  <a:pt x="1702" y="294"/>
                </a:lnTo>
                <a:lnTo>
                  <a:pt x="1700" y="302"/>
                </a:lnTo>
                <a:lnTo>
                  <a:pt x="1698" y="311"/>
                </a:lnTo>
                <a:lnTo>
                  <a:pt x="1697" y="318"/>
                </a:lnTo>
                <a:lnTo>
                  <a:pt x="1697" y="325"/>
                </a:lnTo>
                <a:lnTo>
                  <a:pt x="1699" y="334"/>
                </a:lnTo>
                <a:lnTo>
                  <a:pt x="1702" y="342"/>
                </a:lnTo>
                <a:lnTo>
                  <a:pt x="1708" y="353"/>
                </a:lnTo>
                <a:lnTo>
                  <a:pt x="1708" y="358"/>
                </a:lnTo>
                <a:lnTo>
                  <a:pt x="1708" y="364"/>
                </a:lnTo>
                <a:lnTo>
                  <a:pt x="1704" y="368"/>
                </a:lnTo>
                <a:lnTo>
                  <a:pt x="1703" y="370"/>
                </a:lnTo>
                <a:lnTo>
                  <a:pt x="1704" y="372"/>
                </a:lnTo>
                <a:lnTo>
                  <a:pt x="1708" y="377"/>
                </a:lnTo>
                <a:lnTo>
                  <a:pt x="1704" y="380"/>
                </a:lnTo>
                <a:lnTo>
                  <a:pt x="1703" y="382"/>
                </a:lnTo>
                <a:lnTo>
                  <a:pt x="1704" y="384"/>
                </a:lnTo>
                <a:lnTo>
                  <a:pt x="1708" y="388"/>
                </a:lnTo>
                <a:lnTo>
                  <a:pt x="1704" y="392"/>
                </a:lnTo>
                <a:lnTo>
                  <a:pt x="1703" y="394"/>
                </a:lnTo>
                <a:lnTo>
                  <a:pt x="1704" y="396"/>
                </a:lnTo>
                <a:lnTo>
                  <a:pt x="1708" y="401"/>
                </a:lnTo>
                <a:lnTo>
                  <a:pt x="1708" y="407"/>
                </a:lnTo>
                <a:lnTo>
                  <a:pt x="1708" y="412"/>
                </a:lnTo>
                <a:close/>
                <a:moveTo>
                  <a:pt x="1366" y="2051"/>
                </a:moveTo>
                <a:lnTo>
                  <a:pt x="1399" y="2056"/>
                </a:lnTo>
                <a:lnTo>
                  <a:pt x="1431" y="2063"/>
                </a:lnTo>
                <a:lnTo>
                  <a:pt x="1464" y="2070"/>
                </a:lnTo>
                <a:lnTo>
                  <a:pt x="1498" y="2078"/>
                </a:lnTo>
                <a:lnTo>
                  <a:pt x="1532" y="2086"/>
                </a:lnTo>
                <a:lnTo>
                  <a:pt x="1565" y="2096"/>
                </a:lnTo>
                <a:lnTo>
                  <a:pt x="1600" y="2105"/>
                </a:lnTo>
                <a:lnTo>
                  <a:pt x="1633" y="2116"/>
                </a:lnTo>
                <a:lnTo>
                  <a:pt x="1668" y="2127"/>
                </a:lnTo>
                <a:lnTo>
                  <a:pt x="1701" y="2140"/>
                </a:lnTo>
                <a:lnTo>
                  <a:pt x="1734" y="2153"/>
                </a:lnTo>
                <a:lnTo>
                  <a:pt x="1768" y="2167"/>
                </a:lnTo>
                <a:lnTo>
                  <a:pt x="1800" y="2182"/>
                </a:lnTo>
                <a:lnTo>
                  <a:pt x="1833" y="2198"/>
                </a:lnTo>
                <a:lnTo>
                  <a:pt x="1863" y="2215"/>
                </a:lnTo>
                <a:lnTo>
                  <a:pt x="1894" y="2232"/>
                </a:lnTo>
                <a:lnTo>
                  <a:pt x="1923" y="2251"/>
                </a:lnTo>
                <a:lnTo>
                  <a:pt x="1951" y="2271"/>
                </a:lnTo>
                <a:lnTo>
                  <a:pt x="1979" y="2292"/>
                </a:lnTo>
                <a:lnTo>
                  <a:pt x="2005" y="2314"/>
                </a:lnTo>
                <a:lnTo>
                  <a:pt x="2030" y="2337"/>
                </a:lnTo>
                <a:lnTo>
                  <a:pt x="2054" y="2361"/>
                </a:lnTo>
                <a:lnTo>
                  <a:pt x="2076" y="2386"/>
                </a:lnTo>
                <a:lnTo>
                  <a:pt x="2096" y="2413"/>
                </a:lnTo>
                <a:lnTo>
                  <a:pt x="2115" y="2440"/>
                </a:lnTo>
                <a:lnTo>
                  <a:pt x="2132" y="2469"/>
                </a:lnTo>
                <a:lnTo>
                  <a:pt x="2147" y="2500"/>
                </a:lnTo>
                <a:lnTo>
                  <a:pt x="2160" y="2531"/>
                </a:lnTo>
                <a:lnTo>
                  <a:pt x="2172" y="2563"/>
                </a:lnTo>
                <a:lnTo>
                  <a:pt x="2180" y="2598"/>
                </a:lnTo>
                <a:lnTo>
                  <a:pt x="2186" y="2633"/>
                </a:lnTo>
                <a:lnTo>
                  <a:pt x="2191" y="2670"/>
                </a:lnTo>
                <a:lnTo>
                  <a:pt x="0" y="2670"/>
                </a:lnTo>
                <a:lnTo>
                  <a:pt x="5" y="2640"/>
                </a:lnTo>
                <a:lnTo>
                  <a:pt x="10" y="2609"/>
                </a:lnTo>
                <a:lnTo>
                  <a:pt x="17" y="2580"/>
                </a:lnTo>
                <a:lnTo>
                  <a:pt x="27" y="2551"/>
                </a:lnTo>
                <a:lnTo>
                  <a:pt x="37" y="2523"/>
                </a:lnTo>
                <a:lnTo>
                  <a:pt x="48" y="2496"/>
                </a:lnTo>
                <a:lnTo>
                  <a:pt x="61" y="2468"/>
                </a:lnTo>
                <a:lnTo>
                  <a:pt x="75" y="2442"/>
                </a:lnTo>
                <a:lnTo>
                  <a:pt x="90" y="2416"/>
                </a:lnTo>
                <a:lnTo>
                  <a:pt x="107" y="2392"/>
                </a:lnTo>
                <a:lnTo>
                  <a:pt x="126" y="2367"/>
                </a:lnTo>
                <a:lnTo>
                  <a:pt x="145" y="2344"/>
                </a:lnTo>
                <a:lnTo>
                  <a:pt x="165" y="2321"/>
                </a:lnTo>
                <a:lnTo>
                  <a:pt x="188" y="2299"/>
                </a:lnTo>
                <a:lnTo>
                  <a:pt x="211" y="2278"/>
                </a:lnTo>
                <a:lnTo>
                  <a:pt x="236" y="2258"/>
                </a:lnTo>
                <a:lnTo>
                  <a:pt x="263" y="2238"/>
                </a:lnTo>
                <a:lnTo>
                  <a:pt x="290" y="2219"/>
                </a:lnTo>
                <a:lnTo>
                  <a:pt x="319" y="2201"/>
                </a:lnTo>
                <a:lnTo>
                  <a:pt x="349" y="2183"/>
                </a:lnTo>
                <a:lnTo>
                  <a:pt x="380" y="2168"/>
                </a:lnTo>
                <a:lnTo>
                  <a:pt x="413" y="2152"/>
                </a:lnTo>
                <a:lnTo>
                  <a:pt x="447" y="2137"/>
                </a:lnTo>
                <a:lnTo>
                  <a:pt x="482" y="2123"/>
                </a:lnTo>
                <a:lnTo>
                  <a:pt x="518" y="2110"/>
                </a:lnTo>
                <a:lnTo>
                  <a:pt x="557" y="2099"/>
                </a:lnTo>
                <a:lnTo>
                  <a:pt x="595" y="2087"/>
                </a:lnTo>
                <a:lnTo>
                  <a:pt x="636" y="2077"/>
                </a:lnTo>
                <a:lnTo>
                  <a:pt x="678" y="2068"/>
                </a:lnTo>
                <a:lnTo>
                  <a:pt x="720" y="2059"/>
                </a:lnTo>
                <a:lnTo>
                  <a:pt x="764" y="2052"/>
                </a:lnTo>
                <a:lnTo>
                  <a:pt x="810" y="2046"/>
                </a:lnTo>
                <a:lnTo>
                  <a:pt x="812" y="2028"/>
                </a:lnTo>
                <a:lnTo>
                  <a:pt x="815" y="2002"/>
                </a:lnTo>
                <a:lnTo>
                  <a:pt x="819" y="1972"/>
                </a:lnTo>
                <a:lnTo>
                  <a:pt x="821" y="1938"/>
                </a:lnTo>
                <a:lnTo>
                  <a:pt x="822" y="1906"/>
                </a:lnTo>
                <a:lnTo>
                  <a:pt x="821" y="1877"/>
                </a:lnTo>
                <a:lnTo>
                  <a:pt x="820" y="1863"/>
                </a:lnTo>
                <a:lnTo>
                  <a:pt x="817" y="1853"/>
                </a:lnTo>
                <a:lnTo>
                  <a:pt x="814" y="1844"/>
                </a:lnTo>
                <a:lnTo>
                  <a:pt x="810" y="1838"/>
                </a:lnTo>
                <a:lnTo>
                  <a:pt x="775" y="1798"/>
                </a:lnTo>
                <a:lnTo>
                  <a:pt x="742" y="1761"/>
                </a:lnTo>
                <a:lnTo>
                  <a:pt x="727" y="1742"/>
                </a:lnTo>
                <a:lnTo>
                  <a:pt x="713" y="1723"/>
                </a:lnTo>
                <a:lnTo>
                  <a:pt x="700" y="1705"/>
                </a:lnTo>
                <a:lnTo>
                  <a:pt x="686" y="1687"/>
                </a:lnTo>
                <a:lnTo>
                  <a:pt x="674" y="1667"/>
                </a:lnTo>
                <a:lnTo>
                  <a:pt x="662" y="1647"/>
                </a:lnTo>
                <a:lnTo>
                  <a:pt x="651" y="1626"/>
                </a:lnTo>
                <a:lnTo>
                  <a:pt x="640" y="1605"/>
                </a:lnTo>
                <a:lnTo>
                  <a:pt x="630" y="1582"/>
                </a:lnTo>
                <a:lnTo>
                  <a:pt x="619" y="1558"/>
                </a:lnTo>
                <a:lnTo>
                  <a:pt x="610" y="1533"/>
                </a:lnTo>
                <a:lnTo>
                  <a:pt x="601" y="1506"/>
                </a:lnTo>
                <a:lnTo>
                  <a:pt x="594" y="1501"/>
                </a:lnTo>
                <a:lnTo>
                  <a:pt x="588" y="1494"/>
                </a:lnTo>
                <a:lnTo>
                  <a:pt x="581" y="1487"/>
                </a:lnTo>
                <a:lnTo>
                  <a:pt x="575" y="1480"/>
                </a:lnTo>
                <a:lnTo>
                  <a:pt x="564" y="1464"/>
                </a:lnTo>
                <a:lnTo>
                  <a:pt x="554" y="1446"/>
                </a:lnTo>
                <a:lnTo>
                  <a:pt x="545" y="1429"/>
                </a:lnTo>
                <a:lnTo>
                  <a:pt x="538" y="1409"/>
                </a:lnTo>
                <a:lnTo>
                  <a:pt x="533" y="1389"/>
                </a:lnTo>
                <a:lnTo>
                  <a:pt x="530" y="1369"/>
                </a:lnTo>
                <a:lnTo>
                  <a:pt x="529" y="1360"/>
                </a:lnTo>
                <a:lnTo>
                  <a:pt x="529" y="1349"/>
                </a:lnTo>
                <a:lnTo>
                  <a:pt x="529" y="1340"/>
                </a:lnTo>
                <a:lnTo>
                  <a:pt x="530" y="1332"/>
                </a:lnTo>
                <a:lnTo>
                  <a:pt x="532" y="1322"/>
                </a:lnTo>
                <a:lnTo>
                  <a:pt x="534" y="1314"/>
                </a:lnTo>
                <a:lnTo>
                  <a:pt x="537" y="1306"/>
                </a:lnTo>
                <a:lnTo>
                  <a:pt x="540" y="1298"/>
                </a:lnTo>
                <a:lnTo>
                  <a:pt x="544" y="1291"/>
                </a:lnTo>
                <a:lnTo>
                  <a:pt x="549" y="1284"/>
                </a:lnTo>
                <a:lnTo>
                  <a:pt x="556" y="1277"/>
                </a:lnTo>
                <a:lnTo>
                  <a:pt x="562" y="1272"/>
                </a:lnTo>
                <a:lnTo>
                  <a:pt x="570" y="1268"/>
                </a:lnTo>
                <a:lnTo>
                  <a:pt x="579" y="1264"/>
                </a:lnTo>
                <a:lnTo>
                  <a:pt x="587" y="1261"/>
                </a:lnTo>
                <a:lnTo>
                  <a:pt x="597" y="1258"/>
                </a:lnTo>
                <a:lnTo>
                  <a:pt x="598" y="1249"/>
                </a:lnTo>
                <a:lnTo>
                  <a:pt x="598" y="1241"/>
                </a:lnTo>
                <a:lnTo>
                  <a:pt x="599" y="1232"/>
                </a:lnTo>
                <a:lnTo>
                  <a:pt x="599" y="1224"/>
                </a:lnTo>
                <a:lnTo>
                  <a:pt x="586" y="1181"/>
                </a:lnTo>
                <a:lnTo>
                  <a:pt x="574" y="1141"/>
                </a:lnTo>
                <a:lnTo>
                  <a:pt x="566" y="1101"/>
                </a:lnTo>
                <a:lnTo>
                  <a:pt x="559" y="1062"/>
                </a:lnTo>
                <a:lnTo>
                  <a:pt x="555" y="1026"/>
                </a:lnTo>
                <a:lnTo>
                  <a:pt x="553" y="990"/>
                </a:lnTo>
                <a:lnTo>
                  <a:pt x="553" y="957"/>
                </a:lnTo>
                <a:lnTo>
                  <a:pt x="555" y="926"/>
                </a:lnTo>
                <a:lnTo>
                  <a:pt x="558" y="895"/>
                </a:lnTo>
                <a:lnTo>
                  <a:pt x="563" y="866"/>
                </a:lnTo>
                <a:lnTo>
                  <a:pt x="570" y="839"/>
                </a:lnTo>
                <a:lnTo>
                  <a:pt x="579" y="814"/>
                </a:lnTo>
                <a:lnTo>
                  <a:pt x="588" y="791"/>
                </a:lnTo>
                <a:lnTo>
                  <a:pt x="599" y="769"/>
                </a:lnTo>
                <a:lnTo>
                  <a:pt x="612" y="749"/>
                </a:lnTo>
                <a:lnTo>
                  <a:pt x="626" y="731"/>
                </a:lnTo>
                <a:lnTo>
                  <a:pt x="635" y="726"/>
                </a:lnTo>
                <a:lnTo>
                  <a:pt x="646" y="720"/>
                </a:lnTo>
                <a:lnTo>
                  <a:pt x="660" y="714"/>
                </a:lnTo>
                <a:lnTo>
                  <a:pt x="676" y="707"/>
                </a:lnTo>
                <a:lnTo>
                  <a:pt x="692" y="701"/>
                </a:lnTo>
                <a:lnTo>
                  <a:pt x="711" y="695"/>
                </a:lnTo>
                <a:lnTo>
                  <a:pt x="732" y="690"/>
                </a:lnTo>
                <a:lnTo>
                  <a:pt x="753" y="683"/>
                </a:lnTo>
                <a:lnTo>
                  <a:pt x="801" y="672"/>
                </a:lnTo>
                <a:lnTo>
                  <a:pt x="852" y="663"/>
                </a:lnTo>
                <a:lnTo>
                  <a:pt x="908" y="653"/>
                </a:lnTo>
                <a:lnTo>
                  <a:pt x="967" y="646"/>
                </a:lnTo>
                <a:lnTo>
                  <a:pt x="997" y="643"/>
                </a:lnTo>
                <a:lnTo>
                  <a:pt x="1027" y="641"/>
                </a:lnTo>
                <a:lnTo>
                  <a:pt x="1058" y="639"/>
                </a:lnTo>
                <a:lnTo>
                  <a:pt x="1090" y="636"/>
                </a:lnTo>
                <a:lnTo>
                  <a:pt x="1121" y="635"/>
                </a:lnTo>
                <a:lnTo>
                  <a:pt x="1153" y="635"/>
                </a:lnTo>
                <a:lnTo>
                  <a:pt x="1185" y="635"/>
                </a:lnTo>
                <a:lnTo>
                  <a:pt x="1216" y="636"/>
                </a:lnTo>
                <a:lnTo>
                  <a:pt x="1247" y="638"/>
                </a:lnTo>
                <a:lnTo>
                  <a:pt x="1279" y="640"/>
                </a:lnTo>
                <a:lnTo>
                  <a:pt x="1309" y="643"/>
                </a:lnTo>
                <a:lnTo>
                  <a:pt x="1339" y="647"/>
                </a:lnTo>
                <a:lnTo>
                  <a:pt x="1368" y="652"/>
                </a:lnTo>
                <a:lnTo>
                  <a:pt x="1398" y="657"/>
                </a:lnTo>
                <a:lnTo>
                  <a:pt x="1426" y="664"/>
                </a:lnTo>
                <a:lnTo>
                  <a:pt x="1453" y="671"/>
                </a:lnTo>
                <a:lnTo>
                  <a:pt x="1471" y="693"/>
                </a:lnTo>
                <a:lnTo>
                  <a:pt x="1487" y="716"/>
                </a:lnTo>
                <a:lnTo>
                  <a:pt x="1502" y="741"/>
                </a:lnTo>
                <a:lnTo>
                  <a:pt x="1516" y="767"/>
                </a:lnTo>
                <a:lnTo>
                  <a:pt x="1528" y="794"/>
                </a:lnTo>
                <a:lnTo>
                  <a:pt x="1539" y="823"/>
                </a:lnTo>
                <a:lnTo>
                  <a:pt x="1549" y="854"/>
                </a:lnTo>
                <a:lnTo>
                  <a:pt x="1556" y="886"/>
                </a:lnTo>
                <a:lnTo>
                  <a:pt x="1562" y="919"/>
                </a:lnTo>
                <a:lnTo>
                  <a:pt x="1568" y="954"/>
                </a:lnTo>
                <a:lnTo>
                  <a:pt x="1570" y="990"/>
                </a:lnTo>
                <a:lnTo>
                  <a:pt x="1571" y="1029"/>
                </a:lnTo>
                <a:lnTo>
                  <a:pt x="1570" y="1068"/>
                </a:lnTo>
                <a:lnTo>
                  <a:pt x="1567" y="1109"/>
                </a:lnTo>
                <a:lnTo>
                  <a:pt x="1562" y="1151"/>
                </a:lnTo>
                <a:lnTo>
                  <a:pt x="1555" y="1195"/>
                </a:lnTo>
                <a:lnTo>
                  <a:pt x="1557" y="1211"/>
                </a:lnTo>
                <a:lnTo>
                  <a:pt x="1559" y="1227"/>
                </a:lnTo>
                <a:lnTo>
                  <a:pt x="1561" y="1243"/>
                </a:lnTo>
                <a:lnTo>
                  <a:pt x="1562" y="1260"/>
                </a:lnTo>
                <a:lnTo>
                  <a:pt x="1573" y="1264"/>
                </a:lnTo>
                <a:lnTo>
                  <a:pt x="1582" y="1269"/>
                </a:lnTo>
                <a:lnTo>
                  <a:pt x="1592" y="1275"/>
                </a:lnTo>
                <a:lnTo>
                  <a:pt x="1599" y="1282"/>
                </a:lnTo>
                <a:lnTo>
                  <a:pt x="1606" y="1288"/>
                </a:lnTo>
                <a:lnTo>
                  <a:pt x="1611" y="1295"/>
                </a:lnTo>
                <a:lnTo>
                  <a:pt x="1617" y="1302"/>
                </a:lnTo>
                <a:lnTo>
                  <a:pt x="1621" y="1310"/>
                </a:lnTo>
                <a:lnTo>
                  <a:pt x="1624" y="1318"/>
                </a:lnTo>
                <a:lnTo>
                  <a:pt x="1627" y="1325"/>
                </a:lnTo>
                <a:lnTo>
                  <a:pt x="1628" y="1335"/>
                </a:lnTo>
                <a:lnTo>
                  <a:pt x="1629" y="1343"/>
                </a:lnTo>
                <a:lnTo>
                  <a:pt x="1630" y="1351"/>
                </a:lnTo>
                <a:lnTo>
                  <a:pt x="1630" y="1361"/>
                </a:lnTo>
                <a:lnTo>
                  <a:pt x="1629" y="1369"/>
                </a:lnTo>
                <a:lnTo>
                  <a:pt x="1628" y="1379"/>
                </a:lnTo>
                <a:lnTo>
                  <a:pt x="1624" y="1396"/>
                </a:lnTo>
                <a:lnTo>
                  <a:pt x="1618" y="1415"/>
                </a:lnTo>
                <a:lnTo>
                  <a:pt x="1610" y="1432"/>
                </a:lnTo>
                <a:lnTo>
                  <a:pt x="1602" y="1450"/>
                </a:lnTo>
                <a:lnTo>
                  <a:pt x="1592" y="1465"/>
                </a:lnTo>
                <a:lnTo>
                  <a:pt x="1581" y="1480"/>
                </a:lnTo>
                <a:lnTo>
                  <a:pt x="1571" y="1493"/>
                </a:lnTo>
                <a:lnTo>
                  <a:pt x="1559" y="1504"/>
                </a:lnTo>
                <a:lnTo>
                  <a:pt x="1552" y="1525"/>
                </a:lnTo>
                <a:lnTo>
                  <a:pt x="1544" y="1546"/>
                </a:lnTo>
                <a:lnTo>
                  <a:pt x="1534" y="1568"/>
                </a:lnTo>
                <a:lnTo>
                  <a:pt x="1524" y="1589"/>
                </a:lnTo>
                <a:lnTo>
                  <a:pt x="1512" y="1612"/>
                </a:lnTo>
                <a:lnTo>
                  <a:pt x="1500" y="1635"/>
                </a:lnTo>
                <a:lnTo>
                  <a:pt x="1487" y="1658"/>
                </a:lnTo>
                <a:lnTo>
                  <a:pt x="1473" y="1681"/>
                </a:lnTo>
                <a:lnTo>
                  <a:pt x="1459" y="1704"/>
                </a:lnTo>
                <a:lnTo>
                  <a:pt x="1443" y="1725"/>
                </a:lnTo>
                <a:lnTo>
                  <a:pt x="1428" y="1746"/>
                </a:lnTo>
                <a:lnTo>
                  <a:pt x="1412" y="1766"/>
                </a:lnTo>
                <a:lnTo>
                  <a:pt x="1396" y="1785"/>
                </a:lnTo>
                <a:lnTo>
                  <a:pt x="1380" y="1801"/>
                </a:lnTo>
                <a:lnTo>
                  <a:pt x="1363" y="1816"/>
                </a:lnTo>
                <a:lnTo>
                  <a:pt x="1347" y="1830"/>
                </a:lnTo>
                <a:lnTo>
                  <a:pt x="1345" y="1832"/>
                </a:lnTo>
                <a:lnTo>
                  <a:pt x="1343" y="1834"/>
                </a:lnTo>
                <a:lnTo>
                  <a:pt x="1342" y="1838"/>
                </a:lnTo>
                <a:lnTo>
                  <a:pt x="1341" y="1842"/>
                </a:lnTo>
                <a:lnTo>
                  <a:pt x="1340" y="1853"/>
                </a:lnTo>
                <a:lnTo>
                  <a:pt x="1340" y="1866"/>
                </a:lnTo>
                <a:lnTo>
                  <a:pt x="1342" y="1897"/>
                </a:lnTo>
                <a:lnTo>
                  <a:pt x="1346" y="1934"/>
                </a:lnTo>
                <a:lnTo>
                  <a:pt x="1352" y="1970"/>
                </a:lnTo>
                <a:lnTo>
                  <a:pt x="1358" y="2005"/>
                </a:lnTo>
                <a:lnTo>
                  <a:pt x="1363" y="2032"/>
                </a:lnTo>
                <a:lnTo>
                  <a:pt x="1366" y="20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4" name="Group 3"/>
          <p:cNvGrpSpPr/>
          <p:nvPr/>
        </p:nvGrpSpPr>
        <p:grpSpPr>
          <a:xfrm>
            <a:off x="551046" y="4316782"/>
            <a:ext cx="11162308" cy="2079467"/>
            <a:chOff x="711236" y="985007"/>
            <a:chExt cx="11162308" cy="2079467"/>
          </a:xfrm>
        </p:grpSpPr>
        <p:grpSp>
          <p:nvGrpSpPr>
            <p:cNvPr id="136" name="Group 135"/>
            <p:cNvGrpSpPr/>
            <p:nvPr/>
          </p:nvGrpSpPr>
          <p:grpSpPr>
            <a:xfrm>
              <a:off x="8423166" y="2402006"/>
              <a:ext cx="365992" cy="417146"/>
              <a:chOff x="5522217" y="5430126"/>
              <a:chExt cx="458872" cy="489224"/>
            </a:xfrm>
            <a:solidFill>
              <a:schemeClr val="accent2"/>
            </a:solidFill>
          </p:grpSpPr>
          <p:sp>
            <p:nvSpPr>
              <p:cNvPr id="137" name="Freeform 1215"/>
              <p:cNvSpPr>
                <a:spLocks noEditPoints="1"/>
              </p:cNvSpPr>
              <p:nvPr/>
            </p:nvSpPr>
            <p:spPr bwMode="auto">
              <a:xfrm>
                <a:off x="5650772" y="5430126"/>
                <a:ext cx="330317" cy="330317"/>
              </a:xfrm>
              <a:custGeom>
                <a:avLst/>
                <a:gdLst>
                  <a:gd name="T0" fmla="*/ 556 w 741"/>
                  <a:gd name="T1" fmla="*/ 51 h 742"/>
                  <a:gd name="T2" fmla="*/ 473 w 741"/>
                  <a:gd name="T3" fmla="*/ 16 h 742"/>
                  <a:gd name="T4" fmla="*/ 386 w 741"/>
                  <a:gd name="T5" fmla="*/ 2 h 742"/>
                  <a:gd name="T6" fmla="*/ 297 w 741"/>
                  <a:gd name="T7" fmla="*/ 8 h 742"/>
                  <a:gd name="T8" fmla="*/ 212 w 741"/>
                  <a:gd name="T9" fmla="*/ 36 h 742"/>
                  <a:gd name="T10" fmla="*/ 135 w 741"/>
                  <a:gd name="T11" fmla="*/ 85 h 742"/>
                  <a:gd name="T12" fmla="*/ 71 w 741"/>
                  <a:gd name="T13" fmla="*/ 154 h 742"/>
                  <a:gd name="T14" fmla="*/ 26 w 741"/>
                  <a:gd name="T15" fmla="*/ 234 h 742"/>
                  <a:gd name="T16" fmla="*/ 4 w 741"/>
                  <a:gd name="T17" fmla="*/ 321 h 742"/>
                  <a:gd name="T18" fmla="*/ 1 w 741"/>
                  <a:gd name="T19" fmla="*/ 410 h 742"/>
                  <a:gd name="T20" fmla="*/ 22 w 741"/>
                  <a:gd name="T21" fmla="*/ 496 h 742"/>
                  <a:gd name="T22" fmla="*/ 62 w 741"/>
                  <a:gd name="T23" fmla="*/ 577 h 742"/>
                  <a:gd name="T24" fmla="*/ 123 w 741"/>
                  <a:gd name="T25" fmla="*/ 647 h 742"/>
                  <a:gd name="T26" fmla="*/ 200 w 741"/>
                  <a:gd name="T27" fmla="*/ 700 h 742"/>
                  <a:gd name="T28" fmla="*/ 284 w 741"/>
                  <a:gd name="T29" fmla="*/ 732 h 742"/>
                  <a:gd name="T30" fmla="*/ 373 w 741"/>
                  <a:gd name="T31" fmla="*/ 742 h 742"/>
                  <a:gd name="T32" fmla="*/ 461 w 741"/>
                  <a:gd name="T33" fmla="*/ 731 h 742"/>
                  <a:gd name="T34" fmla="*/ 545 w 741"/>
                  <a:gd name="T35" fmla="*/ 698 h 742"/>
                  <a:gd name="T36" fmla="*/ 620 w 741"/>
                  <a:gd name="T37" fmla="*/ 645 h 742"/>
                  <a:gd name="T38" fmla="*/ 681 w 741"/>
                  <a:gd name="T39" fmla="*/ 574 h 742"/>
                  <a:gd name="T40" fmla="*/ 721 w 741"/>
                  <a:gd name="T41" fmla="*/ 492 h 742"/>
                  <a:gd name="T42" fmla="*/ 740 w 741"/>
                  <a:gd name="T43" fmla="*/ 404 h 742"/>
                  <a:gd name="T44" fmla="*/ 737 w 741"/>
                  <a:gd name="T45" fmla="*/ 316 h 742"/>
                  <a:gd name="T46" fmla="*/ 713 w 741"/>
                  <a:gd name="T47" fmla="*/ 229 h 742"/>
                  <a:gd name="T48" fmla="*/ 668 w 741"/>
                  <a:gd name="T49" fmla="*/ 151 h 742"/>
                  <a:gd name="T50" fmla="*/ 169 w 741"/>
                  <a:gd name="T51" fmla="*/ 597 h 742"/>
                  <a:gd name="T52" fmla="*/ 119 w 741"/>
                  <a:gd name="T53" fmla="*/ 538 h 742"/>
                  <a:gd name="T54" fmla="*/ 87 w 741"/>
                  <a:gd name="T55" fmla="*/ 473 h 742"/>
                  <a:gd name="T56" fmla="*/ 71 w 741"/>
                  <a:gd name="T57" fmla="*/ 402 h 742"/>
                  <a:gd name="T58" fmla="*/ 72 w 741"/>
                  <a:gd name="T59" fmla="*/ 330 h 742"/>
                  <a:gd name="T60" fmla="*/ 90 w 741"/>
                  <a:gd name="T61" fmla="*/ 260 h 742"/>
                  <a:gd name="T62" fmla="*/ 127 w 741"/>
                  <a:gd name="T63" fmla="*/ 195 h 742"/>
                  <a:gd name="T64" fmla="*/ 178 w 741"/>
                  <a:gd name="T65" fmla="*/ 139 h 742"/>
                  <a:gd name="T66" fmla="*/ 242 w 741"/>
                  <a:gd name="T67" fmla="*/ 99 h 742"/>
                  <a:gd name="T68" fmla="*/ 310 w 741"/>
                  <a:gd name="T69" fmla="*/ 76 h 742"/>
                  <a:gd name="T70" fmla="*/ 383 w 741"/>
                  <a:gd name="T71" fmla="*/ 71 h 742"/>
                  <a:gd name="T72" fmla="*/ 454 w 741"/>
                  <a:gd name="T73" fmla="*/ 81 h 742"/>
                  <a:gd name="T74" fmla="*/ 522 w 741"/>
                  <a:gd name="T75" fmla="*/ 111 h 742"/>
                  <a:gd name="T76" fmla="*/ 582 w 741"/>
                  <a:gd name="T77" fmla="*/ 157 h 742"/>
                  <a:gd name="T78" fmla="*/ 629 w 741"/>
                  <a:gd name="T79" fmla="*/ 216 h 742"/>
                  <a:gd name="T80" fmla="*/ 659 w 741"/>
                  <a:gd name="T81" fmla="*/ 283 h 742"/>
                  <a:gd name="T82" fmla="*/ 671 w 741"/>
                  <a:gd name="T83" fmla="*/ 355 h 742"/>
                  <a:gd name="T84" fmla="*/ 667 w 741"/>
                  <a:gd name="T85" fmla="*/ 427 h 742"/>
                  <a:gd name="T86" fmla="*/ 645 w 741"/>
                  <a:gd name="T87" fmla="*/ 497 h 742"/>
                  <a:gd name="T88" fmla="*/ 605 w 741"/>
                  <a:gd name="T89" fmla="*/ 561 h 742"/>
                  <a:gd name="T90" fmla="*/ 550 w 741"/>
                  <a:gd name="T91" fmla="*/ 614 h 742"/>
                  <a:gd name="T92" fmla="*/ 485 w 741"/>
                  <a:gd name="T93" fmla="*/ 651 h 742"/>
                  <a:gd name="T94" fmla="*/ 416 w 741"/>
                  <a:gd name="T95" fmla="*/ 669 h 742"/>
                  <a:gd name="T96" fmla="*/ 344 w 741"/>
                  <a:gd name="T97" fmla="*/ 672 h 742"/>
                  <a:gd name="T98" fmla="*/ 272 w 741"/>
                  <a:gd name="T99" fmla="*/ 657 h 742"/>
                  <a:gd name="T100" fmla="*/ 205 w 741"/>
                  <a:gd name="T101" fmla="*/ 624 h 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1" h="742">
                    <a:moveTo>
                      <a:pt x="618" y="95"/>
                    </a:moveTo>
                    <a:lnTo>
                      <a:pt x="603" y="83"/>
                    </a:lnTo>
                    <a:lnTo>
                      <a:pt x="588" y="72"/>
                    </a:lnTo>
                    <a:lnTo>
                      <a:pt x="573" y="61"/>
                    </a:lnTo>
                    <a:lnTo>
                      <a:pt x="556" y="51"/>
                    </a:lnTo>
                    <a:lnTo>
                      <a:pt x="540" y="43"/>
                    </a:lnTo>
                    <a:lnTo>
                      <a:pt x="524" y="34"/>
                    </a:lnTo>
                    <a:lnTo>
                      <a:pt x="508" y="27"/>
                    </a:lnTo>
                    <a:lnTo>
                      <a:pt x="491" y="21"/>
                    </a:lnTo>
                    <a:lnTo>
                      <a:pt x="473" y="16"/>
                    </a:lnTo>
                    <a:lnTo>
                      <a:pt x="456" y="11"/>
                    </a:lnTo>
                    <a:lnTo>
                      <a:pt x="439" y="7"/>
                    </a:lnTo>
                    <a:lnTo>
                      <a:pt x="421" y="5"/>
                    </a:lnTo>
                    <a:lnTo>
                      <a:pt x="403" y="3"/>
                    </a:lnTo>
                    <a:lnTo>
                      <a:pt x="386" y="2"/>
                    </a:lnTo>
                    <a:lnTo>
                      <a:pt x="367" y="0"/>
                    </a:lnTo>
                    <a:lnTo>
                      <a:pt x="350" y="2"/>
                    </a:lnTo>
                    <a:lnTo>
                      <a:pt x="332" y="3"/>
                    </a:lnTo>
                    <a:lnTo>
                      <a:pt x="315" y="5"/>
                    </a:lnTo>
                    <a:lnTo>
                      <a:pt x="297" y="8"/>
                    </a:lnTo>
                    <a:lnTo>
                      <a:pt x="280" y="12"/>
                    </a:lnTo>
                    <a:lnTo>
                      <a:pt x="263" y="17"/>
                    </a:lnTo>
                    <a:lnTo>
                      <a:pt x="245" y="22"/>
                    </a:lnTo>
                    <a:lnTo>
                      <a:pt x="228" y="29"/>
                    </a:lnTo>
                    <a:lnTo>
                      <a:pt x="212" y="36"/>
                    </a:lnTo>
                    <a:lnTo>
                      <a:pt x="196" y="45"/>
                    </a:lnTo>
                    <a:lnTo>
                      <a:pt x="181" y="53"/>
                    </a:lnTo>
                    <a:lnTo>
                      <a:pt x="164" y="63"/>
                    </a:lnTo>
                    <a:lnTo>
                      <a:pt x="149" y="74"/>
                    </a:lnTo>
                    <a:lnTo>
                      <a:pt x="135" y="85"/>
                    </a:lnTo>
                    <a:lnTo>
                      <a:pt x="121" y="98"/>
                    </a:lnTo>
                    <a:lnTo>
                      <a:pt x="107" y="111"/>
                    </a:lnTo>
                    <a:lnTo>
                      <a:pt x="94" y="125"/>
                    </a:lnTo>
                    <a:lnTo>
                      <a:pt x="82" y="139"/>
                    </a:lnTo>
                    <a:lnTo>
                      <a:pt x="71" y="154"/>
                    </a:lnTo>
                    <a:lnTo>
                      <a:pt x="60" y="169"/>
                    </a:lnTo>
                    <a:lnTo>
                      <a:pt x="50" y="185"/>
                    </a:lnTo>
                    <a:lnTo>
                      <a:pt x="41" y="201"/>
                    </a:lnTo>
                    <a:lnTo>
                      <a:pt x="33" y="218"/>
                    </a:lnTo>
                    <a:lnTo>
                      <a:pt x="26" y="234"/>
                    </a:lnTo>
                    <a:lnTo>
                      <a:pt x="20" y="251"/>
                    </a:lnTo>
                    <a:lnTo>
                      <a:pt x="14" y="268"/>
                    </a:lnTo>
                    <a:lnTo>
                      <a:pt x="10" y="286"/>
                    </a:lnTo>
                    <a:lnTo>
                      <a:pt x="6" y="303"/>
                    </a:lnTo>
                    <a:lnTo>
                      <a:pt x="4" y="321"/>
                    </a:lnTo>
                    <a:lnTo>
                      <a:pt x="1" y="338"/>
                    </a:lnTo>
                    <a:lnTo>
                      <a:pt x="0" y="357"/>
                    </a:lnTo>
                    <a:lnTo>
                      <a:pt x="0" y="374"/>
                    </a:lnTo>
                    <a:lnTo>
                      <a:pt x="0" y="391"/>
                    </a:lnTo>
                    <a:lnTo>
                      <a:pt x="1" y="410"/>
                    </a:lnTo>
                    <a:lnTo>
                      <a:pt x="4" y="427"/>
                    </a:lnTo>
                    <a:lnTo>
                      <a:pt x="7" y="444"/>
                    </a:lnTo>
                    <a:lnTo>
                      <a:pt x="11" y="463"/>
                    </a:lnTo>
                    <a:lnTo>
                      <a:pt x="15" y="480"/>
                    </a:lnTo>
                    <a:lnTo>
                      <a:pt x="22" y="496"/>
                    </a:lnTo>
                    <a:lnTo>
                      <a:pt x="28" y="513"/>
                    </a:lnTo>
                    <a:lnTo>
                      <a:pt x="35" y="530"/>
                    </a:lnTo>
                    <a:lnTo>
                      <a:pt x="44" y="546"/>
                    </a:lnTo>
                    <a:lnTo>
                      <a:pt x="52" y="562"/>
                    </a:lnTo>
                    <a:lnTo>
                      <a:pt x="62" y="577"/>
                    </a:lnTo>
                    <a:lnTo>
                      <a:pt x="73" y="592"/>
                    </a:lnTo>
                    <a:lnTo>
                      <a:pt x="83" y="606"/>
                    </a:lnTo>
                    <a:lnTo>
                      <a:pt x="96" y="621"/>
                    </a:lnTo>
                    <a:lnTo>
                      <a:pt x="109" y="634"/>
                    </a:lnTo>
                    <a:lnTo>
                      <a:pt x="123" y="647"/>
                    </a:lnTo>
                    <a:lnTo>
                      <a:pt x="137" y="660"/>
                    </a:lnTo>
                    <a:lnTo>
                      <a:pt x="153" y="671"/>
                    </a:lnTo>
                    <a:lnTo>
                      <a:pt x="168" y="682"/>
                    </a:lnTo>
                    <a:lnTo>
                      <a:pt x="184" y="692"/>
                    </a:lnTo>
                    <a:lnTo>
                      <a:pt x="200" y="700"/>
                    </a:lnTo>
                    <a:lnTo>
                      <a:pt x="216" y="709"/>
                    </a:lnTo>
                    <a:lnTo>
                      <a:pt x="234" y="715"/>
                    </a:lnTo>
                    <a:lnTo>
                      <a:pt x="250" y="722"/>
                    </a:lnTo>
                    <a:lnTo>
                      <a:pt x="267" y="727"/>
                    </a:lnTo>
                    <a:lnTo>
                      <a:pt x="284" y="732"/>
                    </a:lnTo>
                    <a:lnTo>
                      <a:pt x="302" y="736"/>
                    </a:lnTo>
                    <a:lnTo>
                      <a:pt x="320" y="739"/>
                    </a:lnTo>
                    <a:lnTo>
                      <a:pt x="337" y="740"/>
                    </a:lnTo>
                    <a:lnTo>
                      <a:pt x="356" y="741"/>
                    </a:lnTo>
                    <a:lnTo>
                      <a:pt x="373" y="742"/>
                    </a:lnTo>
                    <a:lnTo>
                      <a:pt x="391" y="741"/>
                    </a:lnTo>
                    <a:lnTo>
                      <a:pt x="408" y="740"/>
                    </a:lnTo>
                    <a:lnTo>
                      <a:pt x="426" y="738"/>
                    </a:lnTo>
                    <a:lnTo>
                      <a:pt x="444" y="735"/>
                    </a:lnTo>
                    <a:lnTo>
                      <a:pt x="461" y="731"/>
                    </a:lnTo>
                    <a:lnTo>
                      <a:pt x="479" y="726"/>
                    </a:lnTo>
                    <a:lnTo>
                      <a:pt x="495" y="721"/>
                    </a:lnTo>
                    <a:lnTo>
                      <a:pt x="512" y="714"/>
                    </a:lnTo>
                    <a:lnTo>
                      <a:pt x="528" y="707"/>
                    </a:lnTo>
                    <a:lnTo>
                      <a:pt x="545" y="698"/>
                    </a:lnTo>
                    <a:lnTo>
                      <a:pt x="561" y="689"/>
                    </a:lnTo>
                    <a:lnTo>
                      <a:pt x="576" y="680"/>
                    </a:lnTo>
                    <a:lnTo>
                      <a:pt x="591" y="669"/>
                    </a:lnTo>
                    <a:lnTo>
                      <a:pt x="606" y="658"/>
                    </a:lnTo>
                    <a:lnTo>
                      <a:pt x="620" y="645"/>
                    </a:lnTo>
                    <a:lnTo>
                      <a:pt x="633" y="632"/>
                    </a:lnTo>
                    <a:lnTo>
                      <a:pt x="646" y="618"/>
                    </a:lnTo>
                    <a:lnTo>
                      <a:pt x="659" y="604"/>
                    </a:lnTo>
                    <a:lnTo>
                      <a:pt x="670" y="589"/>
                    </a:lnTo>
                    <a:lnTo>
                      <a:pt x="681" y="574"/>
                    </a:lnTo>
                    <a:lnTo>
                      <a:pt x="690" y="558"/>
                    </a:lnTo>
                    <a:lnTo>
                      <a:pt x="700" y="542"/>
                    </a:lnTo>
                    <a:lnTo>
                      <a:pt x="708" y="525"/>
                    </a:lnTo>
                    <a:lnTo>
                      <a:pt x="715" y="509"/>
                    </a:lnTo>
                    <a:lnTo>
                      <a:pt x="721" y="492"/>
                    </a:lnTo>
                    <a:lnTo>
                      <a:pt x="726" y="475"/>
                    </a:lnTo>
                    <a:lnTo>
                      <a:pt x="731" y="457"/>
                    </a:lnTo>
                    <a:lnTo>
                      <a:pt x="735" y="440"/>
                    </a:lnTo>
                    <a:lnTo>
                      <a:pt x="738" y="422"/>
                    </a:lnTo>
                    <a:lnTo>
                      <a:pt x="740" y="404"/>
                    </a:lnTo>
                    <a:lnTo>
                      <a:pt x="741" y="387"/>
                    </a:lnTo>
                    <a:lnTo>
                      <a:pt x="741" y="369"/>
                    </a:lnTo>
                    <a:lnTo>
                      <a:pt x="740" y="351"/>
                    </a:lnTo>
                    <a:lnTo>
                      <a:pt x="739" y="333"/>
                    </a:lnTo>
                    <a:lnTo>
                      <a:pt x="737" y="316"/>
                    </a:lnTo>
                    <a:lnTo>
                      <a:pt x="734" y="299"/>
                    </a:lnTo>
                    <a:lnTo>
                      <a:pt x="729" y="281"/>
                    </a:lnTo>
                    <a:lnTo>
                      <a:pt x="725" y="264"/>
                    </a:lnTo>
                    <a:lnTo>
                      <a:pt x="719" y="247"/>
                    </a:lnTo>
                    <a:lnTo>
                      <a:pt x="713" y="229"/>
                    </a:lnTo>
                    <a:lnTo>
                      <a:pt x="705" y="213"/>
                    </a:lnTo>
                    <a:lnTo>
                      <a:pt x="698" y="197"/>
                    </a:lnTo>
                    <a:lnTo>
                      <a:pt x="688" y="181"/>
                    </a:lnTo>
                    <a:lnTo>
                      <a:pt x="678" y="166"/>
                    </a:lnTo>
                    <a:lnTo>
                      <a:pt x="668" y="151"/>
                    </a:lnTo>
                    <a:lnTo>
                      <a:pt x="657" y="137"/>
                    </a:lnTo>
                    <a:lnTo>
                      <a:pt x="645" y="122"/>
                    </a:lnTo>
                    <a:lnTo>
                      <a:pt x="631" y="108"/>
                    </a:lnTo>
                    <a:lnTo>
                      <a:pt x="618" y="95"/>
                    </a:lnTo>
                    <a:close/>
                    <a:moveTo>
                      <a:pt x="169" y="597"/>
                    </a:moveTo>
                    <a:lnTo>
                      <a:pt x="158" y="586"/>
                    </a:lnTo>
                    <a:lnTo>
                      <a:pt x="147" y="574"/>
                    </a:lnTo>
                    <a:lnTo>
                      <a:pt x="137" y="563"/>
                    </a:lnTo>
                    <a:lnTo>
                      <a:pt x="128" y="551"/>
                    </a:lnTo>
                    <a:lnTo>
                      <a:pt x="119" y="538"/>
                    </a:lnTo>
                    <a:lnTo>
                      <a:pt x="112" y="526"/>
                    </a:lnTo>
                    <a:lnTo>
                      <a:pt x="104" y="513"/>
                    </a:lnTo>
                    <a:lnTo>
                      <a:pt x="98" y="500"/>
                    </a:lnTo>
                    <a:lnTo>
                      <a:pt x="92" y="486"/>
                    </a:lnTo>
                    <a:lnTo>
                      <a:pt x="87" y="473"/>
                    </a:lnTo>
                    <a:lnTo>
                      <a:pt x="82" y="459"/>
                    </a:lnTo>
                    <a:lnTo>
                      <a:pt x="78" y="445"/>
                    </a:lnTo>
                    <a:lnTo>
                      <a:pt x="75" y="431"/>
                    </a:lnTo>
                    <a:lnTo>
                      <a:pt x="73" y="417"/>
                    </a:lnTo>
                    <a:lnTo>
                      <a:pt x="71" y="402"/>
                    </a:lnTo>
                    <a:lnTo>
                      <a:pt x="69" y="388"/>
                    </a:lnTo>
                    <a:lnTo>
                      <a:pt x="69" y="374"/>
                    </a:lnTo>
                    <a:lnTo>
                      <a:pt x="69" y="359"/>
                    </a:lnTo>
                    <a:lnTo>
                      <a:pt x="71" y="345"/>
                    </a:lnTo>
                    <a:lnTo>
                      <a:pt x="72" y="330"/>
                    </a:lnTo>
                    <a:lnTo>
                      <a:pt x="74" y="316"/>
                    </a:lnTo>
                    <a:lnTo>
                      <a:pt x="77" y="302"/>
                    </a:lnTo>
                    <a:lnTo>
                      <a:pt x="81" y="288"/>
                    </a:lnTo>
                    <a:lnTo>
                      <a:pt x="86" y="274"/>
                    </a:lnTo>
                    <a:lnTo>
                      <a:pt x="90" y="260"/>
                    </a:lnTo>
                    <a:lnTo>
                      <a:pt x="96" y="247"/>
                    </a:lnTo>
                    <a:lnTo>
                      <a:pt x="103" y="233"/>
                    </a:lnTo>
                    <a:lnTo>
                      <a:pt x="109" y="220"/>
                    </a:lnTo>
                    <a:lnTo>
                      <a:pt x="118" y="207"/>
                    </a:lnTo>
                    <a:lnTo>
                      <a:pt x="127" y="195"/>
                    </a:lnTo>
                    <a:lnTo>
                      <a:pt x="135" y="182"/>
                    </a:lnTo>
                    <a:lnTo>
                      <a:pt x="146" y="170"/>
                    </a:lnTo>
                    <a:lnTo>
                      <a:pt x="157" y="159"/>
                    </a:lnTo>
                    <a:lnTo>
                      <a:pt x="168" y="148"/>
                    </a:lnTo>
                    <a:lnTo>
                      <a:pt x="178" y="139"/>
                    </a:lnTo>
                    <a:lnTo>
                      <a:pt x="190" y="129"/>
                    </a:lnTo>
                    <a:lnTo>
                      <a:pt x="203" y="120"/>
                    </a:lnTo>
                    <a:lnTo>
                      <a:pt x="215" y="113"/>
                    </a:lnTo>
                    <a:lnTo>
                      <a:pt x="228" y="105"/>
                    </a:lnTo>
                    <a:lnTo>
                      <a:pt x="242" y="99"/>
                    </a:lnTo>
                    <a:lnTo>
                      <a:pt x="255" y="93"/>
                    </a:lnTo>
                    <a:lnTo>
                      <a:pt x="269" y="88"/>
                    </a:lnTo>
                    <a:lnTo>
                      <a:pt x="282" y="83"/>
                    </a:lnTo>
                    <a:lnTo>
                      <a:pt x="296" y="79"/>
                    </a:lnTo>
                    <a:lnTo>
                      <a:pt x="310" y="76"/>
                    </a:lnTo>
                    <a:lnTo>
                      <a:pt x="325" y="74"/>
                    </a:lnTo>
                    <a:lnTo>
                      <a:pt x="339" y="72"/>
                    </a:lnTo>
                    <a:lnTo>
                      <a:pt x="353" y="71"/>
                    </a:lnTo>
                    <a:lnTo>
                      <a:pt x="369" y="70"/>
                    </a:lnTo>
                    <a:lnTo>
                      <a:pt x="383" y="71"/>
                    </a:lnTo>
                    <a:lnTo>
                      <a:pt x="397" y="71"/>
                    </a:lnTo>
                    <a:lnTo>
                      <a:pt x="412" y="73"/>
                    </a:lnTo>
                    <a:lnTo>
                      <a:pt x="426" y="75"/>
                    </a:lnTo>
                    <a:lnTo>
                      <a:pt x="440" y="78"/>
                    </a:lnTo>
                    <a:lnTo>
                      <a:pt x="454" y="81"/>
                    </a:lnTo>
                    <a:lnTo>
                      <a:pt x="468" y="86"/>
                    </a:lnTo>
                    <a:lnTo>
                      <a:pt x="482" y="91"/>
                    </a:lnTo>
                    <a:lnTo>
                      <a:pt x="496" y="98"/>
                    </a:lnTo>
                    <a:lnTo>
                      <a:pt x="509" y="104"/>
                    </a:lnTo>
                    <a:lnTo>
                      <a:pt x="522" y="111"/>
                    </a:lnTo>
                    <a:lnTo>
                      <a:pt x="535" y="119"/>
                    </a:lnTo>
                    <a:lnTo>
                      <a:pt x="548" y="128"/>
                    </a:lnTo>
                    <a:lnTo>
                      <a:pt x="560" y="137"/>
                    </a:lnTo>
                    <a:lnTo>
                      <a:pt x="572" y="147"/>
                    </a:lnTo>
                    <a:lnTo>
                      <a:pt x="582" y="157"/>
                    </a:lnTo>
                    <a:lnTo>
                      <a:pt x="593" y="169"/>
                    </a:lnTo>
                    <a:lnTo>
                      <a:pt x="603" y="180"/>
                    </a:lnTo>
                    <a:lnTo>
                      <a:pt x="613" y="192"/>
                    </a:lnTo>
                    <a:lnTo>
                      <a:pt x="621" y="205"/>
                    </a:lnTo>
                    <a:lnTo>
                      <a:pt x="629" y="216"/>
                    </a:lnTo>
                    <a:lnTo>
                      <a:pt x="636" y="229"/>
                    </a:lnTo>
                    <a:lnTo>
                      <a:pt x="643" y="242"/>
                    </a:lnTo>
                    <a:lnTo>
                      <a:pt x="649" y="256"/>
                    </a:lnTo>
                    <a:lnTo>
                      <a:pt x="655" y="269"/>
                    </a:lnTo>
                    <a:lnTo>
                      <a:pt x="659" y="283"/>
                    </a:lnTo>
                    <a:lnTo>
                      <a:pt x="662" y="297"/>
                    </a:lnTo>
                    <a:lnTo>
                      <a:pt x="665" y="311"/>
                    </a:lnTo>
                    <a:lnTo>
                      <a:pt x="669" y="326"/>
                    </a:lnTo>
                    <a:lnTo>
                      <a:pt x="670" y="341"/>
                    </a:lnTo>
                    <a:lnTo>
                      <a:pt x="671" y="355"/>
                    </a:lnTo>
                    <a:lnTo>
                      <a:pt x="672" y="370"/>
                    </a:lnTo>
                    <a:lnTo>
                      <a:pt x="672" y="384"/>
                    </a:lnTo>
                    <a:lnTo>
                      <a:pt x="671" y="398"/>
                    </a:lnTo>
                    <a:lnTo>
                      <a:pt x="669" y="413"/>
                    </a:lnTo>
                    <a:lnTo>
                      <a:pt x="667" y="427"/>
                    </a:lnTo>
                    <a:lnTo>
                      <a:pt x="663" y="441"/>
                    </a:lnTo>
                    <a:lnTo>
                      <a:pt x="660" y="455"/>
                    </a:lnTo>
                    <a:lnTo>
                      <a:pt x="656" y="469"/>
                    </a:lnTo>
                    <a:lnTo>
                      <a:pt x="650" y="483"/>
                    </a:lnTo>
                    <a:lnTo>
                      <a:pt x="645" y="497"/>
                    </a:lnTo>
                    <a:lnTo>
                      <a:pt x="639" y="510"/>
                    </a:lnTo>
                    <a:lnTo>
                      <a:pt x="631" y="523"/>
                    </a:lnTo>
                    <a:lnTo>
                      <a:pt x="623" y="536"/>
                    </a:lnTo>
                    <a:lnTo>
                      <a:pt x="615" y="549"/>
                    </a:lnTo>
                    <a:lnTo>
                      <a:pt x="605" y="561"/>
                    </a:lnTo>
                    <a:lnTo>
                      <a:pt x="595" y="573"/>
                    </a:lnTo>
                    <a:lnTo>
                      <a:pt x="585" y="584"/>
                    </a:lnTo>
                    <a:lnTo>
                      <a:pt x="574" y="594"/>
                    </a:lnTo>
                    <a:lnTo>
                      <a:pt x="562" y="604"/>
                    </a:lnTo>
                    <a:lnTo>
                      <a:pt x="550" y="614"/>
                    </a:lnTo>
                    <a:lnTo>
                      <a:pt x="538" y="623"/>
                    </a:lnTo>
                    <a:lnTo>
                      <a:pt x="525" y="630"/>
                    </a:lnTo>
                    <a:lnTo>
                      <a:pt x="512" y="638"/>
                    </a:lnTo>
                    <a:lnTo>
                      <a:pt x="499" y="644"/>
                    </a:lnTo>
                    <a:lnTo>
                      <a:pt x="485" y="651"/>
                    </a:lnTo>
                    <a:lnTo>
                      <a:pt x="472" y="655"/>
                    </a:lnTo>
                    <a:lnTo>
                      <a:pt x="458" y="660"/>
                    </a:lnTo>
                    <a:lnTo>
                      <a:pt x="444" y="664"/>
                    </a:lnTo>
                    <a:lnTo>
                      <a:pt x="430" y="667"/>
                    </a:lnTo>
                    <a:lnTo>
                      <a:pt x="416" y="669"/>
                    </a:lnTo>
                    <a:lnTo>
                      <a:pt x="401" y="671"/>
                    </a:lnTo>
                    <a:lnTo>
                      <a:pt x="387" y="672"/>
                    </a:lnTo>
                    <a:lnTo>
                      <a:pt x="373" y="673"/>
                    </a:lnTo>
                    <a:lnTo>
                      <a:pt x="358" y="672"/>
                    </a:lnTo>
                    <a:lnTo>
                      <a:pt x="344" y="672"/>
                    </a:lnTo>
                    <a:lnTo>
                      <a:pt x="330" y="670"/>
                    </a:lnTo>
                    <a:lnTo>
                      <a:pt x="315" y="668"/>
                    </a:lnTo>
                    <a:lnTo>
                      <a:pt x="301" y="665"/>
                    </a:lnTo>
                    <a:lnTo>
                      <a:pt x="286" y="661"/>
                    </a:lnTo>
                    <a:lnTo>
                      <a:pt x="272" y="657"/>
                    </a:lnTo>
                    <a:lnTo>
                      <a:pt x="258" y="652"/>
                    </a:lnTo>
                    <a:lnTo>
                      <a:pt x="245" y="646"/>
                    </a:lnTo>
                    <a:lnTo>
                      <a:pt x="231" y="639"/>
                    </a:lnTo>
                    <a:lnTo>
                      <a:pt x="218" y="632"/>
                    </a:lnTo>
                    <a:lnTo>
                      <a:pt x="205" y="624"/>
                    </a:lnTo>
                    <a:lnTo>
                      <a:pt x="194" y="615"/>
                    </a:lnTo>
                    <a:lnTo>
                      <a:pt x="181" y="606"/>
                    </a:lnTo>
                    <a:lnTo>
                      <a:pt x="169" y="597"/>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38" name="Freeform 1216"/>
              <p:cNvSpPr>
                <a:spLocks/>
              </p:cNvSpPr>
              <p:nvPr/>
            </p:nvSpPr>
            <p:spPr bwMode="auto">
              <a:xfrm>
                <a:off x="5593636" y="5690808"/>
                <a:ext cx="141055" cy="149982"/>
              </a:xfrm>
              <a:custGeom>
                <a:avLst/>
                <a:gdLst>
                  <a:gd name="T0" fmla="*/ 74 w 315"/>
                  <a:gd name="T1" fmla="*/ 335 h 335"/>
                  <a:gd name="T2" fmla="*/ 0 w 315"/>
                  <a:gd name="T3" fmla="*/ 268 h 335"/>
                  <a:gd name="T4" fmla="*/ 241 w 315"/>
                  <a:gd name="T5" fmla="*/ 0 h 335"/>
                  <a:gd name="T6" fmla="*/ 315 w 315"/>
                  <a:gd name="T7" fmla="*/ 67 h 335"/>
                  <a:gd name="T8" fmla="*/ 74 w 315"/>
                  <a:gd name="T9" fmla="*/ 335 h 335"/>
                </a:gdLst>
                <a:ahLst/>
                <a:cxnLst>
                  <a:cxn ang="0">
                    <a:pos x="T0" y="T1"/>
                  </a:cxn>
                  <a:cxn ang="0">
                    <a:pos x="T2" y="T3"/>
                  </a:cxn>
                  <a:cxn ang="0">
                    <a:pos x="T4" y="T5"/>
                  </a:cxn>
                  <a:cxn ang="0">
                    <a:pos x="T6" y="T7"/>
                  </a:cxn>
                  <a:cxn ang="0">
                    <a:pos x="T8" y="T9"/>
                  </a:cxn>
                </a:cxnLst>
                <a:rect l="0" t="0" r="r" b="b"/>
                <a:pathLst>
                  <a:path w="315" h="335">
                    <a:moveTo>
                      <a:pt x="74" y="335"/>
                    </a:moveTo>
                    <a:lnTo>
                      <a:pt x="0" y="268"/>
                    </a:lnTo>
                    <a:lnTo>
                      <a:pt x="241" y="0"/>
                    </a:lnTo>
                    <a:lnTo>
                      <a:pt x="315" y="67"/>
                    </a:lnTo>
                    <a:lnTo>
                      <a:pt x="74" y="335"/>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sp>
            <p:nvSpPr>
              <p:cNvPr id="139" name="Freeform 1217"/>
              <p:cNvSpPr>
                <a:spLocks/>
              </p:cNvSpPr>
              <p:nvPr/>
            </p:nvSpPr>
            <p:spPr bwMode="auto">
              <a:xfrm>
                <a:off x="5522217" y="5733659"/>
                <a:ext cx="173193" cy="185691"/>
              </a:xfrm>
              <a:custGeom>
                <a:avLst/>
                <a:gdLst>
                  <a:gd name="T0" fmla="*/ 134 w 388"/>
                  <a:gd name="T1" fmla="*/ 393 h 414"/>
                  <a:gd name="T2" fmla="*/ 122 w 388"/>
                  <a:gd name="T3" fmla="*/ 403 h 414"/>
                  <a:gd name="T4" fmla="*/ 108 w 388"/>
                  <a:gd name="T5" fmla="*/ 409 h 414"/>
                  <a:gd name="T6" fmla="*/ 93 w 388"/>
                  <a:gd name="T7" fmla="*/ 412 h 414"/>
                  <a:gd name="T8" fmla="*/ 78 w 388"/>
                  <a:gd name="T9" fmla="*/ 414 h 414"/>
                  <a:gd name="T10" fmla="*/ 62 w 388"/>
                  <a:gd name="T11" fmla="*/ 411 h 414"/>
                  <a:gd name="T12" fmla="*/ 48 w 388"/>
                  <a:gd name="T13" fmla="*/ 407 h 414"/>
                  <a:gd name="T14" fmla="*/ 34 w 388"/>
                  <a:gd name="T15" fmla="*/ 398 h 414"/>
                  <a:gd name="T16" fmla="*/ 22 w 388"/>
                  <a:gd name="T17" fmla="*/ 388 h 414"/>
                  <a:gd name="T18" fmla="*/ 12 w 388"/>
                  <a:gd name="T19" fmla="*/ 375 h 414"/>
                  <a:gd name="T20" fmla="*/ 5 w 388"/>
                  <a:gd name="T21" fmla="*/ 361 h 414"/>
                  <a:gd name="T22" fmla="*/ 1 w 388"/>
                  <a:gd name="T23" fmla="*/ 346 h 414"/>
                  <a:gd name="T24" fmla="*/ 0 w 388"/>
                  <a:gd name="T25" fmla="*/ 330 h 414"/>
                  <a:gd name="T26" fmla="*/ 2 w 388"/>
                  <a:gd name="T27" fmla="*/ 315 h 414"/>
                  <a:gd name="T28" fmla="*/ 8 w 388"/>
                  <a:gd name="T29" fmla="*/ 300 h 414"/>
                  <a:gd name="T30" fmla="*/ 16 w 388"/>
                  <a:gd name="T31" fmla="*/ 287 h 414"/>
                  <a:gd name="T32" fmla="*/ 248 w 388"/>
                  <a:gd name="T33" fmla="*/ 27 h 414"/>
                  <a:gd name="T34" fmla="*/ 260 w 388"/>
                  <a:gd name="T35" fmla="*/ 16 h 414"/>
                  <a:gd name="T36" fmla="*/ 273 w 388"/>
                  <a:gd name="T37" fmla="*/ 7 h 414"/>
                  <a:gd name="T38" fmla="*/ 288 w 388"/>
                  <a:gd name="T39" fmla="*/ 2 h 414"/>
                  <a:gd name="T40" fmla="*/ 304 w 388"/>
                  <a:gd name="T41" fmla="*/ 0 h 414"/>
                  <a:gd name="T42" fmla="*/ 319 w 388"/>
                  <a:gd name="T43" fmla="*/ 1 h 414"/>
                  <a:gd name="T44" fmla="*/ 334 w 388"/>
                  <a:gd name="T45" fmla="*/ 4 h 414"/>
                  <a:gd name="T46" fmla="*/ 348 w 388"/>
                  <a:gd name="T47" fmla="*/ 11 h 414"/>
                  <a:gd name="T48" fmla="*/ 361 w 388"/>
                  <a:gd name="T49" fmla="*/ 20 h 414"/>
                  <a:gd name="T50" fmla="*/ 373 w 388"/>
                  <a:gd name="T51" fmla="*/ 32 h 414"/>
                  <a:gd name="T52" fmla="*/ 380 w 388"/>
                  <a:gd name="T53" fmla="*/ 45 h 414"/>
                  <a:gd name="T54" fmla="*/ 386 w 388"/>
                  <a:gd name="T55" fmla="*/ 60 h 414"/>
                  <a:gd name="T56" fmla="*/ 388 w 388"/>
                  <a:gd name="T57" fmla="*/ 76 h 414"/>
                  <a:gd name="T58" fmla="*/ 387 w 388"/>
                  <a:gd name="T59" fmla="*/ 91 h 414"/>
                  <a:gd name="T60" fmla="*/ 383 w 388"/>
                  <a:gd name="T61" fmla="*/ 106 h 414"/>
                  <a:gd name="T62" fmla="*/ 377 w 388"/>
                  <a:gd name="T63" fmla="*/ 121 h 414"/>
                  <a:gd name="T64" fmla="*/ 367 w 388"/>
                  <a:gd name="T65" fmla="*/ 134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8" h="414">
                    <a:moveTo>
                      <a:pt x="140" y="388"/>
                    </a:moveTo>
                    <a:lnTo>
                      <a:pt x="134" y="393"/>
                    </a:lnTo>
                    <a:lnTo>
                      <a:pt x="129" y="398"/>
                    </a:lnTo>
                    <a:lnTo>
                      <a:pt x="122" y="403"/>
                    </a:lnTo>
                    <a:lnTo>
                      <a:pt x="115" y="406"/>
                    </a:lnTo>
                    <a:lnTo>
                      <a:pt x="108" y="409"/>
                    </a:lnTo>
                    <a:lnTo>
                      <a:pt x="101" y="411"/>
                    </a:lnTo>
                    <a:lnTo>
                      <a:pt x="93" y="412"/>
                    </a:lnTo>
                    <a:lnTo>
                      <a:pt x="85" y="414"/>
                    </a:lnTo>
                    <a:lnTo>
                      <a:pt x="78" y="414"/>
                    </a:lnTo>
                    <a:lnTo>
                      <a:pt x="69" y="414"/>
                    </a:lnTo>
                    <a:lnTo>
                      <a:pt x="62" y="411"/>
                    </a:lnTo>
                    <a:lnTo>
                      <a:pt x="54" y="409"/>
                    </a:lnTo>
                    <a:lnTo>
                      <a:pt x="48" y="407"/>
                    </a:lnTo>
                    <a:lnTo>
                      <a:pt x="40" y="403"/>
                    </a:lnTo>
                    <a:lnTo>
                      <a:pt x="34" y="398"/>
                    </a:lnTo>
                    <a:lnTo>
                      <a:pt x="27" y="393"/>
                    </a:lnTo>
                    <a:lnTo>
                      <a:pt x="22" y="388"/>
                    </a:lnTo>
                    <a:lnTo>
                      <a:pt x="16" y="381"/>
                    </a:lnTo>
                    <a:lnTo>
                      <a:pt x="12" y="375"/>
                    </a:lnTo>
                    <a:lnTo>
                      <a:pt x="8" y="368"/>
                    </a:lnTo>
                    <a:lnTo>
                      <a:pt x="5" y="361"/>
                    </a:lnTo>
                    <a:lnTo>
                      <a:pt x="3" y="353"/>
                    </a:lnTo>
                    <a:lnTo>
                      <a:pt x="1" y="346"/>
                    </a:lnTo>
                    <a:lnTo>
                      <a:pt x="0" y="338"/>
                    </a:lnTo>
                    <a:lnTo>
                      <a:pt x="0" y="330"/>
                    </a:lnTo>
                    <a:lnTo>
                      <a:pt x="1" y="323"/>
                    </a:lnTo>
                    <a:lnTo>
                      <a:pt x="2" y="315"/>
                    </a:lnTo>
                    <a:lnTo>
                      <a:pt x="4" y="308"/>
                    </a:lnTo>
                    <a:lnTo>
                      <a:pt x="8" y="300"/>
                    </a:lnTo>
                    <a:lnTo>
                      <a:pt x="11" y="294"/>
                    </a:lnTo>
                    <a:lnTo>
                      <a:pt x="16" y="287"/>
                    </a:lnTo>
                    <a:lnTo>
                      <a:pt x="21" y="281"/>
                    </a:lnTo>
                    <a:lnTo>
                      <a:pt x="248" y="27"/>
                    </a:lnTo>
                    <a:lnTo>
                      <a:pt x="254" y="20"/>
                    </a:lnTo>
                    <a:lnTo>
                      <a:pt x="260" y="16"/>
                    </a:lnTo>
                    <a:lnTo>
                      <a:pt x="267" y="11"/>
                    </a:lnTo>
                    <a:lnTo>
                      <a:pt x="273" y="7"/>
                    </a:lnTo>
                    <a:lnTo>
                      <a:pt x="281" y="4"/>
                    </a:lnTo>
                    <a:lnTo>
                      <a:pt x="288" y="2"/>
                    </a:lnTo>
                    <a:lnTo>
                      <a:pt x="296" y="1"/>
                    </a:lnTo>
                    <a:lnTo>
                      <a:pt x="304" y="0"/>
                    </a:lnTo>
                    <a:lnTo>
                      <a:pt x="311" y="0"/>
                    </a:lnTo>
                    <a:lnTo>
                      <a:pt x="319" y="1"/>
                    </a:lnTo>
                    <a:lnTo>
                      <a:pt x="326" y="2"/>
                    </a:lnTo>
                    <a:lnTo>
                      <a:pt x="334" y="4"/>
                    </a:lnTo>
                    <a:lnTo>
                      <a:pt x="341" y="7"/>
                    </a:lnTo>
                    <a:lnTo>
                      <a:pt x="348" y="11"/>
                    </a:lnTo>
                    <a:lnTo>
                      <a:pt x="355" y="15"/>
                    </a:lnTo>
                    <a:lnTo>
                      <a:pt x="361" y="20"/>
                    </a:lnTo>
                    <a:lnTo>
                      <a:pt x="367" y="26"/>
                    </a:lnTo>
                    <a:lnTo>
                      <a:pt x="373" y="32"/>
                    </a:lnTo>
                    <a:lnTo>
                      <a:pt x="377" y="39"/>
                    </a:lnTo>
                    <a:lnTo>
                      <a:pt x="380" y="45"/>
                    </a:lnTo>
                    <a:lnTo>
                      <a:pt x="383" y="53"/>
                    </a:lnTo>
                    <a:lnTo>
                      <a:pt x="386" y="60"/>
                    </a:lnTo>
                    <a:lnTo>
                      <a:pt x="387" y="68"/>
                    </a:lnTo>
                    <a:lnTo>
                      <a:pt x="388" y="76"/>
                    </a:lnTo>
                    <a:lnTo>
                      <a:pt x="388" y="83"/>
                    </a:lnTo>
                    <a:lnTo>
                      <a:pt x="387" y="91"/>
                    </a:lnTo>
                    <a:lnTo>
                      <a:pt x="386" y="98"/>
                    </a:lnTo>
                    <a:lnTo>
                      <a:pt x="383" y="106"/>
                    </a:lnTo>
                    <a:lnTo>
                      <a:pt x="380" y="113"/>
                    </a:lnTo>
                    <a:lnTo>
                      <a:pt x="377" y="121"/>
                    </a:lnTo>
                    <a:lnTo>
                      <a:pt x="373" y="127"/>
                    </a:lnTo>
                    <a:lnTo>
                      <a:pt x="367" y="134"/>
                    </a:lnTo>
                    <a:lnTo>
                      <a:pt x="140" y="3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100">
                  <a:solidFill>
                    <a:srgbClr val="000000"/>
                  </a:solidFill>
                </a:endParaRPr>
              </a:p>
            </p:txBody>
          </p:sp>
        </p:grpSp>
        <p:sp>
          <p:nvSpPr>
            <p:cNvPr id="10" name="Rectangle 9"/>
            <p:cNvSpPr/>
            <p:nvPr/>
          </p:nvSpPr>
          <p:spPr>
            <a:xfrm>
              <a:off x="1342251" y="1292682"/>
              <a:ext cx="2919371" cy="769441"/>
            </a:xfrm>
            <a:prstGeom prst="rect">
              <a:avLst/>
            </a:prstGeom>
          </p:spPr>
          <p:txBody>
            <a:bodyPr wrap="square">
              <a:spAutoFit/>
            </a:bodyPr>
            <a:lstStyle/>
            <a:p>
              <a:r>
                <a:rPr lang="en-US" altLang="en-US" sz="1100" dirty="0">
                  <a:solidFill>
                    <a:srgbClr val="000000"/>
                  </a:solidFill>
                  <a:cs typeface="Times New Roman" panose="02020603050405020304" pitchFamily="18" charset="0"/>
                </a:rPr>
                <a:t>This solution helps create powerful light-sensory networks to reduce energy consumption, costs and maintenance </a:t>
              </a:r>
              <a:endParaRPr lang="en-US" altLang="en-US" sz="1100" dirty="0">
                <a:solidFill>
                  <a:prstClr val="white"/>
                </a:solidFill>
              </a:endParaRPr>
            </a:p>
          </p:txBody>
        </p:sp>
        <p:cxnSp>
          <p:nvCxnSpPr>
            <p:cNvPr id="11" name="Elbow Connector 10"/>
            <p:cNvCxnSpPr/>
            <p:nvPr/>
          </p:nvCxnSpPr>
          <p:spPr>
            <a:xfrm>
              <a:off x="935099" y="1325246"/>
              <a:ext cx="2911934"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18" name="Rounded Rectangle 17"/>
            <p:cNvSpPr/>
            <p:nvPr/>
          </p:nvSpPr>
          <p:spPr>
            <a:xfrm>
              <a:off x="711236" y="985007"/>
              <a:ext cx="3411672" cy="299397"/>
            </a:xfrm>
            <a:prstGeom prst="round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Energy Management</a:t>
              </a:r>
            </a:p>
          </p:txBody>
        </p:sp>
        <p:sp>
          <p:nvSpPr>
            <p:cNvPr id="35" name="Rectangle 34"/>
            <p:cNvSpPr/>
            <p:nvPr/>
          </p:nvSpPr>
          <p:spPr>
            <a:xfrm>
              <a:off x="1342251" y="2295033"/>
              <a:ext cx="2750622" cy="600164"/>
            </a:xfrm>
            <a:prstGeom prst="rect">
              <a:avLst/>
            </a:prstGeom>
          </p:spPr>
          <p:txBody>
            <a:bodyPr wrap="square">
              <a:spAutoFit/>
            </a:bodyPr>
            <a:lstStyle/>
            <a:p>
              <a:pPr marL="171450" indent="-171450">
                <a:buFont typeface="Arial" panose="020B0604020202020204" pitchFamily="34" charset="0"/>
                <a:buChar char="•"/>
              </a:pPr>
              <a:r>
                <a:rPr lang="en-US" sz="1100" dirty="0">
                  <a:solidFill>
                    <a:srgbClr val="000000"/>
                  </a:solidFill>
                </a:rPr>
                <a:t>Air quality control</a:t>
              </a:r>
            </a:p>
            <a:p>
              <a:pPr marL="171450" indent="-171450">
                <a:buFont typeface="Arial" panose="020B0604020202020204" pitchFamily="34" charset="0"/>
                <a:buChar char="•"/>
              </a:pPr>
              <a:r>
                <a:rPr lang="en-US" sz="1100" dirty="0">
                  <a:solidFill>
                    <a:srgbClr val="000000"/>
                  </a:solidFill>
                </a:rPr>
                <a:t>Water quality control</a:t>
              </a:r>
            </a:p>
            <a:p>
              <a:pPr marL="171450" indent="-171450">
                <a:buFont typeface="Arial" panose="020B0604020202020204" pitchFamily="34" charset="0"/>
                <a:buChar char="•"/>
              </a:pPr>
              <a:r>
                <a:rPr lang="en-US" sz="1100" dirty="0">
                  <a:solidFill>
                    <a:srgbClr val="000000"/>
                  </a:solidFill>
                </a:rPr>
                <a:t>Connection of sensors/ </a:t>
              </a:r>
              <a:r>
                <a:rPr lang="en-US" sz="1100" dirty="0" err="1">
                  <a:solidFill>
                    <a:srgbClr val="000000"/>
                  </a:solidFill>
                </a:rPr>
                <a:t>IoT</a:t>
              </a:r>
              <a:r>
                <a:rPr lang="en-US" sz="1100" dirty="0">
                  <a:solidFill>
                    <a:srgbClr val="000000"/>
                  </a:solidFill>
                </a:rPr>
                <a:t> platform</a:t>
              </a:r>
            </a:p>
          </p:txBody>
        </p:sp>
        <p:cxnSp>
          <p:nvCxnSpPr>
            <p:cNvPr id="36" name="Elbow Connector 35"/>
            <p:cNvCxnSpPr/>
            <p:nvPr/>
          </p:nvCxnSpPr>
          <p:spPr>
            <a:xfrm>
              <a:off x="935099" y="2327597"/>
              <a:ext cx="2911933"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8" name="Rounded Rectangle 37"/>
            <p:cNvSpPr/>
            <p:nvPr/>
          </p:nvSpPr>
          <p:spPr>
            <a:xfrm>
              <a:off x="711236" y="1987358"/>
              <a:ext cx="3411671" cy="299397"/>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Environmental Sensor</a:t>
              </a:r>
            </a:p>
          </p:txBody>
        </p:sp>
        <p:sp>
          <p:nvSpPr>
            <p:cNvPr id="45" name="Rectangle 44"/>
            <p:cNvSpPr/>
            <p:nvPr/>
          </p:nvSpPr>
          <p:spPr>
            <a:xfrm>
              <a:off x="5083188" y="1292682"/>
              <a:ext cx="3041817" cy="769441"/>
            </a:xfrm>
            <a:prstGeom prst="rect">
              <a:avLst/>
            </a:prstGeom>
          </p:spPr>
          <p:txBody>
            <a:bodyPr wrap="square">
              <a:spAutoFit/>
            </a:bodyPr>
            <a:lstStyle/>
            <a:p>
              <a:r>
                <a:rPr lang="en-US" altLang="en-US" sz="1100" dirty="0">
                  <a:solidFill>
                    <a:srgbClr val="000000"/>
                  </a:solidFill>
                  <a:cs typeface="Times New Roman" panose="02020603050405020304" pitchFamily="18" charset="0"/>
                </a:rPr>
                <a:t>This solution helps in gathering insights on movement of people in the city, holistic view of city traffic to improve planning etc.</a:t>
              </a:r>
              <a:endParaRPr lang="en-US" altLang="en-US" sz="1100" dirty="0">
                <a:solidFill>
                  <a:prstClr val="white"/>
                </a:solidFill>
              </a:endParaRPr>
            </a:p>
          </p:txBody>
        </p:sp>
        <p:cxnSp>
          <p:nvCxnSpPr>
            <p:cNvPr id="46" name="Elbow Connector 45"/>
            <p:cNvCxnSpPr/>
            <p:nvPr/>
          </p:nvCxnSpPr>
          <p:spPr>
            <a:xfrm>
              <a:off x="4676037" y="1325246"/>
              <a:ext cx="2911934"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8" name="Rounded Rectangle 47"/>
            <p:cNvSpPr/>
            <p:nvPr/>
          </p:nvSpPr>
          <p:spPr>
            <a:xfrm>
              <a:off x="4452174" y="985007"/>
              <a:ext cx="3411672" cy="299397"/>
            </a:xfrm>
            <a:prstGeom prst="round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Urban mobility</a:t>
              </a:r>
            </a:p>
          </p:txBody>
        </p:sp>
        <p:sp>
          <p:nvSpPr>
            <p:cNvPr id="55" name="Rectangle 54"/>
            <p:cNvSpPr/>
            <p:nvPr/>
          </p:nvSpPr>
          <p:spPr>
            <a:xfrm>
              <a:off x="8851036" y="1292682"/>
              <a:ext cx="2795677" cy="769441"/>
            </a:xfrm>
            <a:prstGeom prst="rect">
              <a:avLst/>
            </a:prstGeom>
          </p:spPr>
          <p:txBody>
            <a:bodyPr wrap="square">
              <a:spAutoFit/>
            </a:bodyPr>
            <a:lstStyle/>
            <a:p>
              <a:r>
                <a:rPr lang="en-US" altLang="en-US" sz="1100" dirty="0">
                  <a:solidFill>
                    <a:srgbClr val="000000"/>
                  </a:solidFill>
                  <a:cs typeface="Times New Roman" panose="02020603050405020304" pitchFamily="18" charset="0"/>
                </a:rPr>
                <a:t>Intelligent parking services through public Wi-Fi, video cameras, video analytics, and sensor-enabled parking management</a:t>
              </a:r>
              <a:endParaRPr lang="en-US" altLang="en-US" sz="1100" dirty="0">
                <a:solidFill>
                  <a:prstClr val="white"/>
                </a:solidFill>
              </a:endParaRPr>
            </a:p>
          </p:txBody>
        </p:sp>
        <p:cxnSp>
          <p:nvCxnSpPr>
            <p:cNvPr id="56" name="Elbow Connector 55"/>
            <p:cNvCxnSpPr/>
            <p:nvPr/>
          </p:nvCxnSpPr>
          <p:spPr>
            <a:xfrm>
              <a:off x="8443885" y="1325246"/>
              <a:ext cx="2911934"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8" name="Rounded Rectangle 57"/>
            <p:cNvSpPr/>
            <p:nvPr/>
          </p:nvSpPr>
          <p:spPr>
            <a:xfrm>
              <a:off x="8220022" y="985007"/>
              <a:ext cx="3411671" cy="299397"/>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Smart Parking</a:t>
              </a:r>
            </a:p>
          </p:txBody>
        </p:sp>
        <p:sp>
          <p:nvSpPr>
            <p:cNvPr id="65" name="Rectangle 64"/>
            <p:cNvSpPr/>
            <p:nvPr/>
          </p:nvSpPr>
          <p:spPr>
            <a:xfrm>
              <a:off x="8911473" y="2295033"/>
              <a:ext cx="2962071" cy="769441"/>
            </a:xfrm>
            <a:prstGeom prst="rect">
              <a:avLst/>
            </a:prstGeom>
          </p:spPr>
          <p:txBody>
            <a:bodyPr wrap="square">
              <a:spAutoFit/>
            </a:bodyPr>
            <a:lstStyle/>
            <a:p>
              <a:r>
                <a:rPr lang="en-US" altLang="en-US" sz="1100" dirty="0">
                  <a:solidFill>
                    <a:srgbClr val="000000"/>
                  </a:solidFill>
                  <a:cs typeface="Times New Roman" panose="02020603050405020304" pitchFamily="18" charset="0"/>
                </a:rPr>
                <a:t>Automated alerts from advanced video and social media analytics, predictive analysis by studying crime and incident trends</a:t>
              </a:r>
              <a:endParaRPr lang="en-US" altLang="en-US" sz="1100" dirty="0">
                <a:solidFill>
                  <a:prstClr val="white"/>
                </a:solidFill>
              </a:endParaRPr>
            </a:p>
          </p:txBody>
        </p:sp>
        <p:cxnSp>
          <p:nvCxnSpPr>
            <p:cNvPr id="66" name="Elbow Connector 65"/>
            <p:cNvCxnSpPr/>
            <p:nvPr/>
          </p:nvCxnSpPr>
          <p:spPr>
            <a:xfrm>
              <a:off x="8504321" y="2327597"/>
              <a:ext cx="2911934"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8" name="Rounded Rectangle 67"/>
            <p:cNvSpPr/>
            <p:nvPr/>
          </p:nvSpPr>
          <p:spPr>
            <a:xfrm>
              <a:off x="8280458" y="1987358"/>
              <a:ext cx="3411671" cy="299397"/>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Safety and security</a:t>
              </a:r>
            </a:p>
          </p:txBody>
        </p:sp>
        <p:sp>
          <p:nvSpPr>
            <p:cNvPr id="74" name="Rectangle 73"/>
            <p:cNvSpPr/>
            <p:nvPr/>
          </p:nvSpPr>
          <p:spPr>
            <a:xfrm>
              <a:off x="5083921" y="2295033"/>
              <a:ext cx="2962071" cy="600164"/>
            </a:xfrm>
            <a:prstGeom prst="rect">
              <a:avLst/>
            </a:prstGeom>
          </p:spPr>
          <p:txBody>
            <a:bodyPr wrap="square">
              <a:spAutoFit/>
            </a:bodyPr>
            <a:lstStyle/>
            <a:p>
              <a:r>
                <a:rPr lang="en-US" altLang="en-US" sz="1100" dirty="0">
                  <a:solidFill>
                    <a:srgbClr val="000000"/>
                  </a:solidFill>
                  <a:cs typeface="Times New Roman" panose="02020603050405020304" pitchFamily="18" charset="0"/>
                </a:rPr>
                <a:t>Real-time visualization of waste bin status, optimized route feature for</a:t>
              </a:r>
            </a:p>
            <a:p>
              <a:r>
                <a:rPr lang="en-US" altLang="en-US" sz="1100" dirty="0">
                  <a:solidFill>
                    <a:srgbClr val="000000"/>
                  </a:solidFill>
                  <a:cs typeface="Times New Roman" panose="02020603050405020304" pitchFamily="18" charset="0"/>
                </a:rPr>
                <a:t>operators and collection managers etc.</a:t>
              </a:r>
              <a:endParaRPr lang="en-US" altLang="en-US" sz="1100" dirty="0">
                <a:solidFill>
                  <a:prstClr val="white"/>
                </a:solidFill>
              </a:endParaRPr>
            </a:p>
          </p:txBody>
        </p:sp>
        <p:cxnSp>
          <p:nvCxnSpPr>
            <p:cNvPr id="75" name="Elbow Connector 74"/>
            <p:cNvCxnSpPr/>
            <p:nvPr/>
          </p:nvCxnSpPr>
          <p:spPr>
            <a:xfrm>
              <a:off x="4676769" y="2327597"/>
              <a:ext cx="2911934" cy="518359"/>
            </a:xfrm>
            <a:prstGeom prst="bentConnector3">
              <a:avLst>
                <a:gd name="adj1" fmla="val -7033"/>
              </a:avLst>
            </a:prstGeom>
            <a:ln>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82" name="Rounded Rectangle 81"/>
            <p:cNvSpPr/>
            <p:nvPr/>
          </p:nvSpPr>
          <p:spPr>
            <a:xfrm>
              <a:off x="4452906" y="1987358"/>
              <a:ext cx="3411671" cy="299397"/>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solidFill>
                    <a:prstClr val="white"/>
                  </a:solidFill>
                </a:rPr>
                <a:t>Waste management</a:t>
              </a:r>
            </a:p>
          </p:txBody>
        </p:sp>
        <p:sp>
          <p:nvSpPr>
            <p:cNvPr id="140" name="Freeform 21"/>
            <p:cNvSpPr>
              <a:spLocks noEditPoints="1"/>
            </p:cNvSpPr>
            <p:nvPr/>
          </p:nvSpPr>
          <p:spPr bwMode="auto">
            <a:xfrm>
              <a:off x="8341713" y="1405720"/>
              <a:ext cx="515684" cy="413342"/>
            </a:xfrm>
            <a:custGeom>
              <a:avLst/>
              <a:gdLst>
                <a:gd name="T0" fmla="*/ 226 w 1205"/>
                <a:gd name="T1" fmla="*/ 594 h 859"/>
                <a:gd name="T2" fmla="*/ 266 w 1205"/>
                <a:gd name="T3" fmla="*/ 633 h 859"/>
                <a:gd name="T4" fmla="*/ 278 w 1205"/>
                <a:gd name="T5" fmla="*/ 690 h 859"/>
                <a:gd name="T6" fmla="*/ 256 w 1205"/>
                <a:gd name="T7" fmla="*/ 743 h 859"/>
                <a:gd name="T8" fmla="*/ 209 w 1205"/>
                <a:gd name="T9" fmla="*/ 774 h 859"/>
                <a:gd name="T10" fmla="*/ 150 w 1205"/>
                <a:gd name="T11" fmla="*/ 774 h 859"/>
                <a:gd name="T12" fmla="*/ 104 w 1205"/>
                <a:gd name="T13" fmla="*/ 743 h 859"/>
                <a:gd name="T14" fmla="*/ 82 w 1205"/>
                <a:gd name="T15" fmla="*/ 690 h 859"/>
                <a:gd name="T16" fmla="*/ 93 w 1205"/>
                <a:gd name="T17" fmla="*/ 633 h 859"/>
                <a:gd name="T18" fmla="*/ 132 w 1205"/>
                <a:gd name="T19" fmla="*/ 594 h 859"/>
                <a:gd name="T20" fmla="*/ 1139 w 1205"/>
                <a:gd name="T21" fmla="*/ 422 h 859"/>
                <a:gd name="T22" fmla="*/ 1092 w 1205"/>
                <a:gd name="T23" fmla="*/ 272 h 859"/>
                <a:gd name="T24" fmla="*/ 844 w 1205"/>
                <a:gd name="T25" fmla="*/ 272 h 859"/>
                <a:gd name="T26" fmla="*/ 683 w 1205"/>
                <a:gd name="T27" fmla="*/ 476 h 859"/>
                <a:gd name="T28" fmla="*/ 996 w 1205"/>
                <a:gd name="T29" fmla="*/ 272 h 859"/>
                <a:gd name="T30" fmla="*/ 653 w 1205"/>
                <a:gd name="T31" fmla="*/ 272 h 859"/>
                <a:gd name="T32" fmla="*/ 844 w 1205"/>
                <a:gd name="T33" fmla="*/ 4 h 859"/>
                <a:gd name="T34" fmla="*/ 901 w 1205"/>
                <a:gd name="T35" fmla="*/ 15 h 859"/>
                <a:gd name="T36" fmla="*/ 496 w 1205"/>
                <a:gd name="T37" fmla="*/ 145 h 859"/>
                <a:gd name="T38" fmla="*/ 574 w 1205"/>
                <a:gd name="T39" fmla="*/ 541 h 859"/>
                <a:gd name="T40" fmla="*/ 788 w 1205"/>
                <a:gd name="T41" fmla="*/ 579 h 859"/>
                <a:gd name="T42" fmla="*/ 329 w 1205"/>
                <a:gd name="T43" fmla="*/ 243 h 859"/>
                <a:gd name="T44" fmla="*/ 73 w 1205"/>
                <a:gd name="T45" fmla="*/ 418 h 859"/>
                <a:gd name="T46" fmla="*/ 39 w 1205"/>
                <a:gd name="T47" fmla="*/ 511 h 859"/>
                <a:gd name="T48" fmla="*/ 12 w 1205"/>
                <a:gd name="T49" fmla="*/ 593 h 859"/>
                <a:gd name="T50" fmla="*/ 1 w 1205"/>
                <a:gd name="T51" fmla="*/ 699 h 859"/>
                <a:gd name="T52" fmla="*/ 41 w 1205"/>
                <a:gd name="T53" fmla="*/ 795 h 859"/>
                <a:gd name="T54" fmla="*/ 126 w 1205"/>
                <a:gd name="T55" fmla="*/ 851 h 859"/>
                <a:gd name="T56" fmla="*/ 233 w 1205"/>
                <a:gd name="T57" fmla="*/ 851 h 859"/>
                <a:gd name="T58" fmla="*/ 318 w 1205"/>
                <a:gd name="T59" fmla="*/ 795 h 859"/>
                <a:gd name="T60" fmla="*/ 358 w 1205"/>
                <a:gd name="T61" fmla="*/ 699 h 859"/>
                <a:gd name="T62" fmla="*/ 757 w 1205"/>
                <a:gd name="T63" fmla="*/ 691 h 859"/>
                <a:gd name="T64" fmla="*/ 791 w 1205"/>
                <a:gd name="T65" fmla="*/ 785 h 859"/>
                <a:gd name="T66" fmla="*/ 869 w 1205"/>
                <a:gd name="T67" fmla="*/ 847 h 859"/>
                <a:gd name="T68" fmla="*/ 972 w 1205"/>
                <a:gd name="T69" fmla="*/ 856 h 859"/>
                <a:gd name="T70" fmla="*/ 1063 w 1205"/>
                <a:gd name="T71" fmla="*/ 807 h 859"/>
                <a:gd name="T72" fmla="*/ 1112 w 1205"/>
                <a:gd name="T73" fmla="*/ 716 h 859"/>
                <a:gd name="T74" fmla="*/ 1146 w 1205"/>
                <a:gd name="T75" fmla="*/ 624 h 859"/>
                <a:gd name="T76" fmla="*/ 1069 w 1205"/>
                <a:gd name="T77" fmla="*/ 559 h 859"/>
                <a:gd name="T78" fmla="*/ 1205 w 1205"/>
                <a:gd name="T79" fmla="*/ 240 h 859"/>
                <a:gd name="T80" fmla="*/ 956 w 1205"/>
                <a:gd name="T81" fmla="*/ 584 h 859"/>
                <a:gd name="T82" fmla="*/ 1006 w 1205"/>
                <a:gd name="T83" fmla="*/ 610 h 859"/>
                <a:gd name="T84" fmla="*/ 1033 w 1205"/>
                <a:gd name="T85" fmla="*/ 660 h 859"/>
                <a:gd name="T86" fmla="*/ 1028 w 1205"/>
                <a:gd name="T87" fmla="*/ 719 h 859"/>
                <a:gd name="T88" fmla="*/ 992 w 1205"/>
                <a:gd name="T89" fmla="*/ 761 h 859"/>
                <a:gd name="T90" fmla="*/ 937 w 1205"/>
                <a:gd name="T91" fmla="*/ 779 h 859"/>
                <a:gd name="T92" fmla="*/ 881 w 1205"/>
                <a:gd name="T93" fmla="*/ 761 h 859"/>
                <a:gd name="T94" fmla="*/ 846 w 1205"/>
                <a:gd name="T95" fmla="*/ 719 h 859"/>
                <a:gd name="T96" fmla="*/ 840 w 1205"/>
                <a:gd name="T97" fmla="*/ 660 h 859"/>
                <a:gd name="T98" fmla="*/ 867 w 1205"/>
                <a:gd name="T99" fmla="*/ 610 h 859"/>
                <a:gd name="T100" fmla="*/ 917 w 1205"/>
                <a:gd name="T101" fmla="*/ 584 h 859"/>
                <a:gd name="T102" fmla="*/ 251 w 1205"/>
                <a:gd name="T103" fmla="*/ 311 h 859"/>
                <a:gd name="T104" fmla="*/ 412 w 1205"/>
                <a:gd name="T105" fmla="*/ 305 h 859"/>
                <a:gd name="T106" fmla="*/ 185 w 1205"/>
                <a:gd name="T107" fmla="*/ 419 h 859"/>
                <a:gd name="T108" fmla="*/ 366 w 1205"/>
                <a:gd name="T109" fmla="*/ 441 h 859"/>
                <a:gd name="T110" fmla="*/ 348 w 1205"/>
                <a:gd name="T111" fmla="*/ 42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05" h="859">
                  <a:moveTo>
                    <a:pt x="180" y="582"/>
                  </a:moveTo>
                  <a:lnTo>
                    <a:pt x="190" y="583"/>
                  </a:lnTo>
                  <a:lnTo>
                    <a:pt x="199" y="584"/>
                  </a:lnTo>
                  <a:lnTo>
                    <a:pt x="209" y="586"/>
                  </a:lnTo>
                  <a:lnTo>
                    <a:pt x="218" y="590"/>
                  </a:lnTo>
                  <a:lnTo>
                    <a:pt x="226" y="594"/>
                  </a:lnTo>
                  <a:lnTo>
                    <a:pt x="234" y="599"/>
                  </a:lnTo>
                  <a:lnTo>
                    <a:pt x="242" y="605"/>
                  </a:lnTo>
                  <a:lnTo>
                    <a:pt x="249" y="610"/>
                  </a:lnTo>
                  <a:lnTo>
                    <a:pt x="256" y="617"/>
                  </a:lnTo>
                  <a:lnTo>
                    <a:pt x="260" y="625"/>
                  </a:lnTo>
                  <a:lnTo>
                    <a:pt x="266" y="633"/>
                  </a:lnTo>
                  <a:lnTo>
                    <a:pt x="270" y="642"/>
                  </a:lnTo>
                  <a:lnTo>
                    <a:pt x="273" y="651"/>
                  </a:lnTo>
                  <a:lnTo>
                    <a:pt x="275" y="660"/>
                  </a:lnTo>
                  <a:lnTo>
                    <a:pt x="278" y="670"/>
                  </a:lnTo>
                  <a:lnTo>
                    <a:pt x="278" y="681"/>
                  </a:lnTo>
                  <a:lnTo>
                    <a:pt x="278" y="690"/>
                  </a:lnTo>
                  <a:lnTo>
                    <a:pt x="275" y="700"/>
                  </a:lnTo>
                  <a:lnTo>
                    <a:pt x="273" y="709"/>
                  </a:lnTo>
                  <a:lnTo>
                    <a:pt x="270" y="719"/>
                  </a:lnTo>
                  <a:lnTo>
                    <a:pt x="266" y="727"/>
                  </a:lnTo>
                  <a:lnTo>
                    <a:pt x="260" y="735"/>
                  </a:lnTo>
                  <a:lnTo>
                    <a:pt x="256" y="743"/>
                  </a:lnTo>
                  <a:lnTo>
                    <a:pt x="249" y="750"/>
                  </a:lnTo>
                  <a:lnTo>
                    <a:pt x="242" y="756"/>
                  </a:lnTo>
                  <a:lnTo>
                    <a:pt x="234" y="761"/>
                  </a:lnTo>
                  <a:lnTo>
                    <a:pt x="226" y="767"/>
                  </a:lnTo>
                  <a:lnTo>
                    <a:pt x="218" y="771"/>
                  </a:lnTo>
                  <a:lnTo>
                    <a:pt x="209" y="774"/>
                  </a:lnTo>
                  <a:lnTo>
                    <a:pt x="199" y="776"/>
                  </a:lnTo>
                  <a:lnTo>
                    <a:pt x="190" y="777"/>
                  </a:lnTo>
                  <a:lnTo>
                    <a:pt x="180" y="779"/>
                  </a:lnTo>
                  <a:lnTo>
                    <a:pt x="169" y="777"/>
                  </a:lnTo>
                  <a:lnTo>
                    <a:pt x="160" y="776"/>
                  </a:lnTo>
                  <a:lnTo>
                    <a:pt x="150" y="774"/>
                  </a:lnTo>
                  <a:lnTo>
                    <a:pt x="142" y="771"/>
                  </a:lnTo>
                  <a:lnTo>
                    <a:pt x="132" y="767"/>
                  </a:lnTo>
                  <a:lnTo>
                    <a:pt x="124" y="761"/>
                  </a:lnTo>
                  <a:lnTo>
                    <a:pt x="116" y="756"/>
                  </a:lnTo>
                  <a:lnTo>
                    <a:pt x="109" y="750"/>
                  </a:lnTo>
                  <a:lnTo>
                    <a:pt x="104" y="743"/>
                  </a:lnTo>
                  <a:lnTo>
                    <a:pt x="98" y="735"/>
                  </a:lnTo>
                  <a:lnTo>
                    <a:pt x="93" y="727"/>
                  </a:lnTo>
                  <a:lnTo>
                    <a:pt x="89" y="719"/>
                  </a:lnTo>
                  <a:lnTo>
                    <a:pt x="85" y="709"/>
                  </a:lnTo>
                  <a:lnTo>
                    <a:pt x="83" y="700"/>
                  </a:lnTo>
                  <a:lnTo>
                    <a:pt x="82" y="690"/>
                  </a:lnTo>
                  <a:lnTo>
                    <a:pt x="81" y="681"/>
                  </a:lnTo>
                  <a:lnTo>
                    <a:pt x="82" y="670"/>
                  </a:lnTo>
                  <a:lnTo>
                    <a:pt x="83" y="660"/>
                  </a:lnTo>
                  <a:lnTo>
                    <a:pt x="85" y="651"/>
                  </a:lnTo>
                  <a:lnTo>
                    <a:pt x="89" y="642"/>
                  </a:lnTo>
                  <a:lnTo>
                    <a:pt x="93" y="633"/>
                  </a:lnTo>
                  <a:lnTo>
                    <a:pt x="98" y="625"/>
                  </a:lnTo>
                  <a:lnTo>
                    <a:pt x="104" y="617"/>
                  </a:lnTo>
                  <a:lnTo>
                    <a:pt x="109" y="610"/>
                  </a:lnTo>
                  <a:lnTo>
                    <a:pt x="116" y="605"/>
                  </a:lnTo>
                  <a:lnTo>
                    <a:pt x="124" y="599"/>
                  </a:lnTo>
                  <a:lnTo>
                    <a:pt x="132" y="594"/>
                  </a:lnTo>
                  <a:lnTo>
                    <a:pt x="142" y="590"/>
                  </a:lnTo>
                  <a:lnTo>
                    <a:pt x="150" y="586"/>
                  </a:lnTo>
                  <a:lnTo>
                    <a:pt x="160" y="584"/>
                  </a:lnTo>
                  <a:lnTo>
                    <a:pt x="169" y="583"/>
                  </a:lnTo>
                  <a:lnTo>
                    <a:pt x="180" y="582"/>
                  </a:lnTo>
                  <a:close/>
                  <a:moveTo>
                    <a:pt x="1139" y="422"/>
                  </a:moveTo>
                  <a:lnTo>
                    <a:pt x="1122" y="476"/>
                  </a:lnTo>
                  <a:lnTo>
                    <a:pt x="1139" y="476"/>
                  </a:lnTo>
                  <a:lnTo>
                    <a:pt x="1139" y="422"/>
                  </a:lnTo>
                  <a:close/>
                  <a:moveTo>
                    <a:pt x="1066" y="476"/>
                  </a:moveTo>
                  <a:lnTo>
                    <a:pt x="1026" y="476"/>
                  </a:lnTo>
                  <a:lnTo>
                    <a:pt x="1092" y="272"/>
                  </a:lnTo>
                  <a:lnTo>
                    <a:pt x="1131" y="272"/>
                  </a:lnTo>
                  <a:lnTo>
                    <a:pt x="1066" y="476"/>
                  </a:lnTo>
                  <a:close/>
                  <a:moveTo>
                    <a:pt x="805" y="272"/>
                  </a:moveTo>
                  <a:lnTo>
                    <a:pt x="740" y="476"/>
                  </a:lnTo>
                  <a:lnTo>
                    <a:pt x="778" y="476"/>
                  </a:lnTo>
                  <a:lnTo>
                    <a:pt x="844" y="272"/>
                  </a:lnTo>
                  <a:lnTo>
                    <a:pt x="805" y="272"/>
                  </a:lnTo>
                  <a:close/>
                  <a:moveTo>
                    <a:pt x="683" y="476"/>
                  </a:moveTo>
                  <a:lnTo>
                    <a:pt x="644" y="476"/>
                  </a:lnTo>
                  <a:lnTo>
                    <a:pt x="710" y="272"/>
                  </a:lnTo>
                  <a:lnTo>
                    <a:pt x="749" y="272"/>
                  </a:lnTo>
                  <a:lnTo>
                    <a:pt x="683" y="476"/>
                  </a:lnTo>
                  <a:close/>
                  <a:moveTo>
                    <a:pt x="901" y="272"/>
                  </a:moveTo>
                  <a:lnTo>
                    <a:pt x="940" y="272"/>
                  </a:lnTo>
                  <a:lnTo>
                    <a:pt x="874" y="476"/>
                  </a:lnTo>
                  <a:lnTo>
                    <a:pt x="835" y="476"/>
                  </a:lnTo>
                  <a:lnTo>
                    <a:pt x="901" y="272"/>
                  </a:lnTo>
                  <a:close/>
                  <a:moveTo>
                    <a:pt x="996" y="272"/>
                  </a:moveTo>
                  <a:lnTo>
                    <a:pt x="931" y="476"/>
                  </a:lnTo>
                  <a:lnTo>
                    <a:pt x="970" y="476"/>
                  </a:lnTo>
                  <a:lnTo>
                    <a:pt x="1036" y="272"/>
                  </a:lnTo>
                  <a:lnTo>
                    <a:pt x="996" y="272"/>
                  </a:lnTo>
                  <a:close/>
                  <a:moveTo>
                    <a:pt x="624" y="361"/>
                  </a:moveTo>
                  <a:lnTo>
                    <a:pt x="653" y="272"/>
                  </a:lnTo>
                  <a:lnTo>
                    <a:pt x="620" y="272"/>
                  </a:lnTo>
                  <a:lnTo>
                    <a:pt x="624" y="361"/>
                  </a:lnTo>
                  <a:close/>
                  <a:moveTo>
                    <a:pt x="670" y="189"/>
                  </a:moveTo>
                  <a:lnTo>
                    <a:pt x="826" y="15"/>
                  </a:lnTo>
                  <a:lnTo>
                    <a:pt x="835" y="8"/>
                  </a:lnTo>
                  <a:lnTo>
                    <a:pt x="844" y="4"/>
                  </a:lnTo>
                  <a:lnTo>
                    <a:pt x="854" y="0"/>
                  </a:lnTo>
                  <a:lnTo>
                    <a:pt x="863" y="0"/>
                  </a:lnTo>
                  <a:lnTo>
                    <a:pt x="872" y="1"/>
                  </a:lnTo>
                  <a:lnTo>
                    <a:pt x="882" y="4"/>
                  </a:lnTo>
                  <a:lnTo>
                    <a:pt x="892" y="8"/>
                  </a:lnTo>
                  <a:lnTo>
                    <a:pt x="901" y="15"/>
                  </a:lnTo>
                  <a:lnTo>
                    <a:pt x="1104" y="189"/>
                  </a:lnTo>
                  <a:lnTo>
                    <a:pt x="670" y="189"/>
                  </a:lnTo>
                  <a:close/>
                  <a:moveTo>
                    <a:pt x="617" y="206"/>
                  </a:moveTo>
                  <a:lnTo>
                    <a:pt x="614" y="145"/>
                  </a:lnTo>
                  <a:lnTo>
                    <a:pt x="566" y="145"/>
                  </a:lnTo>
                  <a:lnTo>
                    <a:pt x="496" y="145"/>
                  </a:lnTo>
                  <a:lnTo>
                    <a:pt x="300" y="145"/>
                  </a:lnTo>
                  <a:lnTo>
                    <a:pt x="300" y="197"/>
                  </a:lnTo>
                  <a:lnTo>
                    <a:pt x="499" y="197"/>
                  </a:lnTo>
                  <a:lnTo>
                    <a:pt x="514" y="541"/>
                  </a:lnTo>
                  <a:lnTo>
                    <a:pt x="540" y="541"/>
                  </a:lnTo>
                  <a:lnTo>
                    <a:pt x="574" y="541"/>
                  </a:lnTo>
                  <a:lnTo>
                    <a:pt x="632" y="541"/>
                  </a:lnTo>
                  <a:lnTo>
                    <a:pt x="824" y="541"/>
                  </a:lnTo>
                  <a:lnTo>
                    <a:pt x="813" y="549"/>
                  </a:lnTo>
                  <a:lnTo>
                    <a:pt x="804" y="559"/>
                  </a:lnTo>
                  <a:lnTo>
                    <a:pt x="796" y="569"/>
                  </a:lnTo>
                  <a:lnTo>
                    <a:pt x="788" y="579"/>
                  </a:lnTo>
                  <a:lnTo>
                    <a:pt x="476" y="579"/>
                  </a:lnTo>
                  <a:lnTo>
                    <a:pt x="460" y="237"/>
                  </a:lnTo>
                  <a:lnTo>
                    <a:pt x="424" y="238"/>
                  </a:lnTo>
                  <a:lnTo>
                    <a:pt x="391" y="240"/>
                  </a:lnTo>
                  <a:lnTo>
                    <a:pt x="358" y="241"/>
                  </a:lnTo>
                  <a:lnTo>
                    <a:pt x="329" y="243"/>
                  </a:lnTo>
                  <a:lnTo>
                    <a:pt x="303" y="244"/>
                  </a:lnTo>
                  <a:lnTo>
                    <a:pt x="279" y="245"/>
                  </a:lnTo>
                  <a:lnTo>
                    <a:pt x="258" y="248"/>
                  </a:lnTo>
                  <a:lnTo>
                    <a:pt x="241" y="250"/>
                  </a:lnTo>
                  <a:lnTo>
                    <a:pt x="138" y="395"/>
                  </a:lnTo>
                  <a:lnTo>
                    <a:pt x="73" y="418"/>
                  </a:lnTo>
                  <a:lnTo>
                    <a:pt x="65" y="433"/>
                  </a:lnTo>
                  <a:lnTo>
                    <a:pt x="59" y="447"/>
                  </a:lnTo>
                  <a:lnTo>
                    <a:pt x="86" y="447"/>
                  </a:lnTo>
                  <a:lnTo>
                    <a:pt x="86" y="495"/>
                  </a:lnTo>
                  <a:lnTo>
                    <a:pt x="44" y="495"/>
                  </a:lnTo>
                  <a:lnTo>
                    <a:pt x="39" y="511"/>
                  </a:lnTo>
                  <a:lnTo>
                    <a:pt x="37" y="525"/>
                  </a:lnTo>
                  <a:lnTo>
                    <a:pt x="22" y="530"/>
                  </a:lnTo>
                  <a:lnTo>
                    <a:pt x="7" y="534"/>
                  </a:lnTo>
                  <a:lnTo>
                    <a:pt x="8" y="551"/>
                  </a:lnTo>
                  <a:lnTo>
                    <a:pt x="10" y="571"/>
                  </a:lnTo>
                  <a:lnTo>
                    <a:pt x="12" y="593"/>
                  </a:lnTo>
                  <a:lnTo>
                    <a:pt x="14" y="613"/>
                  </a:lnTo>
                  <a:lnTo>
                    <a:pt x="8" y="629"/>
                  </a:lnTo>
                  <a:lnTo>
                    <a:pt x="3" y="645"/>
                  </a:lnTo>
                  <a:lnTo>
                    <a:pt x="1" y="662"/>
                  </a:lnTo>
                  <a:lnTo>
                    <a:pt x="0" y="681"/>
                  </a:lnTo>
                  <a:lnTo>
                    <a:pt x="1" y="699"/>
                  </a:lnTo>
                  <a:lnTo>
                    <a:pt x="3" y="716"/>
                  </a:lnTo>
                  <a:lnTo>
                    <a:pt x="8" y="734"/>
                  </a:lnTo>
                  <a:lnTo>
                    <a:pt x="14" y="750"/>
                  </a:lnTo>
                  <a:lnTo>
                    <a:pt x="22" y="766"/>
                  </a:lnTo>
                  <a:lnTo>
                    <a:pt x="31" y="781"/>
                  </a:lnTo>
                  <a:lnTo>
                    <a:pt x="41" y="795"/>
                  </a:lnTo>
                  <a:lnTo>
                    <a:pt x="53" y="807"/>
                  </a:lnTo>
                  <a:lnTo>
                    <a:pt x="66" y="819"/>
                  </a:lnTo>
                  <a:lnTo>
                    <a:pt x="79" y="829"/>
                  </a:lnTo>
                  <a:lnTo>
                    <a:pt x="94" y="838"/>
                  </a:lnTo>
                  <a:lnTo>
                    <a:pt x="109" y="845"/>
                  </a:lnTo>
                  <a:lnTo>
                    <a:pt x="126" y="851"/>
                  </a:lnTo>
                  <a:lnTo>
                    <a:pt x="143" y="856"/>
                  </a:lnTo>
                  <a:lnTo>
                    <a:pt x="161" y="859"/>
                  </a:lnTo>
                  <a:lnTo>
                    <a:pt x="180" y="859"/>
                  </a:lnTo>
                  <a:lnTo>
                    <a:pt x="198" y="859"/>
                  </a:lnTo>
                  <a:lnTo>
                    <a:pt x="215" y="856"/>
                  </a:lnTo>
                  <a:lnTo>
                    <a:pt x="233" y="851"/>
                  </a:lnTo>
                  <a:lnTo>
                    <a:pt x="249" y="845"/>
                  </a:lnTo>
                  <a:lnTo>
                    <a:pt x="265" y="838"/>
                  </a:lnTo>
                  <a:lnTo>
                    <a:pt x="280" y="829"/>
                  </a:lnTo>
                  <a:lnTo>
                    <a:pt x="294" y="819"/>
                  </a:lnTo>
                  <a:lnTo>
                    <a:pt x="306" y="807"/>
                  </a:lnTo>
                  <a:lnTo>
                    <a:pt x="318" y="795"/>
                  </a:lnTo>
                  <a:lnTo>
                    <a:pt x="328" y="781"/>
                  </a:lnTo>
                  <a:lnTo>
                    <a:pt x="338" y="766"/>
                  </a:lnTo>
                  <a:lnTo>
                    <a:pt x="344" y="750"/>
                  </a:lnTo>
                  <a:lnTo>
                    <a:pt x="351" y="734"/>
                  </a:lnTo>
                  <a:lnTo>
                    <a:pt x="355" y="716"/>
                  </a:lnTo>
                  <a:lnTo>
                    <a:pt x="358" y="699"/>
                  </a:lnTo>
                  <a:lnTo>
                    <a:pt x="359" y="681"/>
                  </a:lnTo>
                  <a:lnTo>
                    <a:pt x="358" y="668"/>
                  </a:lnTo>
                  <a:lnTo>
                    <a:pt x="357" y="655"/>
                  </a:lnTo>
                  <a:lnTo>
                    <a:pt x="475" y="655"/>
                  </a:lnTo>
                  <a:lnTo>
                    <a:pt x="491" y="691"/>
                  </a:lnTo>
                  <a:lnTo>
                    <a:pt x="757" y="691"/>
                  </a:lnTo>
                  <a:lnTo>
                    <a:pt x="759" y="708"/>
                  </a:lnTo>
                  <a:lnTo>
                    <a:pt x="763" y="726"/>
                  </a:lnTo>
                  <a:lnTo>
                    <a:pt x="767" y="742"/>
                  </a:lnTo>
                  <a:lnTo>
                    <a:pt x="774" y="757"/>
                  </a:lnTo>
                  <a:lnTo>
                    <a:pt x="782" y="772"/>
                  </a:lnTo>
                  <a:lnTo>
                    <a:pt x="791" y="785"/>
                  </a:lnTo>
                  <a:lnTo>
                    <a:pt x="802" y="798"/>
                  </a:lnTo>
                  <a:lnTo>
                    <a:pt x="813" y="811"/>
                  </a:lnTo>
                  <a:lnTo>
                    <a:pt x="826" y="821"/>
                  </a:lnTo>
                  <a:lnTo>
                    <a:pt x="840" y="832"/>
                  </a:lnTo>
                  <a:lnTo>
                    <a:pt x="854" y="840"/>
                  </a:lnTo>
                  <a:lnTo>
                    <a:pt x="869" y="847"/>
                  </a:lnTo>
                  <a:lnTo>
                    <a:pt x="885" y="852"/>
                  </a:lnTo>
                  <a:lnTo>
                    <a:pt x="902" y="856"/>
                  </a:lnTo>
                  <a:lnTo>
                    <a:pt x="919" y="859"/>
                  </a:lnTo>
                  <a:lnTo>
                    <a:pt x="937" y="859"/>
                  </a:lnTo>
                  <a:lnTo>
                    <a:pt x="955" y="859"/>
                  </a:lnTo>
                  <a:lnTo>
                    <a:pt x="972" y="856"/>
                  </a:lnTo>
                  <a:lnTo>
                    <a:pt x="990" y="851"/>
                  </a:lnTo>
                  <a:lnTo>
                    <a:pt x="1007" y="845"/>
                  </a:lnTo>
                  <a:lnTo>
                    <a:pt x="1022" y="838"/>
                  </a:lnTo>
                  <a:lnTo>
                    <a:pt x="1037" y="829"/>
                  </a:lnTo>
                  <a:lnTo>
                    <a:pt x="1051" y="819"/>
                  </a:lnTo>
                  <a:lnTo>
                    <a:pt x="1063" y="807"/>
                  </a:lnTo>
                  <a:lnTo>
                    <a:pt x="1075" y="795"/>
                  </a:lnTo>
                  <a:lnTo>
                    <a:pt x="1085" y="781"/>
                  </a:lnTo>
                  <a:lnTo>
                    <a:pt x="1094" y="766"/>
                  </a:lnTo>
                  <a:lnTo>
                    <a:pt x="1101" y="750"/>
                  </a:lnTo>
                  <a:lnTo>
                    <a:pt x="1108" y="734"/>
                  </a:lnTo>
                  <a:lnTo>
                    <a:pt x="1112" y="716"/>
                  </a:lnTo>
                  <a:lnTo>
                    <a:pt x="1115" y="699"/>
                  </a:lnTo>
                  <a:lnTo>
                    <a:pt x="1116" y="681"/>
                  </a:lnTo>
                  <a:lnTo>
                    <a:pt x="1115" y="665"/>
                  </a:lnTo>
                  <a:lnTo>
                    <a:pt x="1113" y="648"/>
                  </a:lnTo>
                  <a:lnTo>
                    <a:pt x="1146" y="638"/>
                  </a:lnTo>
                  <a:lnTo>
                    <a:pt x="1146" y="624"/>
                  </a:lnTo>
                  <a:lnTo>
                    <a:pt x="1147" y="609"/>
                  </a:lnTo>
                  <a:lnTo>
                    <a:pt x="1147" y="594"/>
                  </a:lnTo>
                  <a:lnTo>
                    <a:pt x="1148" y="579"/>
                  </a:lnTo>
                  <a:lnTo>
                    <a:pt x="1085" y="579"/>
                  </a:lnTo>
                  <a:lnTo>
                    <a:pt x="1077" y="569"/>
                  </a:lnTo>
                  <a:lnTo>
                    <a:pt x="1069" y="559"/>
                  </a:lnTo>
                  <a:lnTo>
                    <a:pt x="1060" y="549"/>
                  </a:lnTo>
                  <a:lnTo>
                    <a:pt x="1049" y="541"/>
                  </a:lnTo>
                  <a:lnTo>
                    <a:pt x="1173" y="541"/>
                  </a:lnTo>
                  <a:lnTo>
                    <a:pt x="1205" y="541"/>
                  </a:lnTo>
                  <a:lnTo>
                    <a:pt x="1205" y="508"/>
                  </a:lnTo>
                  <a:lnTo>
                    <a:pt x="1205" y="240"/>
                  </a:lnTo>
                  <a:lnTo>
                    <a:pt x="1205" y="206"/>
                  </a:lnTo>
                  <a:lnTo>
                    <a:pt x="1173" y="206"/>
                  </a:lnTo>
                  <a:lnTo>
                    <a:pt x="617" y="206"/>
                  </a:lnTo>
                  <a:close/>
                  <a:moveTo>
                    <a:pt x="937" y="582"/>
                  </a:moveTo>
                  <a:lnTo>
                    <a:pt x="947" y="583"/>
                  </a:lnTo>
                  <a:lnTo>
                    <a:pt x="956" y="584"/>
                  </a:lnTo>
                  <a:lnTo>
                    <a:pt x="965" y="586"/>
                  </a:lnTo>
                  <a:lnTo>
                    <a:pt x="975" y="590"/>
                  </a:lnTo>
                  <a:lnTo>
                    <a:pt x="984" y="594"/>
                  </a:lnTo>
                  <a:lnTo>
                    <a:pt x="992" y="599"/>
                  </a:lnTo>
                  <a:lnTo>
                    <a:pt x="999" y="605"/>
                  </a:lnTo>
                  <a:lnTo>
                    <a:pt x="1006" y="610"/>
                  </a:lnTo>
                  <a:lnTo>
                    <a:pt x="1013" y="617"/>
                  </a:lnTo>
                  <a:lnTo>
                    <a:pt x="1018" y="625"/>
                  </a:lnTo>
                  <a:lnTo>
                    <a:pt x="1023" y="633"/>
                  </a:lnTo>
                  <a:lnTo>
                    <a:pt x="1028" y="642"/>
                  </a:lnTo>
                  <a:lnTo>
                    <a:pt x="1030" y="651"/>
                  </a:lnTo>
                  <a:lnTo>
                    <a:pt x="1033" y="660"/>
                  </a:lnTo>
                  <a:lnTo>
                    <a:pt x="1034" y="670"/>
                  </a:lnTo>
                  <a:lnTo>
                    <a:pt x="1034" y="681"/>
                  </a:lnTo>
                  <a:lnTo>
                    <a:pt x="1034" y="690"/>
                  </a:lnTo>
                  <a:lnTo>
                    <a:pt x="1033" y="700"/>
                  </a:lnTo>
                  <a:lnTo>
                    <a:pt x="1030" y="709"/>
                  </a:lnTo>
                  <a:lnTo>
                    <a:pt x="1028" y="719"/>
                  </a:lnTo>
                  <a:lnTo>
                    <a:pt x="1023" y="727"/>
                  </a:lnTo>
                  <a:lnTo>
                    <a:pt x="1018" y="735"/>
                  </a:lnTo>
                  <a:lnTo>
                    <a:pt x="1013" y="743"/>
                  </a:lnTo>
                  <a:lnTo>
                    <a:pt x="1006" y="750"/>
                  </a:lnTo>
                  <a:lnTo>
                    <a:pt x="999" y="756"/>
                  </a:lnTo>
                  <a:lnTo>
                    <a:pt x="992" y="761"/>
                  </a:lnTo>
                  <a:lnTo>
                    <a:pt x="984" y="767"/>
                  </a:lnTo>
                  <a:lnTo>
                    <a:pt x="975" y="771"/>
                  </a:lnTo>
                  <a:lnTo>
                    <a:pt x="965" y="774"/>
                  </a:lnTo>
                  <a:lnTo>
                    <a:pt x="956" y="776"/>
                  </a:lnTo>
                  <a:lnTo>
                    <a:pt x="947" y="777"/>
                  </a:lnTo>
                  <a:lnTo>
                    <a:pt x="937" y="779"/>
                  </a:lnTo>
                  <a:lnTo>
                    <a:pt x="926" y="777"/>
                  </a:lnTo>
                  <a:lnTo>
                    <a:pt x="917" y="776"/>
                  </a:lnTo>
                  <a:lnTo>
                    <a:pt x="908" y="774"/>
                  </a:lnTo>
                  <a:lnTo>
                    <a:pt x="899" y="771"/>
                  </a:lnTo>
                  <a:lnTo>
                    <a:pt x="889" y="767"/>
                  </a:lnTo>
                  <a:lnTo>
                    <a:pt x="881" y="761"/>
                  </a:lnTo>
                  <a:lnTo>
                    <a:pt x="874" y="756"/>
                  </a:lnTo>
                  <a:lnTo>
                    <a:pt x="867" y="750"/>
                  </a:lnTo>
                  <a:lnTo>
                    <a:pt x="860" y="743"/>
                  </a:lnTo>
                  <a:lnTo>
                    <a:pt x="855" y="735"/>
                  </a:lnTo>
                  <a:lnTo>
                    <a:pt x="850" y="727"/>
                  </a:lnTo>
                  <a:lnTo>
                    <a:pt x="846" y="719"/>
                  </a:lnTo>
                  <a:lnTo>
                    <a:pt x="842" y="709"/>
                  </a:lnTo>
                  <a:lnTo>
                    <a:pt x="840" y="700"/>
                  </a:lnTo>
                  <a:lnTo>
                    <a:pt x="839" y="690"/>
                  </a:lnTo>
                  <a:lnTo>
                    <a:pt x="839" y="681"/>
                  </a:lnTo>
                  <a:lnTo>
                    <a:pt x="839" y="670"/>
                  </a:lnTo>
                  <a:lnTo>
                    <a:pt x="840" y="660"/>
                  </a:lnTo>
                  <a:lnTo>
                    <a:pt x="842" y="651"/>
                  </a:lnTo>
                  <a:lnTo>
                    <a:pt x="846" y="642"/>
                  </a:lnTo>
                  <a:lnTo>
                    <a:pt x="850" y="633"/>
                  </a:lnTo>
                  <a:lnTo>
                    <a:pt x="855" y="625"/>
                  </a:lnTo>
                  <a:lnTo>
                    <a:pt x="860" y="617"/>
                  </a:lnTo>
                  <a:lnTo>
                    <a:pt x="867" y="610"/>
                  </a:lnTo>
                  <a:lnTo>
                    <a:pt x="874" y="605"/>
                  </a:lnTo>
                  <a:lnTo>
                    <a:pt x="881" y="599"/>
                  </a:lnTo>
                  <a:lnTo>
                    <a:pt x="889" y="594"/>
                  </a:lnTo>
                  <a:lnTo>
                    <a:pt x="899" y="590"/>
                  </a:lnTo>
                  <a:lnTo>
                    <a:pt x="908" y="586"/>
                  </a:lnTo>
                  <a:lnTo>
                    <a:pt x="917" y="584"/>
                  </a:lnTo>
                  <a:lnTo>
                    <a:pt x="926" y="583"/>
                  </a:lnTo>
                  <a:lnTo>
                    <a:pt x="937" y="582"/>
                  </a:lnTo>
                  <a:close/>
                  <a:moveTo>
                    <a:pt x="185" y="419"/>
                  </a:moveTo>
                  <a:lnTo>
                    <a:pt x="203" y="387"/>
                  </a:lnTo>
                  <a:lnTo>
                    <a:pt x="227" y="349"/>
                  </a:lnTo>
                  <a:lnTo>
                    <a:pt x="251" y="311"/>
                  </a:lnTo>
                  <a:lnTo>
                    <a:pt x="270" y="282"/>
                  </a:lnTo>
                  <a:lnTo>
                    <a:pt x="301" y="280"/>
                  </a:lnTo>
                  <a:lnTo>
                    <a:pt x="335" y="278"/>
                  </a:lnTo>
                  <a:lnTo>
                    <a:pt x="373" y="276"/>
                  </a:lnTo>
                  <a:lnTo>
                    <a:pt x="411" y="275"/>
                  </a:lnTo>
                  <a:lnTo>
                    <a:pt x="412" y="305"/>
                  </a:lnTo>
                  <a:lnTo>
                    <a:pt x="412" y="334"/>
                  </a:lnTo>
                  <a:lnTo>
                    <a:pt x="414" y="364"/>
                  </a:lnTo>
                  <a:lnTo>
                    <a:pt x="414" y="393"/>
                  </a:lnTo>
                  <a:lnTo>
                    <a:pt x="276" y="397"/>
                  </a:lnTo>
                  <a:lnTo>
                    <a:pt x="263" y="417"/>
                  </a:lnTo>
                  <a:lnTo>
                    <a:pt x="185" y="419"/>
                  </a:lnTo>
                  <a:close/>
                  <a:moveTo>
                    <a:pt x="415" y="419"/>
                  </a:moveTo>
                  <a:lnTo>
                    <a:pt x="416" y="446"/>
                  </a:lnTo>
                  <a:lnTo>
                    <a:pt x="408" y="445"/>
                  </a:lnTo>
                  <a:lnTo>
                    <a:pt x="388" y="443"/>
                  </a:lnTo>
                  <a:lnTo>
                    <a:pt x="377" y="443"/>
                  </a:lnTo>
                  <a:lnTo>
                    <a:pt x="366" y="441"/>
                  </a:lnTo>
                  <a:lnTo>
                    <a:pt x="358" y="440"/>
                  </a:lnTo>
                  <a:lnTo>
                    <a:pt x="354" y="438"/>
                  </a:lnTo>
                  <a:lnTo>
                    <a:pt x="350" y="434"/>
                  </a:lnTo>
                  <a:lnTo>
                    <a:pt x="349" y="432"/>
                  </a:lnTo>
                  <a:lnTo>
                    <a:pt x="348" y="430"/>
                  </a:lnTo>
                  <a:lnTo>
                    <a:pt x="348" y="427"/>
                  </a:lnTo>
                  <a:lnTo>
                    <a:pt x="349" y="424"/>
                  </a:lnTo>
                  <a:lnTo>
                    <a:pt x="349" y="423"/>
                  </a:lnTo>
                  <a:lnTo>
                    <a:pt x="415" y="41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nvGrpSpPr>
            <p:cNvPr id="141" name="Group 140"/>
            <p:cNvGrpSpPr/>
            <p:nvPr/>
          </p:nvGrpSpPr>
          <p:grpSpPr>
            <a:xfrm>
              <a:off x="4480933" y="1343124"/>
              <a:ext cx="606425" cy="460376"/>
              <a:chOff x="11109325" y="3284538"/>
              <a:chExt cx="606425" cy="460376"/>
            </a:xfrm>
            <a:solidFill>
              <a:schemeClr val="accent2"/>
            </a:solidFill>
          </p:grpSpPr>
          <p:sp>
            <p:nvSpPr>
              <p:cNvPr id="142" name="Freeform 10433"/>
              <p:cNvSpPr>
                <a:spLocks/>
              </p:cNvSpPr>
              <p:nvPr/>
            </p:nvSpPr>
            <p:spPr bwMode="auto">
              <a:xfrm>
                <a:off x="11202988" y="3371851"/>
                <a:ext cx="419100" cy="373063"/>
              </a:xfrm>
              <a:custGeom>
                <a:avLst/>
                <a:gdLst>
                  <a:gd name="T0" fmla="*/ 1059 w 2117"/>
                  <a:gd name="T1" fmla="*/ 0 h 1879"/>
                  <a:gd name="T2" fmla="*/ 0 w 2117"/>
                  <a:gd name="T3" fmla="*/ 736 h 1879"/>
                  <a:gd name="T4" fmla="*/ 0 w 2117"/>
                  <a:gd name="T5" fmla="*/ 1674 h 1879"/>
                  <a:gd name="T6" fmla="*/ 1 w 2117"/>
                  <a:gd name="T7" fmla="*/ 1695 h 1879"/>
                  <a:gd name="T8" fmla="*/ 4 w 2117"/>
                  <a:gd name="T9" fmla="*/ 1716 h 1879"/>
                  <a:gd name="T10" fmla="*/ 9 w 2117"/>
                  <a:gd name="T11" fmla="*/ 1735 h 1879"/>
                  <a:gd name="T12" fmla="*/ 16 w 2117"/>
                  <a:gd name="T13" fmla="*/ 1754 h 1879"/>
                  <a:gd name="T14" fmla="*/ 25 w 2117"/>
                  <a:gd name="T15" fmla="*/ 1771 h 1879"/>
                  <a:gd name="T16" fmla="*/ 35 w 2117"/>
                  <a:gd name="T17" fmla="*/ 1788 h 1879"/>
                  <a:gd name="T18" fmla="*/ 47 w 2117"/>
                  <a:gd name="T19" fmla="*/ 1804 h 1879"/>
                  <a:gd name="T20" fmla="*/ 60 w 2117"/>
                  <a:gd name="T21" fmla="*/ 1818 h 1879"/>
                  <a:gd name="T22" fmla="*/ 74 w 2117"/>
                  <a:gd name="T23" fmla="*/ 1832 h 1879"/>
                  <a:gd name="T24" fmla="*/ 90 w 2117"/>
                  <a:gd name="T25" fmla="*/ 1843 h 1879"/>
                  <a:gd name="T26" fmla="*/ 107 w 2117"/>
                  <a:gd name="T27" fmla="*/ 1853 h 1879"/>
                  <a:gd name="T28" fmla="*/ 124 w 2117"/>
                  <a:gd name="T29" fmla="*/ 1863 h 1879"/>
                  <a:gd name="T30" fmla="*/ 144 w 2117"/>
                  <a:gd name="T31" fmla="*/ 1869 h 1879"/>
                  <a:gd name="T32" fmla="*/ 163 w 2117"/>
                  <a:gd name="T33" fmla="*/ 1874 h 1879"/>
                  <a:gd name="T34" fmla="*/ 183 w 2117"/>
                  <a:gd name="T35" fmla="*/ 1877 h 1879"/>
                  <a:gd name="T36" fmla="*/ 204 w 2117"/>
                  <a:gd name="T37" fmla="*/ 1879 h 1879"/>
                  <a:gd name="T38" fmla="*/ 705 w 2117"/>
                  <a:gd name="T39" fmla="*/ 1879 h 1879"/>
                  <a:gd name="T40" fmla="*/ 705 w 2117"/>
                  <a:gd name="T41" fmla="*/ 989 h 1879"/>
                  <a:gd name="T42" fmla="*/ 1413 w 2117"/>
                  <a:gd name="T43" fmla="*/ 989 h 1879"/>
                  <a:gd name="T44" fmla="*/ 1413 w 2117"/>
                  <a:gd name="T45" fmla="*/ 1879 h 1879"/>
                  <a:gd name="T46" fmla="*/ 1913 w 2117"/>
                  <a:gd name="T47" fmla="*/ 1879 h 1879"/>
                  <a:gd name="T48" fmla="*/ 1935 w 2117"/>
                  <a:gd name="T49" fmla="*/ 1877 h 1879"/>
                  <a:gd name="T50" fmla="*/ 1954 w 2117"/>
                  <a:gd name="T51" fmla="*/ 1874 h 1879"/>
                  <a:gd name="T52" fmla="*/ 1974 w 2117"/>
                  <a:gd name="T53" fmla="*/ 1869 h 1879"/>
                  <a:gd name="T54" fmla="*/ 1993 w 2117"/>
                  <a:gd name="T55" fmla="*/ 1863 h 1879"/>
                  <a:gd name="T56" fmla="*/ 2010 w 2117"/>
                  <a:gd name="T57" fmla="*/ 1853 h 1879"/>
                  <a:gd name="T58" fmla="*/ 2027 w 2117"/>
                  <a:gd name="T59" fmla="*/ 1843 h 1879"/>
                  <a:gd name="T60" fmla="*/ 2043 w 2117"/>
                  <a:gd name="T61" fmla="*/ 1832 h 1879"/>
                  <a:gd name="T62" fmla="*/ 2058 w 2117"/>
                  <a:gd name="T63" fmla="*/ 1818 h 1879"/>
                  <a:gd name="T64" fmla="*/ 2070 w 2117"/>
                  <a:gd name="T65" fmla="*/ 1804 h 1879"/>
                  <a:gd name="T66" fmla="*/ 2082 w 2117"/>
                  <a:gd name="T67" fmla="*/ 1788 h 1879"/>
                  <a:gd name="T68" fmla="*/ 2092 w 2117"/>
                  <a:gd name="T69" fmla="*/ 1771 h 1879"/>
                  <a:gd name="T70" fmla="*/ 2101 w 2117"/>
                  <a:gd name="T71" fmla="*/ 1754 h 1879"/>
                  <a:gd name="T72" fmla="*/ 2108 w 2117"/>
                  <a:gd name="T73" fmla="*/ 1735 h 1879"/>
                  <a:gd name="T74" fmla="*/ 2113 w 2117"/>
                  <a:gd name="T75" fmla="*/ 1716 h 1879"/>
                  <a:gd name="T76" fmla="*/ 2116 w 2117"/>
                  <a:gd name="T77" fmla="*/ 1695 h 1879"/>
                  <a:gd name="T78" fmla="*/ 2117 w 2117"/>
                  <a:gd name="T79" fmla="*/ 1674 h 1879"/>
                  <a:gd name="T80" fmla="*/ 2117 w 2117"/>
                  <a:gd name="T81" fmla="*/ 736 h 1879"/>
                  <a:gd name="T82" fmla="*/ 1059 w 2117"/>
                  <a:gd name="T83" fmla="*/ 0 h 1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17" h="1879">
                    <a:moveTo>
                      <a:pt x="1059" y="0"/>
                    </a:moveTo>
                    <a:lnTo>
                      <a:pt x="0" y="736"/>
                    </a:lnTo>
                    <a:lnTo>
                      <a:pt x="0" y="1674"/>
                    </a:lnTo>
                    <a:lnTo>
                      <a:pt x="1" y="1695"/>
                    </a:lnTo>
                    <a:lnTo>
                      <a:pt x="4" y="1716"/>
                    </a:lnTo>
                    <a:lnTo>
                      <a:pt x="9" y="1735"/>
                    </a:lnTo>
                    <a:lnTo>
                      <a:pt x="16" y="1754"/>
                    </a:lnTo>
                    <a:lnTo>
                      <a:pt x="25" y="1771"/>
                    </a:lnTo>
                    <a:lnTo>
                      <a:pt x="35" y="1788"/>
                    </a:lnTo>
                    <a:lnTo>
                      <a:pt x="47" y="1804"/>
                    </a:lnTo>
                    <a:lnTo>
                      <a:pt x="60" y="1818"/>
                    </a:lnTo>
                    <a:lnTo>
                      <a:pt x="74" y="1832"/>
                    </a:lnTo>
                    <a:lnTo>
                      <a:pt x="90" y="1843"/>
                    </a:lnTo>
                    <a:lnTo>
                      <a:pt x="107" y="1853"/>
                    </a:lnTo>
                    <a:lnTo>
                      <a:pt x="124" y="1863"/>
                    </a:lnTo>
                    <a:lnTo>
                      <a:pt x="144" y="1869"/>
                    </a:lnTo>
                    <a:lnTo>
                      <a:pt x="163" y="1874"/>
                    </a:lnTo>
                    <a:lnTo>
                      <a:pt x="183" y="1877"/>
                    </a:lnTo>
                    <a:lnTo>
                      <a:pt x="204" y="1879"/>
                    </a:lnTo>
                    <a:lnTo>
                      <a:pt x="705" y="1879"/>
                    </a:lnTo>
                    <a:lnTo>
                      <a:pt x="705" y="989"/>
                    </a:lnTo>
                    <a:lnTo>
                      <a:pt x="1413" y="989"/>
                    </a:lnTo>
                    <a:lnTo>
                      <a:pt x="1413" y="1879"/>
                    </a:lnTo>
                    <a:lnTo>
                      <a:pt x="1913" y="1879"/>
                    </a:lnTo>
                    <a:lnTo>
                      <a:pt x="1935" y="1877"/>
                    </a:lnTo>
                    <a:lnTo>
                      <a:pt x="1954" y="1874"/>
                    </a:lnTo>
                    <a:lnTo>
                      <a:pt x="1974" y="1869"/>
                    </a:lnTo>
                    <a:lnTo>
                      <a:pt x="1993" y="1863"/>
                    </a:lnTo>
                    <a:lnTo>
                      <a:pt x="2010" y="1853"/>
                    </a:lnTo>
                    <a:lnTo>
                      <a:pt x="2027" y="1843"/>
                    </a:lnTo>
                    <a:lnTo>
                      <a:pt x="2043" y="1832"/>
                    </a:lnTo>
                    <a:lnTo>
                      <a:pt x="2058" y="1818"/>
                    </a:lnTo>
                    <a:lnTo>
                      <a:pt x="2070" y="1804"/>
                    </a:lnTo>
                    <a:lnTo>
                      <a:pt x="2082" y="1788"/>
                    </a:lnTo>
                    <a:lnTo>
                      <a:pt x="2092" y="1771"/>
                    </a:lnTo>
                    <a:lnTo>
                      <a:pt x="2101" y="1754"/>
                    </a:lnTo>
                    <a:lnTo>
                      <a:pt x="2108" y="1735"/>
                    </a:lnTo>
                    <a:lnTo>
                      <a:pt x="2113" y="1716"/>
                    </a:lnTo>
                    <a:lnTo>
                      <a:pt x="2116" y="1695"/>
                    </a:lnTo>
                    <a:lnTo>
                      <a:pt x="2117" y="1674"/>
                    </a:lnTo>
                    <a:lnTo>
                      <a:pt x="2117" y="736"/>
                    </a:lnTo>
                    <a:lnTo>
                      <a:pt x="10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3" name="Freeform 10434"/>
              <p:cNvSpPr>
                <a:spLocks/>
              </p:cNvSpPr>
              <p:nvPr/>
            </p:nvSpPr>
            <p:spPr bwMode="auto">
              <a:xfrm>
                <a:off x="11109325" y="3284538"/>
                <a:ext cx="606425" cy="222250"/>
              </a:xfrm>
              <a:custGeom>
                <a:avLst/>
                <a:gdLst>
                  <a:gd name="T0" fmla="*/ 1529 w 3057"/>
                  <a:gd name="T1" fmla="*/ 0 h 1122"/>
                  <a:gd name="T2" fmla="*/ 1529 w 3057"/>
                  <a:gd name="T3" fmla="*/ 1 h 1122"/>
                  <a:gd name="T4" fmla="*/ 1528 w 3057"/>
                  <a:gd name="T5" fmla="*/ 0 h 1122"/>
                  <a:gd name="T6" fmla="*/ 904 w 3057"/>
                  <a:gd name="T7" fmla="*/ 458 h 1122"/>
                  <a:gd name="T8" fmla="*/ 904 w 3057"/>
                  <a:gd name="T9" fmla="*/ 162 h 1122"/>
                  <a:gd name="T10" fmla="*/ 598 w 3057"/>
                  <a:gd name="T11" fmla="*/ 162 h 1122"/>
                  <a:gd name="T12" fmla="*/ 598 w 3057"/>
                  <a:gd name="T13" fmla="*/ 684 h 1122"/>
                  <a:gd name="T14" fmla="*/ 0 w 3057"/>
                  <a:gd name="T15" fmla="*/ 1122 h 1122"/>
                  <a:gd name="T16" fmla="*/ 405 w 3057"/>
                  <a:gd name="T17" fmla="*/ 1122 h 1122"/>
                  <a:gd name="T18" fmla="*/ 1529 w 3057"/>
                  <a:gd name="T19" fmla="*/ 340 h 1122"/>
                  <a:gd name="T20" fmla="*/ 2652 w 3057"/>
                  <a:gd name="T21" fmla="*/ 1122 h 1122"/>
                  <a:gd name="T22" fmla="*/ 3057 w 3057"/>
                  <a:gd name="T23" fmla="*/ 1122 h 1122"/>
                  <a:gd name="T24" fmla="*/ 1529 w 3057"/>
                  <a:gd name="T25" fmla="*/ 0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57" h="1122">
                    <a:moveTo>
                      <a:pt x="1529" y="0"/>
                    </a:moveTo>
                    <a:lnTo>
                      <a:pt x="1529" y="1"/>
                    </a:lnTo>
                    <a:lnTo>
                      <a:pt x="1528" y="0"/>
                    </a:lnTo>
                    <a:lnTo>
                      <a:pt x="904" y="458"/>
                    </a:lnTo>
                    <a:lnTo>
                      <a:pt x="904" y="162"/>
                    </a:lnTo>
                    <a:lnTo>
                      <a:pt x="598" y="162"/>
                    </a:lnTo>
                    <a:lnTo>
                      <a:pt x="598" y="684"/>
                    </a:lnTo>
                    <a:lnTo>
                      <a:pt x="0" y="1122"/>
                    </a:lnTo>
                    <a:lnTo>
                      <a:pt x="405" y="1122"/>
                    </a:lnTo>
                    <a:lnTo>
                      <a:pt x="1529" y="340"/>
                    </a:lnTo>
                    <a:lnTo>
                      <a:pt x="2652" y="1122"/>
                    </a:lnTo>
                    <a:lnTo>
                      <a:pt x="3057" y="1122"/>
                    </a:lnTo>
                    <a:lnTo>
                      <a:pt x="152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44" name="Group 143"/>
            <p:cNvGrpSpPr/>
            <p:nvPr/>
          </p:nvGrpSpPr>
          <p:grpSpPr>
            <a:xfrm>
              <a:off x="4517064" y="2415654"/>
              <a:ext cx="559904" cy="398808"/>
              <a:chOff x="10399713" y="4237038"/>
              <a:chExt cx="1473200" cy="725488"/>
            </a:xfrm>
            <a:solidFill>
              <a:schemeClr val="accent2"/>
            </a:solidFill>
          </p:grpSpPr>
          <p:sp>
            <p:nvSpPr>
              <p:cNvPr id="145" name="Freeform 648"/>
              <p:cNvSpPr>
                <a:spLocks noEditPoints="1"/>
              </p:cNvSpPr>
              <p:nvPr/>
            </p:nvSpPr>
            <p:spPr bwMode="auto">
              <a:xfrm>
                <a:off x="10399713" y="4237038"/>
                <a:ext cx="1473200" cy="695325"/>
              </a:xfrm>
              <a:custGeom>
                <a:avLst/>
                <a:gdLst>
                  <a:gd name="T0" fmla="*/ 1414 w 3713"/>
                  <a:gd name="T1" fmla="*/ 740 h 1751"/>
                  <a:gd name="T2" fmla="*/ 1076 w 3713"/>
                  <a:gd name="T3" fmla="*/ 656 h 1751"/>
                  <a:gd name="T4" fmla="*/ 1096 w 3713"/>
                  <a:gd name="T5" fmla="*/ 963 h 1751"/>
                  <a:gd name="T6" fmla="*/ 1117 w 3713"/>
                  <a:gd name="T7" fmla="*/ 1271 h 1751"/>
                  <a:gd name="T8" fmla="*/ 1139 w 3713"/>
                  <a:gd name="T9" fmla="*/ 1578 h 1751"/>
                  <a:gd name="T10" fmla="*/ 1152 w 3713"/>
                  <a:gd name="T11" fmla="*/ 1637 h 1751"/>
                  <a:gd name="T12" fmla="*/ 1173 w 3713"/>
                  <a:gd name="T13" fmla="*/ 1649 h 1751"/>
                  <a:gd name="T14" fmla="*/ 1281 w 3713"/>
                  <a:gd name="T15" fmla="*/ 1649 h 1751"/>
                  <a:gd name="T16" fmla="*/ 1440 w 3713"/>
                  <a:gd name="T17" fmla="*/ 1649 h 1751"/>
                  <a:gd name="T18" fmla="*/ 1482 w 3713"/>
                  <a:gd name="T19" fmla="*/ 1638 h 1751"/>
                  <a:gd name="T20" fmla="*/ 1510 w 3713"/>
                  <a:gd name="T21" fmla="*/ 1590 h 1751"/>
                  <a:gd name="T22" fmla="*/ 1612 w 3713"/>
                  <a:gd name="T23" fmla="*/ 1301 h 1751"/>
                  <a:gd name="T24" fmla="*/ 1754 w 3713"/>
                  <a:gd name="T25" fmla="*/ 886 h 1751"/>
                  <a:gd name="T26" fmla="*/ 2232 w 3713"/>
                  <a:gd name="T27" fmla="*/ 951 h 1751"/>
                  <a:gd name="T28" fmla="*/ 2335 w 3713"/>
                  <a:gd name="T29" fmla="*/ 875 h 1751"/>
                  <a:gd name="T30" fmla="*/ 2447 w 3713"/>
                  <a:gd name="T31" fmla="*/ 826 h 1751"/>
                  <a:gd name="T32" fmla="*/ 2562 w 3713"/>
                  <a:gd name="T33" fmla="*/ 803 h 1751"/>
                  <a:gd name="T34" fmla="*/ 2680 w 3713"/>
                  <a:gd name="T35" fmla="*/ 802 h 1751"/>
                  <a:gd name="T36" fmla="*/ 2792 w 3713"/>
                  <a:gd name="T37" fmla="*/ 822 h 1751"/>
                  <a:gd name="T38" fmla="*/ 2901 w 3713"/>
                  <a:gd name="T39" fmla="*/ 802 h 1751"/>
                  <a:gd name="T40" fmla="*/ 3074 w 3713"/>
                  <a:gd name="T41" fmla="*/ 665 h 1751"/>
                  <a:gd name="T42" fmla="*/ 3290 w 3713"/>
                  <a:gd name="T43" fmla="*/ 519 h 1751"/>
                  <a:gd name="T44" fmla="*/ 3485 w 3713"/>
                  <a:gd name="T45" fmla="*/ 372 h 1751"/>
                  <a:gd name="T46" fmla="*/ 3588 w 3713"/>
                  <a:gd name="T47" fmla="*/ 312 h 1751"/>
                  <a:gd name="T48" fmla="*/ 3685 w 3713"/>
                  <a:gd name="T49" fmla="*/ 312 h 1751"/>
                  <a:gd name="T50" fmla="*/ 3709 w 3713"/>
                  <a:gd name="T51" fmla="*/ 181 h 1751"/>
                  <a:gd name="T52" fmla="*/ 3539 w 3713"/>
                  <a:gd name="T53" fmla="*/ 51 h 1751"/>
                  <a:gd name="T54" fmla="*/ 2666 w 3713"/>
                  <a:gd name="T55" fmla="*/ 51 h 1751"/>
                  <a:gd name="T56" fmla="*/ 1793 w 3713"/>
                  <a:gd name="T57" fmla="*/ 51 h 1751"/>
                  <a:gd name="T58" fmla="*/ 920 w 3713"/>
                  <a:gd name="T59" fmla="*/ 51 h 1751"/>
                  <a:gd name="T60" fmla="*/ 937 w 3713"/>
                  <a:gd name="T61" fmla="*/ 142 h 1751"/>
                  <a:gd name="T62" fmla="*/ 984 w 3713"/>
                  <a:gd name="T63" fmla="*/ 230 h 1751"/>
                  <a:gd name="T64" fmla="*/ 984 w 3713"/>
                  <a:gd name="T65" fmla="*/ 452 h 1751"/>
                  <a:gd name="T66" fmla="*/ 798 w 3713"/>
                  <a:gd name="T67" fmla="*/ 391 h 1751"/>
                  <a:gd name="T68" fmla="*/ 518 w 3713"/>
                  <a:gd name="T69" fmla="*/ 231 h 1751"/>
                  <a:gd name="T70" fmla="*/ 236 w 3713"/>
                  <a:gd name="T71" fmla="*/ 73 h 1751"/>
                  <a:gd name="T72" fmla="*/ 100 w 3713"/>
                  <a:gd name="T73" fmla="*/ 4 h 1751"/>
                  <a:gd name="T74" fmla="*/ 53 w 3713"/>
                  <a:gd name="T75" fmla="*/ 1 h 1751"/>
                  <a:gd name="T76" fmla="*/ 19 w 3713"/>
                  <a:gd name="T77" fmla="*/ 17 h 1751"/>
                  <a:gd name="T78" fmla="*/ 1 w 3713"/>
                  <a:gd name="T79" fmla="*/ 46 h 1751"/>
                  <a:gd name="T80" fmla="*/ 4 w 3713"/>
                  <a:gd name="T81" fmla="*/ 84 h 1751"/>
                  <a:gd name="T82" fmla="*/ 30 w 3713"/>
                  <a:gd name="T83" fmla="*/ 123 h 1751"/>
                  <a:gd name="T84" fmla="*/ 120 w 3713"/>
                  <a:gd name="T85" fmla="*/ 178 h 1751"/>
                  <a:gd name="T86" fmla="*/ 377 w 3713"/>
                  <a:gd name="T87" fmla="*/ 315 h 1751"/>
                  <a:gd name="T88" fmla="*/ 635 w 3713"/>
                  <a:gd name="T89" fmla="*/ 454 h 1751"/>
                  <a:gd name="T90" fmla="*/ 893 w 3713"/>
                  <a:gd name="T91" fmla="*/ 597 h 1751"/>
                  <a:gd name="T92" fmla="*/ 927 w 3713"/>
                  <a:gd name="T93" fmla="*/ 916 h 1751"/>
                  <a:gd name="T94" fmla="*/ 961 w 3713"/>
                  <a:gd name="T95" fmla="*/ 1235 h 1751"/>
                  <a:gd name="T96" fmla="*/ 996 w 3713"/>
                  <a:gd name="T97" fmla="*/ 1556 h 1751"/>
                  <a:gd name="T98" fmla="*/ 1014 w 3713"/>
                  <a:gd name="T99" fmla="*/ 1689 h 1751"/>
                  <a:gd name="T100" fmla="*/ 1040 w 3713"/>
                  <a:gd name="T101" fmla="*/ 1734 h 1751"/>
                  <a:gd name="T102" fmla="*/ 1092 w 3713"/>
                  <a:gd name="T103" fmla="*/ 1748 h 1751"/>
                  <a:gd name="T104" fmla="*/ 1276 w 3713"/>
                  <a:gd name="T105" fmla="*/ 1750 h 1751"/>
                  <a:gd name="T106" fmla="*/ 1520 w 3713"/>
                  <a:gd name="T107" fmla="*/ 1751 h 1751"/>
                  <a:gd name="T108" fmla="*/ 1582 w 3713"/>
                  <a:gd name="T109" fmla="*/ 1724 h 1751"/>
                  <a:gd name="T110" fmla="*/ 1619 w 3713"/>
                  <a:gd name="T111" fmla="*/ 1670 h 1751"/>
                  <a:gd name="T112" fmla="*/ 1681 w 3713"/>
                  <a:gd name="T113" fmla="*/ 1510 h 1751"/>
                  <a:gd name="T114" fmla="*/ 1832 w 3713"/>
                  <a:gd name="T115" fmla="*/ 1105 h 1751"/>
                  <a:gd name="T116" fmla="*/ 1993 w 3713"/>
                  <a:gd name="T117" fmla="*/ 976 h 1751"/>
                  <a:gd name="T118" fmla="*/ 2157 w 3713"/>
                  <a:gd name="T119" fmla="*/ 1033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13" h="1751">
                    <a:moveTo>
                      <a:pt x="1754" y="886"/>
                    </a:moveTo>
                    <a:lnTo>
                      <a:pt x="1669" y="849"/>
                    </a:lnTo>
                    <a:lnTo>
                      <a:pt x="1584" y="813"/>
                    </a:lnTo>
                    <a:lnTo>
                      <a:pt x="1499" y="776"/>
                    </a:lnTo>
                    <a:lnTo>
                      <a:pt x="1414" y="740"/>
                    </a:lnTo>
                    <a:lnTo>
                      <a:pt x="1328" y="703"/>
                    </a:lnTo>
                    <a:lnTo>
                      <a:pt x="1242" y="667"/>
                    </a:lnTo>
                    <a:lnTo>
                      <a:pt x="1157" y="630"/>
                    </a:lnTo>
                    <a:lnTo>
                      <a:pt x="1072" y="594"/>
                    </a:lnTo>
                    <a:lnTo>
                      <a:pt x="1076" y="656"/>
                    </a:lnTo>
                    <a:lnTo>
                      <a:pt x="1080" y="717"/>
                    </a:lnTo>
                    <a:lnTo>
                      <a:pt x="1084" y="778"/>
                    </a:lnTo>
                    <a:lnTo>
                      <a:pt x="1088" y="840"/>
                    </a:lnTo>
                    <a:lnTo>
                      <a:pt x="1092" y="902"/>
                    </a:lnTo>
                    <a:lnTo>
                      <a:pt x="1096" y="963"/>
                    </a:lnTo>
                    <a:lnTo>
                      <a:pt x="1100" y="1025"/>
                    </a:lnTo>
                    <a:lnTo>
                      <a:pt x="1104" y="1086"/>
                    </a:lnTo>
                    <a:lnTo>
                      <a:pt x="1108" y="1147"/>
                    </a:lnTo>
                    <a:lnTo>
                      <a:pt x="1113" y="1209"/>
                    </a:lnTo>
                    <a:lnTo>
                      <a:pt x="1117" y="1271"/>
                    </a:lnTo>
                    <a:lnTo>
                      <a:pt x="1122" y="1332"/>
                    </a:lnTo>
                    <a:lnTo>
                      <a:pt x="1126" y="1393"/>
                    </a:lnTo>
                    <a:lnTo>
                      <a:pt x="1130" y="1454"/>
                    </a:lnTo>
                    <a:lnTo>
                      <a:pt x="1134" y="1516"/>
                    </a:lnTo>
                    <a:lnTo>
                      <a:pt x="1139" y="1578"/>
                    </a:lnTo>
                    <a:lnTo>
                      <a:pt x="1140" y="1595"/>
                    </a:lnTo>
                    <a:lnTo>
                      <a:pt x="1142" y="1610"/>
                    </a:lnTo>
                    <a:lnTo>
                      <a:pt x="1145" y="1622"/>
                    </a:lnTo>
                    <a:lnTo>
                      <a:pt x="1149" y="1633"/>
                    </a:lnTo>
                    <a:lnTo>
                      <a:pt x="1152" y="1637"/>
                    </a:lnTo>
                    <a:lnTo>
                      <a:pt x="1155" y="1640"/>
                    </a:lnTo>
                    <a:lnTo>
                      <a:pt x="1159" y="1643"/>
                    </a:lnTo>
                    <a:lnTo>
                      <a:pt x="1163" y="1646"/>
                    </a:lnTo>
                    <a:lnTo>
                      <a:pt x="1167" y="1647"/>
                    </a:lnTo>
                    <a:lnTo>
                      <a:pt x="1173" y="1649"/>
                    </a:lnTo>
                    <a:lnTo>
                      <a:pt x="1179" y="1649"/>
                    </a:lnTo>
                    <a:lnTo>
                      <a:pt x="1186" y="1649"/>
                    </a:lnTo>
                    <a:lnTo>
                      <a:pt x="1218" y="1649"/>
                    </a:lnTo>
                    <a:lnTo>
                      <a:pt x="1249" y="1649"/>
                    </a:lnTo>
                    <a:lnTo>
                      <a:pt x="1281" y="1649"/>
                    </a:lnTo>
                    <a:lnTo>
                      <a:pt x="1313" y="1649"/>
                    </a:lnTo>
                    <a:lnTo>
                      <a:pt x="1345" y="1649"/>
                    </a:lnTo>
                    <a:lnTo>
                      <a:pt x="1376" y="1649"/>
                    </a:lnTo>
                    <a:lnTo>
                      <a:pt x="1409" y="1649"/>
                    </a:lnTo>
                    <a:lnTo>
                      <a:pt x="1440" y="1649"/>
                    </a:lnTo>
                    <a:lnTo>
                      <a:pt x="1450" y="1649"/>
                    </a:lnTo>
                    <a:lnTo>
                      <a:pt x="1459" y="1648"/>
                    </a:lnTo>
                    <a:lnTo>
                      <a:pt x="1467" y="1645"/>
                    </a:lnTo>
                    <a:lnTo>
                      <a:pt x="1474" y="1642"/>
                    </a:lnTo>
                    <a:lnTo>
                      <a:pt x="1482" y="1638"/>
                    </a:lnTo>
                    <a:lnTo>
                      <a:pt x="1487" y="1633"/>
                    </a:lnTo>
                    <a:lnTo>
                      <a:pt x="1492" y="1628"/>
                    </a:lnTo>
                    <a:lnTo>
                      <a:pt x="1496" y="1621"/>
                    </a:lnTo>
                    <a:lnTo>
                      <a:pt x="1504" y="1606"/>
                    </a:lnTo>
                    <a:lnTo>
                      <a:pt x="1510" y="1590"/>
                    </a:lnTo>
                    <a:lnTo>
                      <a:pt x="1517" y="1571"/>
                    </a:lnTo>
                    <a:lnTo>
                      <a:pt x="1524" y="1551"/>
                    </a:lnTo>
                    <a:lnTo>
                      <a:pt x="1554" y="1467"/>
                    </a:lnTo>
                    <a:lnTo>
                      <a:pt x="1583" y="1384"/>
                    </a:lnTo>
                    <a:lnTo>
                      <a:pt x="1612" y="1301"/>
                    </a:lnTo>
                    <a:lnTo>
                      <a:pt x="1641" y="1218"/>
                    </a:lnTo>
                    <a:lnTo>
                      <a:pt x="1669" y="1135"/>
                    </a:lnTo>
                    <a:lnTo>
                      <a:pt x="1698" y="1052"/>
                    </a:lnTo>
                    <a:lnTo>
                      <a:pt x="1726" y="969"/>
                    </a:lnTo>
                    <a:lnTo>
                      <a:pt x="1754" y="886"/>
                    </a:lnTo>
                    <a:close/>
                    <a:moveTo>
                      <a:pt x="2157" y="1033"/>
                    </a:moveTo>
                    <a:lnTo>
                      <a:pt x="2175" y="1010"/>
                    </a:lnTo>
                    <a:lnTo>
                      <a:pt x="2193" y="989"/>
                    </a:lnTo>
                    <a:lnTo>
                      <a:pt x="2213" y="970"/>
                    </a:lnTo>
                    <a:lnTo>
                      <a:pt x="2232" y="951"/>
                    </a:lnTo>
                    <a:lnTo>
                      <a:pt x="2251" y="933"/>
                    </a:lnTo>
                    <a:lnTo>
                      <a:pt x="2271" y="917"/>
                    </a:lnTo>
                    <a:lnTo>
                      <a:pt x="2293" y="902"/>
                    </a:lnTo>
                    <a:lnTo>
                      <a:pt x="2314" y="888"/>
                    </a:lnTo>
                    <a:lnTo>
                      <a:pt x="2335" y="875"/>
                    </a:lnTo>
                    <a:lnTo>
                      <a:pt x="2356" y="863"/>
                    </a:lnTo>
                    <a:lnTo>
                      <a:pt x="2379" y="852"/>
                    </a:lnTo>
                    <a:lnTo>
                      <a:pt x="2401" y="842"/>
                    </a:lnTo>
                    <a:lnTo>
                      <a:pt x="2423" y="834"/>
                    </a:lnTo>
                    <a:lnTo>
                      <a:pt x="2447" y="826"/>
                    </a:lnTo>
                    <a:lnTo>
                      <a:pt x="2470" y="820"/>
                    </a:lnTo>
                    <a:lnTo>
                      <a:pt x="2492" y="814"/>
                    </a:lnTo>
                    <a:lnTo>
                      <a:pt x="2516" y="810"/>
                    </a:lnTo>
                    <a:lnTo>
                      <a:pt x="2539" y="806"/>
                    </a:lnTo>
                    <a:lnTo>
                      <a:pt x="2562" y="803"/>
                    </a:lnTo>
                    <a:lnTo>
                      <a:pt x="2587" y="801"/>
                    </a:lnTo>
                    <a:lnTo>
                      <a:pt x="2610" y="800"/>
                    </a:lnTo>
                    <a:lnTo>
                      <a:pt x="2633" y="800"/>
                    </a:lnTo>
                    <a:lnTo>
                      <a:pt x="2657" y="801"/>
                    </a:lnTo>
                    <a:lnTo>
                      <a:pt x="2680" y="802"/>
                    </a:lnTo>
                    <a:lnTo>
                      <a:pt x="2702" y="805"/>
                    </a:lnTo>
                    <a:lnTo>
                      <a:pt x="2726" y="808"/>
                    </a:lnTo>
                    <a:lnTo>
                      <a:pt x="2748" y="812"/>
                    </a:lnTo>
                    <a:lnTo>
                      <a:pt x="2770" y="816"/>
                    </a:lnTo>
                    <a:lnTo>
                      <a:pt x="2792" y="822"/>
                    </a:lnTo>
                    <a:lnTo>
                      <a:pt x="2815" y="828"/>
                    </a:lnTo>
                    <a:lnTo>
                      <a:pt x="2836" y="834"/>
                    </a:lnTo>
                    <a:lnTo>
                      <a:pt x="2857" y="842"/>
                    </a:lnTo>
                    <a:lnTo>
                      <a:pt x="2880" y="822"/>
                    </a:lnTo>
                    <a:lnTo>
                      <a:pt x="2901" y="802"/>
                    </a:lnTo>
                    <a:lnTo>
                      <a:pt x="2922" y="782"/>
                    </a:lnTo>
                    <a:lnTo>
                      <a:pt x="2945" y="764"/>
                    </a:lnTo>
                    <a:lnTo>
                      <a:pt x="2987" y="729"/>
                    </a:lnTo>
                    <a:lnTo>
                      <a:pt x="3031" y="696"/>
                    </a:lnTo>
                    <a:lnTo>
                      <a:pt x="3074" y="665"/>
                    </a:lnTo>
                    <a:lnTo>
                      <a:pt x="3117" y="635"/>
                    </a:lnTo>
                    <a:lnTo>
                      <a:pt x="3160" y="606"/>
                    </a:lnTo>
                    <a:lnTo>
                      <a:pt x="3203" y="577"/>
                    </a:lnTo>
                    <a:lnTo>
                      <a:pt x="3247" y="548"/>
                    </a:lnTo>
                    <a:lnTo>
                      <a:pt x="3290" y="519"/>
                    </a:lnTo>
                    <a:lnTo>
                      <a:pt x="3333" y="489"/>
                    </a:lnTo>
                    <a:lnTo>
                      <a:pt x="3376" y="458"/>
                    </a:lnTo>
                    <a:lnTo>
                      <a:pt x="3420" y="425"/>
                    </a:lnTo>
                    <a:lnTo>
                      <a:pt x="3463" y="390"/>
                    </a:lnTo>
                    <a:lnTo>
                      <a:pt x="3485" y="372"/>
                    </a:lnTo>
                    <a:lnTo>
                      <a:pt x="3506" y="353"/>
                    </a:lnTo>
                    <a:lnTo>
                      <a:pt x="3527" y="332"/>
                    </a:lnTo>
                    <a:lnTo>
                      <a:pt x="3549" y="312"/>
                    </a:lnTo>
                    <a:lnTo>
                      <a:pt x="3569" y="312"/>
                    </a:lnTo>
                    <a:lnTo>
                      <a:pt x="3588" y="312"/>
                    </a:lnTo>
                    <a:lnTo>
                      <a:pt x="3608" y="312"/>
                    </a:lnTo>
                    <a:lnTo>
                      <a:pt x="3627" y="312"/>
                    </a:lnTo>
                    <a:lnTo>
                      <a:pt x="3646" y="312"/>
                    </a:lnTo>
                    <a:lnTo>
                      <a:pt x="3665" y="312"/>
                    </a:lnTo>
                    <a:lnTo>
                      <a:pt x="3685" y="312"/>
                    </a:lnTo>
                    <a:lnTo>
                      <a:pt x="3704" y="312"/>
                    </a:lnTo>
                    <a:lnTo>
                      <a:pt x="3705" y="291"/>
                    </a:lnTo>
                    <a:lnTo>
                      <a:pt x="3706" y="260"/>
                    </a:lnTo>
                    <a:lnTo>
                      <a:pt x="3707" y="222"/>
                    </a:lnTo>
                    <a:lnTo>
                      <a:pt x="3709" y="181"/>
                    </a:lnTo>
                    <a:lnTo>
                      <a:pt x="3710" y="140"/>
                    </a:lnTo>
                    <a:lnTo>
                      <a:pt x="3711" y="102"/>
                    </a:lnTo>
                    <a:lnTo>
                      <a:pt x="3712" y="72"/>
                    </a:lnTo>
                    <a:lnTo>
                      <a:pt x="3713" y="51"/>
                    </a:lnTo>
                    <a:lnTo>
                      <a:pt x="3539" y="51"/>
                    </a:lnTo>
                    <a:lnTo>
                      <a:pt x="3364" y="51"/>
                    </a:lnTo>
                    <a:lnTo>
                      <a:pt x="3189" y="51"/>
                    </a:lnTo>
                    <a:lnTo>
                      <a:pt x="3014" y="51"/>
                    </a:lnTo>
                    <a:lnTo>
                      <a:pt x="2840" y="51"/>
                    </a:lnTo>
                    <a:lnTo>
                      <a:pt x="2666" y="51"/>
                    </a:lnTo>
                    <a:lnTo>
                      <a:pt x="2491" y="51"/>
                    </a:lnTo>
                    <a:lnTo>
                      <a:pt x="2316" y="51"/>
                    </a:lnTo>
                    <a:lnTo>
                      <a:pt x="2142" y="51"/>
                    </a:lnTo>
                    <a:lnTo>
                      <a:pt x="1967" y="51"/>
                    </a:lnTo>
                    <a:lnTo>
                      <a:pt x="1793" y="51"/>
                    </a:lnTo>
                    <a:lnTo>
                      <a:pt x="1618" y="51"/>
                    </a:lnTo>
                    <a:lnTo>
                      <a:pt x="1443" y="51"/>
                    </a:lnTo>
                    <a:lnTo>
                      <a:pt x="1269" y="51"/>
                    </a:lnTo>
                    <a:lnTo>
                      <a:pt x="1094" y="51"/>
                    </a:lnTo>
                    <a:lnTo>
                      <a:pt x="920" y="51"/>
                    </a:lnTo>
                    <a:lnTo>
                      <a:pt x="920" y="73"/>
                    </a:lnTo>
                    <a:lnTo>
                      <a:pt x="921" y="95"/>
                    </a:lnTo>
                    <a:lnTo>
                      <a:pt x="922" y="117"/>
                    </a:lnTo>
                    <a:lnTo>
                      <a:pt x="922" y="142"/>
                    </a:lnTo>
                    <a:lnTo>
                      <a:pt x="937" y="142"/>
                    </a:lnTo>
                    <a:lnTo>
                      <a:pt x="952" y="142"/>
                    </a:lnTo>
                    <a:lnTo>
                      <a:pt x="969" y="142"/>
                    </a:lnTo>
                    <a:lnTo>
                      <a:pt x="984" y="142"/>
                    </a:lnTo>
                    <a:lnTo>
                      <a:pt x="984" y="186"/>
                    </a:lnTo>
                    <a:lnTo>
                      <a:pt x="984" y="230"/>
                    </a:lnTo>
                    <a:lnTo>
                      <a:pt x="984" y="275"/>
                    </a:lnTo>
                    <a:lnTo>
                      <a:pt x="984" y="319"/>
                    </a:lnTo>
                    <a:lnTo>
                      <a:pt x="984" y="364"/>
                    </a:lnTo>
                    <a:lnTo>
                      <a:pt x="984" y="407"/>
                    </a:lnTo>
                    <a:lnTo>
                      <a:pt x="984" y="452"/>
                    </a:lnTo>
                    <a:lnTo>
                      <a:pt x="984" y="496"/>
                    </a:lnTo>
                    <a:lnTo>
                      <a:pt x="942" y="473"/>
                    </a:lnTo>
                    <a:lnTo>
                      <a:pt x="898" y="448"/>
                    </a:lnTo>
                    <a:lnTo>
                      <a:pt x="850" y="420"/>
                    </a:lnTo>
                    <a:lnTo>
                      <a:pt x="798" y="391"/>
                    </a:lnTo>
                    <a:lnTo>
                      <a:pt x="746" y="361"/>
                    </a:lnTo>
                    <a:lnTo>
                      <a:pt x="691" y="329"/>
                    </a:lnTo>
                    <a:lnTo>
                      <a:pt x="634" y="297"/>
                    </a:lnTo>
                    <a:lnTo>
                      <a:pt x="577" y="264"/>
                    </a:lnTo>
                    <a:lnTo>
                      <a:pt x="518" y="231"/>
                    </a:lnTo>
                    <a:lnTo>
                      <a:pt x="461" y="199"/>
                    </a:lnTo>
                    <a:lnTo>
                      <a:pt x="403" y="166"/>
                    </a:lnTo>
                    <a:lnTo>
                      <a:pt x="346" y="134"/>
                    </a:lnTo>
                    <a:lnTo>
                      <a:pt x="289" y="103"/>
                    </a:lnTo>
                    <a:lnTo>
                      <a:pt x="236" y="73"/>
                    </a:lnTo>
                    <a:lnTo>
                      <a:pt x="183" y="44"/>
                    </a:lnTo>
                    <a:lnTo>
                      <a:pt x="133" y="18"/>
                    </a:lnTo>
                    <a:lnTo>
                      <a:pt x="122" y="12"/>
                    </a:lnTo>
                    <a:lnTo>
                      <a:pt x="111" y="8"/>
                    </a:lnTo>
                    <a:lnTo>
                      <a:pt x="100" y="4"/>
                    </a:lnTo>
                    <a:lnTo>
                      <a:pt x="90" y="2"/>
                    </a:lnTo>
                    <a:lnTo>
                      <a:pt x="79" y="0"/>
                    </a:lnTo>
                    <a:lnTo>
                      <a:pt x="70" y="0"/>
                    </a:lnTo>
                    <a:lnTo>
                      <a:pt x="61" y="0"/>
                    </a:lnTo>
                    <a:lnTo>
                      <a:pt x="53" y="1"/>
                    </a:lnTo>
                    <a:lnTo>
                      <a:pt x="45" y="3"/>
                    </a:lnTo>
                    <a:lnTo>
                      <a:pt x="37" y="6"/>
                    </a:lnTo>
                    <a:lnTo>
                      <a:pt x="31" y="9"/>
                    </a:lnTo>
                    <a:lnTo>
                      <a:pt x="25" y="13"/>
                    </a:lnTo>
                    <a:lnTo>
                      <a:pt x="19" y="17"/>
                    </a:lnTo>
                    <a:lnTo>
                      <a:pt x="14" y="22"/>
                    </a:lnTo>
                    <a:lnTo>
                      <a:pt x="9" y="28"/>
                    </a:lnTo>
                    <a:lnTo>
                      <a:pt x="6" y="34"/>
                    </a:lnTo>
                    <a:lnTo>
                      <a:pt x="3" y="40"/>
                    </a:lnTo>
                    <a:lnTo>
                      <a:pt x="1" y="46"/>
                    </a:lnTo>
                    <a:lnTo>
                      <a:pt x="0" y="54"/>
                    </a:lnTo>
                    <a:lnTo>
                      <a:pt x="0" y="62"/>
                    </a:lnTo>
                    <a:lnTo>
                      <a:pt x="0" y="69"/>
                    </a:lnTo>
                    <a:lnTo>
                      <a:pt x="1" y="76"/>
                    </a:lnTo>
                    <a:lnTo>
                      <a:pt x="4" y="84"/>
                    </a:lnTo>
                    <a:lnTo>
                      <a:pt x="7" y="92"/>
                    </a:lnTo>
                    <a:lnTo>
                      <a:pt x="12" y="99"/>
                    </a:lnTo>
                    <a:lnTo>
                      <a:pt x="17" y="107"/>
                    </a:lnTo>
                    <a:lnTo>
                      <a:pt x="23" y="115"/>
                    </a:lnTo>
                    <a:lnTo>
                      <a:pt x="30" y="123"/>
                    </a:lnTo>
                    <a:lnTo>
                      <a:pt x="38" y="131"/>
                    </a:lnTo>
                    <a:lnTo>
                      <a:pt x="47" y="138"/>
                    </a:lnTo>
                    <a:lnTo>
                      <a:pt x="57" y="144"/>
                    </a:lnTo>
                    <a:lnTo>
                      <a:pt x="68" y="151"/>
                    </a:lnTo>
                    <a:lnTo>
                      <a:pt x="120" y="178"/>
                    </a:lnTo>
                    <a:lnTo>
                      <a:pt x="171" y="206"/>
                    </a:lnTo>
                    <a:lnTo>
                      <a:pt x="222" y="233"/>
                    </a:lnTo>
                    <a:lnTo>
                      <a:pt x="274" y="260"/>
                    </a:lnTo>
                    <a:lnTo>
                      <a:pt x="326" y="288"/>
                    </a:lnTo>
                    <a:lnTo>
                      <a:pt x="377" y="315"/>
                    </a:lnTo>
                    <a:lnTo>
                      <a:pt x="429" y="343"/>
                    </a:lnTo>
                    <a:lnTo>
                      <a:pt x="481" y="371"/>
                    </a:lnTo>
                    <a:lnTo>
                      <a:pt x="532" y="398"/>
                    </a:lnTo>
                    <a:lnTo>
                      <a:pt x="583" y="426"/>
                    </a:lnTo>
                    <a:lnTo>
                      <a:pt x="635" y="454"/>
                    </a:lnTo>
                    <a:lnTo>
                      <a:pt x="687" y="482"/>
                    </a:lnTo>
                    <a:lnTo>
                      <a:pt x="738" y="511"/>
                    </a:lnTo>
                    <a:lnTo>
                      <a:pt x="790" y="539"/>
                    </a:lnTo>
                    <a:lnTo>
                      <a:pt x="841" y="567"/>
                    </a:lnTo>
                    <a:lnTo>
                      <a:pt x="893" y="597"/>
                    </a:lnTo>
                    <a:lnTo>
                      <a:pt x="900" y="661"/>
                    </a:lnTo>
                    <a:lnTo>
                      <a:pt x="907" y="725"/>
                    </a:lnTo>
                    <a:lnTo>
                      <a:pt x="913" y="788"/>
                    </a:lnTo>
                    <a:lnTo>
                      <a:pt x="920" y="852"/>
                    </a:lnTo>
                    <a:lnTo>
                      <a:pt x="927" y="916"/>
                    </a:lnTo>
                    <a:lnTo>
                      <a:pt x="934" y="980"/>
                    </a:lnTo>
                    <a:lnTo>
                      <a:pt x="941" y="1044"/>
                    </a:lnTo>
                    <a:lnTo>
                      <a:pt x="948" y="1108"/>
                    </a:lnTo>
                    <a:lnTo>
                      <a:pt x="954" y="1171"/>
                    </a:lnTo>
                    <a:lnTo>
                      <a:pt x="961" y="1235"/>
                    </a:lnTo>
                    <a:lnTo>
                      <a:pt x="969" y="1299"/>
                    </a:lnTo>
                    <a:lnTo>
                      <a:pt x="976" y="1363"/>
                    </a:lnTo>
                    <a:lnTo>
                      <a:pt x="983" y="1428"/>
                    </a:lnTo>
                    <a:lnTo>
                      <a:pt x="990" y="1492"/>
                    </a:lnTo>
                    <a:lnTo>
                      <a:pt x="996" y="1556"/>
                    </a:lnTo>
                    <a:lnTo>
                      <a:pt x="1003" y="1619"/>
                    </a:lnTo>
                    <a:lnTo>
                      <a:pt x="1006" y="1640"/>
                    </a:lnTo>
                    <a:lnTo>
                      <a:pt x="1008" y="1659"/>
                    </a:lnTo>
                    <a:lnTo>
                      <a:pt x="1011" y="1675"/>
                    </a:lnTo>
                    <a:lnTo>
                      <a:pt x="1014" y="1689"/>
                    </a:lnTo>
                    <a:lnTo>
                      <a:pt x="1017" y="1702"/>
                    </a:lnTo>
                    <a:lnTo>
                      <a:pt x="1022" y="1713"/>
                    </a:lnTo>
                    <a:lnTo>
                      <a:pt x="1026" y="1721"/>
                    </a:lnTo>
                    <a:lnTo>
                      <a:pt x="1032" y="1728"/>
                    </a:lnTo>
                    <a:lnTo>
                      <a:pt x="1040" y="1734"/>
                    </a:lnTo>
                    <a:lnTo>
                      <a:pt x="1047" y="1739"/>
                    </a:lnTo>
                    <a:lnTo>
                      <a:pt x="1056" y="1742"/>
                    </a:lnTo>
                    <a:lnTo>
                      <a:pt x="1067" y="1745"/>
                    </a:lnTo>
                    <a:lnTo>
                      <a:pt x="1078" y="1747"/>
                    </a:lnTo>
                    <a:lnTo>
                      <a:pt x="1092" y="1748"/>
                    </a:lnTo>
                    <a:lnTo>
                      <a:pt x="1107" y="1749"/>
                    </a:lnTo>
                    <a:lnTo>
                      <a:pt x="1125" y="1749"/>
                    </a:lnTo>
                    <a:lnTo>
                      <a:pt x="1175" y="1750"/>
                    </a:lnTo>
                    <a:lnTo>
                      <a:pt x="1226" y="1750"/>
                    </a:lnTo>
                    <a:lnTo>
                      <a:pt x="1276" y="1750"/>
                    </a:lnTo>
                    <a:lnTo>
                      <a:pt x="1325" y="1751"/>
                    </a:lnTo>
                    <a:lnTo>
                      <a:pt x="1374" y="1751"/>
                    </a:lnTo>
                    <a:lnTo>
                      <a:pt x="1423" y="1751"/>
                    </a:lnTo>
                    <a:lnTo>
                      <a:pt x="1471" y="1751"/>
                    </a:lnTo>
                    <a:lnTo>
                      <a:pt x="1520" y="1751"/>
                    </a:lnTo>
                    <a:lnTo>
                      <a:pt x="1535" y="1749"/>
                    </a:lnTo>
                    <a:lnTo>
                      <a:pt x="1548" y="1745"/>
                    </a:lnTo>
                    <a:lnTo>
                      <a:pt x="1561" y="1739"/>
                    </a:lnTo>
                    <a:lnTo>
                      <a:pt x="1572" y="1732"/>
                    </a:lnTo>
                    <a:lnTo>
                      <a:pt x="1582" y="1724"/>
                    </a:lnTo>
                    <a:lnTo>
                      <a:pt x="1591" y="1715"/>
                    </a:lnTo>
                    <a:lnTo>
                      <a:pt x="1599" y="1705"/>
                    </a:lnTo>
                    <a:lnTo>
                      <a:pt x="1606" y="1693"/>
                    </a:lnTo>
                    <a:lnTo>
                      <a:pt x="1613" y="1682"/>
                    </a:lnTo>
                    <a:lnTo>
                      <a:pt x="1619" y="1670"/>
                    </a:lnTo>
                    <a:lnTo>
                      <a:pt x="1626" y="1657"/>
                    </a:lnTo>
                    <a:lnTo>
                      <a:pt x="1632" y="1644"/>
                    </a:lnTo>
                    <a:lnTo>
                      <a:pt x="1641" y="1617"/>
                    </a:lnTo>
                    <a:lnTo>
                      <a:pt x="1651" y="1591"/>
                    </a:lnTo>
                    <a:lnTo>
                      <a:pt x="1681" y="1510"/>
                    </a:lnTo>
                    <a:lnTo>
                      <a:pt x="1712" y="1429"/>
                    </a:lnTo>
                    <a:lnTo>
                      <a:pt x="1742" y="1348"/>
                    </a:lnTo>
                    <a:lnTo>
                      <a:pt x="1772" y="1267"/>
                    </a:lnTo>
                    <a:lnTo>
                      <a:pt x="1802" y="1186"/>
                    </a:lnTo>
                    <a:lnTo>
                      <a:pt x="1832" y="1105"/>
                    </a:lnTo>
                    <a:lnTo>
                      <a:pt x="1863" y="1024"/>
                    </a:lnTo>
                    <a:lnTo>
                      <a:pt x="1893" y="942"/>
                    </a:lnTo>
                    <a:lnTo>
                      <a:pt x="1927" y="954"/>
                    </a:lnTo>
                    <a:lnTo>
                      <a:pt x="1959" y="965"/>
                    </a:lnTo>
                    <a:lnTo>
                      <a:pt x="1993" y="976"/>
                    </a:lnTo>
                    <a:lnTo>
                      <a:pt x="2025" y="987"/>
                    </a:lnTo>
                    <a:lnTo>
                      <a:pt x="2058" y="999"/>
                    </a:lnTo>
                    <a:lnTo>
                      <a:pt x="2091" y="1010"/>
                    </a:lnTo>
                    <a:lnTo>
                      <a:pt x="2124" y="1021"/>
                    </a:lnTo>
                    <a:lnTo>
                      <a:pt x="2157" y="1033"/>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6" name="Freeform 649"/>
              <p:cNvSpPr>
                <a:spLocks noEditPoints="1"/>
              </p:cNvSpPr>
              <p:nvPr/>
            </p:nvSpPr>
            <p:spPr bwMode="auto">
              <a:xfrm>
                <a:off x="11258551" y="4595813"/>
                <a:ext cx="368300" cy="366713"/>
              </a:xfrm>
              <a:custGeom>
                <a:avLst/>
                <a:gdLst>
                  <a:gd name="T0" fmla="*/ 409 w 929"/>
                  <a:gd name="T1" fmla="*/ 231 h 922"/>
                  <a:gd name="T2" fmla="*/ 357 w 929"/>
                  <a:gd name="T3" fmla="*/ 248 h 922"/>
                  <a:gd name="T4" fmla="*/ 310 w 929"/>
                  <a:gd name="T5" fmla="*/ 277 h 922"/>
                  <a:gd name="T6" fmla="*/ 273 w 929"/>
                  <a:gd name="T7" fmla="*/ 314 h 922"/>
                  <a:gd name="T8" fmla="*/ 245 w 929"/>
                  <a:gd name="T9" fmla="*/ 360 h 922"/>
                  <a:gd name="T10" fmla="*/ 230 w 929"/>
                  <a:gd name="T11" fmla="*/ 411 h 922"/>
                  <a:gd name="T12" fmla="*/ 229 w 929"/>
                  <a:gd name="T13" fmla="*/ 467 h 922"/>
                  <a:gd name="T14" fmla="*/ 241 w 929"/>
                  <a:gd name="T15" fmla="*/ 520 h 922"/>
                  <a:gd name="T16" fmla="*/ 267 w 929"/>
                  <a:gd name="T17" fmla="*/ 567 h 922"/>
                  <a:gd name="T18" fmla="*/ 302 w 929"/>
                  <a:gd name="T19" fmla="*/ 607 h 922"/>
                  <a:gd name="T20" fmla="*/ 347 w 929"/>
                  <a:gd name="T21" fmla="*/ 637 h 922"/>
                  <a:gd name="T22" fmla="*/ 398 w 929"/>
                  <a:gd name="T23" fmla="*/ 657 h 922"/>
                  <a:gd name="T24" fmla="*/ 455 w 929"/>
                  <a:gd name="T25" fmla="*/ 664 h 922"/>
                  <a:gd name="T26" fmla="*/ 512 w 929"/>
                  <a:gd name="T27" fmla="*/ 657 h 922"/>
                  <a:gd name="T28" fmla="*/ 564 w 929"/>
                  <a:gd name="T29" fmla="*/ 637 h 922"/>
                  <a:gd name="T30" fmla="*/ 608 w 929"/>
                  <a:gd name="T31" fmla="*/ 607 h 922"/>
                  <a:gd name="T32" fmla="*/ 644 w 929"/>
                  <a:gd name="T33" fmla="*/ 567 h 922"/>
                  <a:gd name="T34" fmla="*/ 669 w 929"/>
                  <a:gd name="T35" fmla="*/ 520 h 922"/>
                  <a:gd name="T36" fmla="*/ 681 w 929"/>
                  <a:gd name="T37" fmla="*/ 467 h 922"/>
                  <a:gd name="T38" fmla="*/ 680 w 929"/>
                  <a:gd name="T39" fmla="*/ 411 h 922"/>
                  <a:gd name="T40" fmla="*/ 665 w 929"/>
                  <a:gd name="T41" fmla="*/ 360 h 922"/>
                  <a:gd name="T42" fmla="*/ 638 w 929"/>
                  <a:gd name="T43" fmla="*/ 314 h 922"/>
                  <a:gd name="T44" fmla="*/ 600 w 929"/>
                  <a:gd name="T45" fmla="*/ 277 h 922"/>
                  <a:gd name="T46" fmla="*/ 553 w 929"/>
                  <a:gd name="T47" fmla="*/ 248 h 922"/>
                  <a:gd name="T48" fmla="*/ 501 w 929"/>
                  <a:gd name="T49" fmla="*/ 231 h 922"/>
                  <a:gd name="T50" fmla="*/ 464 w 929"/>
                  <a:gd name="T51" fmla="*/ 0 h 922"/>
                  <a:gd name="T52" fmla="*/ 348 w 929"/>
                  <a:gd name="T53" fmla="*/ 14 h 922"/>
                  <a:gd name="T54" fmla="*/ 243 w 929"/>
                  <a:gd name="T55" fmla="*/ 56 h 922"/>
                  <a:gd name="T56" fmla="*/ 152 w 929"/>
                  <a:gd name="T57" fmla="*/ 120 h 922"/>
                  <a:gd name="T58" fmla="*/ 79 w 929"/>
                  <a:gd name="T59" fmla="*/ 203 h 922"/>
                  <a:gd name="T60" fmla="*/ 28 w 929"/>
                  <a:gd name="T61" fmla="*/ 302 h 922"/>
                  <a:gd name="T62" fmla="*/ 3 w 929"/>
                  <a:gd name="T63" fmla="*/ 413 h 922"/>
                  <a:gd name="T64" fmla="*/ 5 w 929"/>
                  <a:gd name="T65" fmla="*/ 531 h 922"/>
                  <a:gd name="T66" fmla="*/ 36 w 929"/>
                  <a:gd name="T67" fmla="*/ 640 h 922"/>
                  <a:gd name="T68" fmla="*/ 92 w 929"/>
                  <a:gd name="T69" fmla="*/ 737 h 922"/>
                  <a:gd name="T70" fmla="*/ 169 w 929"/>
                  <a:gd name="T71" fmla="*/ 817 h 922"/>
                  <a:gd name="T72" fmla="*/ 262 w 929"/>
                  <a:gd name="T73" fmla="*/ 877 h 922"/>
                  <a:gd name="T74" fmla="*/ 371 w 929"/>
                  <a:gd name="T75" fmla="*/ 913 h 922"/>
                  <a:gd name="T76" fmla="*/ 488 w 929"/>
                  <a:gd name="T77" fmla="*/ 922 h 922"/>
                  <a:gd name="T78" fmla="*/ 602 w 929"/>
                  <a:gd name="T79" fmla="*/ 902 h 922"/>
                  <a:gd name="T80" fmla="*/ 704 w 929"/>
                  <a:gd name="T81" fmla="*/ 855 h 922"/>
                  <a:gd name="T82" fmla="*/ 792 w 929"/>
                  <a:gd name="T83" fmla="*/ 787 h 922"/>
                  <a:gd name="T84" fmla="*/ 861 w 929"/>
                  <a:gd name="T85" fmla="*/ 700 h 922"/>
                  <a:gd name="T86" fmla="*/ 907 w 929"/>
                  <a:gd name="T87" fmla="*/ 598 h 922"/>
                  <a:gd name="T88" fmla="*/ 928 w 929"/>
                  <a:gd name="T89" fmla="*/ 484 h 922"/>
                  <a:gd name="T90" fmla="*/ 918 w 929"/>
                  <a:gd name="T91" fmla="*/ 368 h 922"/>
                  <a:gd name="T92" fmla="*/ 882 w 929"/>
                  <a:gd name="T93" fmla="*/ 261 h 922"/>
                  <a:gd name="T94" fmla="*/ 822 w 929"/>
                  <a:gd name="T95" fmla="*/ 167 h 922"/>
                  <a:gd name="T96" fmla="*/ 742 w 929"/>
                  <a:gd name="T97" fmla="*/ 91 h 922"/>
                  <a:gd name="T98" fmla="*/ 645 w 929"/>
                  <a:gd name="T99" fmla="*/ 35 h 922"/>
                  <a:gd name="T100" fmla="*/ 535 w 929"/>
                  <a:gd name="T101" fmla="*/ 5 h 9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29" h="922">
                    <a:moveTo>
                      <a:pt x="455" y="227"/>
                    </a:moveTo>
                    <a:lnTo>
                      <a:pt x="443" y="227"/>
                    </a:lnTo>
                    <a:lnTo>
                      <a:pt x="432" y="228"/>
                    </a:lnTo>
                    <a:lnTo>
                      <a:pt x="421" y="229"/>
                    </a:lnTo>
                    <a:lnTo>
                      <a:pt x="409" y="231"/>
                    </a:lnTo>
                    <a:lnTo>
                      <a:pt x="398" y="234"/>
                    </a:lnTo>
                    <a:lnTo>
                      <a:pt x="387" y="237"/>
                    </a:lnTo>
                    <a:lnTo>
                      <a:pt x="377" y="240"/>
                    </a:lnTo>
                    <a:lnTo>
                      <a:pt x="367" y="244"/>
                    </a:lnTo>
                    <a:lnTo>
                      <a:pt x="357" y="248"/>
                    </a:lnTo>
                    <a:lnTo>
                      <a:pt x="347" y="253"/>
                    </a:lnTo>
                    <a:lnTo>
                      <a:pt x="337" y="258"/>
                    </a:lnTo>
                    <a:lnTo>
                      <a:pt x="327" y="264"/>
                    </a:lnTo>
                    <a:lnTo>
                      <a:pt x="319" y="271"/>
                    </a:lnTo>
                    <a:lnTo>
                      <a:pt x="310" y="277"/>
                    </a:lnTo>
                    <a:lnTo>
                      <a:pt x="302" y="284"/>
                    </a:lnTo>
                    <a:lnTo>
                      <a:pt x="294" y="291"/>
                    </a:lnTo>
                    <a:lnTo>
                      <a:pt x="287" y="298"/>
                    </a:lnTo>
                    <a:lnTo>
                      <a:pt x="280" y="306"/>
                    </a:lnTo>
                    <a:lnTo>
                      <a:pt x="273" y="314"/>
                    </a:lnTo>
                    <a:lnTo>
                      <a:pt x="267" y="323"/>
                    </a:lnTo>
                    <a:lnTo>
                      <a:pt x="260" y="332"/>
                    </a:lnTo>
                    <a:lnTo>
                      <a:pt x="255" y="341"/>
                    </a:lnTo>
                    <a:lnTo>
                      <a:pt x="250" y="351"/>
                    </a:lnTo>
                    <a:lnTo>
                      <a:pt x="245" y="360"/>
                    </a:lnTo>
                    <a:lnTo>
                      <a:pt x="241" y="370"/>
                    </a:lnTo>
                    <a:lnTo>
                      <a:pt x="238" y="380"/>
                    </a:lnTo>
                    <a:lnTo>
                      <a:pt x="235" y="390"/>
                    </a:lnTo>
                    <a:lnTo>
                      <a:pt x="232" y="401"/>
                    </a:lnTo>
                    <a:lnTo>
                      <a:pt x="230" y="411"/>
                    </a:lnTo>
                    <a:lnTo>
                      <a:pt x="229" y="423"/>
                    </a:lnTo>
                    <a:lnTo>
                      <a:pt x="228" y="434"/>
                    </a:lnTo>
                    <a:lnTo>
                      <a:pt x="228" y="445"/>
                    </a:lnTo>
                    <a:lnTo>
                      <a:pt x="228" y="456"/>
                    </a:lnTo>
                    <a:lnTo>
                      <a:pt x="229" y="467"/>
                    </a:lnTo>
                    <a:lnTo>
                      <a:pt x="230" y="478"/>
                    </a:lnTo>
                    <a:lnTo>
                      <a:pt x="232" y="489"/>
                    </a:lnTo>
                    <a:lnTo>
                      <a:pt x="235" y="500"/>
                    </a:lnTo>
                    <a:lnTo>
                      <a:pt x="238" y="510"/>
                    </a:lnTo>
                    <a:lnTo>
                      <a:pt x="241" y="520"/>
                    </a:lnTo>
                    <a:lnTo>
                      <a:pt x="245" y="530"/>
                    </a:lnTo>
                    <a:lnTo>
                      <a:pt x="250" y="540"/>
                    </a:lnTo>
                    <a:lnTo>
                      <a:pt x="255" y="549"/>
                    </a:lnTo>
                    <a:lnTo>
                      <a:pt x="260" y="558"/>
                    </a:lnTo>
                    <a:lnTo>
                      <a:pt x="267" y="567"/>
                    </a:lnTo>
                    <a:lnTo>
                      <a:pt x="273" y="576"/>
                    </a:lnTo>
                    <a:lnTo>
                      <a:pt x="280" y="584"/>
                    </a:lnTo>
                    <a:lnTo>
                      <a:pt x="287" y="592"/>
                    </a:lnTo>
                    <a:lnTo>
                      <a:pt x="294" y="600"/>
                    </a:lnTo>
                    <a:lnTo>
                      <a:pt x="302" y="607"/>
                    </a:lnTo>
                    <a:lnTo>
                      <a:pt x="310" y="613"/>
                    </a:lnTo>
                    <a:lnTo>
                      <a:pt x="319" y="620"/>
                    </a:lnTo>
                    <a:lnTo>
                      <a:pt x="327" y="626"/>
                    </a:lnTo>
                    <a:lnTo>
                      <a:pt x="337" y="631"/>
                    </a:lnTo>
                    <a:lnTo>
                      <a:pt x="347" y="637"/>
                    </a:lnTo>
                    <a:lnTo>
                      <a:pt x="357" y="641"/>
                    </a:lnTo>
                    <a:lnTo>
                      <a:pt x="367" y="647"/>
                    </a:lnTo>
                    <a:lnTo>
                      <a:pt x="377" y="651"/>
                    </a:lnTo>
                    <a:lnTo>
                      <a:pt x="387" y="654"/>
                    </a:lnTo>
                    <a:lnTo>
                      <a:pt x="398" y="657"/>
                    </a:lnTo>
                    <a:lnTo>
                      <a:pt x="409" y="659"/>
                    </a:lnTo>
                    <a:lnTo>
                      <a:pt x="421" y="661"/>
                    </a:lnTo>
                    <a:lnTo>
                      <a:pt x="432" y="662"/>
                    </a:lnTo>
                    <a:lnTo>
                      <a:pt x="443" y="663"/>
                    </a:lnTo>
                    <a:lnTo>
                      <a:pt x="455" y="664"/>
                    </a:lnTo>
                    <a:lnTo>
                      <a:pt x="466" y="663"/>
                    </a:lnTo>
                    <a:lnTo>
                      <a:pt x="478" y="662"/>
                    </a:lnTo>
                    <a:lnTo>
                      <a:pt x="490" y="661"/>
                    </a:lnTo>
                    <a:lnTo>
                      <a:pt x="501" y="659"/>
                    </a:lnTo>
                    <a:lnTo>
                      <a:pt x="512" y="657"/>
                    </a:lnTo>
                    <a:lnTo>
                      <a:pt x="523" y="654"/>
                    </a:lnTo>
                    <a:lnTo>
                      <a:pt x="533" y="651"/>
                    </a:lnTo>
                    <a:lnTo>
                      <a:pt x="543" y="647"/>
                    </a:lnTo>
                    <a:lnTo>
                      <a:pt x="553" y="641"/>
                    </a:lnTo>
                    <a:lnTo>
                      <a:pt x="564" y="637"/>
                    </a:lnTo>
                    <a:lnTo>
                      <a:pt x="573" y="631"/>
                    </a:lnTo>
                    <a:lnTo>
                      <a:pt x="582" y="626"/>
                    </a:lnTo>
                    <a:lnTo>
                      <a:pt x="591" y="620"/>
                    </a:lnTo>
                    <a:lnTo>
                      <a:pt x="600" y="613"/>
                    </a:lnTo>
                    <a:lnTo>
                      <a:pt x="608" y="607"/>
                    </a:lnTo>
                    <a:lnTo>
                      <a:pt x="616" y="600"/>
                    </a:lnTo>
                    <a:lnTo>
                      <a:pt x="623" y="592"/>
                    </a:lnTo>
                    <a:lnTo>
                      <a:pt x="630" y="584"/>
                    </a:lnTo>
                    <a:lnTo>
                      <a:pt x="638" y="576"/>
                    </a:lnTo>
                    <a:lnTo>
                      <a:pt x="644" y="567"/>
                    </a:lnTo>
                    <a:lnTo>
                      <a:pt x="650" y="558"/>
                    </a:lnTo>
                    <a:lnTo>
                      <a:pt x="655" y="549"/>
                    </a:lnTo>
                    <a:lnTo>
                      <a:pt x="660" y="540"/>
                    </a:lnTo>
                    <a:lnTo>
                      <a:pt x="665" y="530"/>
                    </a:lnTo>
                    <a:lnTo>
                      <a:pt x="669" y="520"/>
                    </a:lnTo>
                    <a:lnTo>
                      <a:pt x="672" y="510"/>
                    </a:lnTo>
                    <a:lnTo>
                      <a:pt x="675" y="500"/>
                    </a:lnTo>
                    <a:lnTo>
                      <a:pt x="678" y="489"/>
                    </a:lnTo>
                    <a:lnTo>
                      <a:pt x="680" y="478"/>
                    </a:lnTo>
                    <a:lnTo>
                      <a:pt x="681" y="467"/>
                    </a:lnTo>
                    <a:lnTo>
                      <a:pt x="682" y="456"/>
                    </a:lnTo>
                    <a:lnTo>
                      <a:pt x="682" y="445"/>
                    </a:lnTo>
                    <a:lnTo>
                      <a:pt x="682" y="434"/>
                    </a:lnTo>
                    <a:lnTo>
                      <a:pt x="681" y="423"/>
                    </a:lnTo>
                    <a:lnTo>
                      <a:pt x="680" y="411"/>
                    </a:lnTo>
                    <a:lnTo>
                      <a:pt x="678" y="401"/>
                    </a:lnTo>
                    <a:lnTo>
                      <a:pt x="675" y="390"/>
                    </a:lnTo>
                    <a:lnTo>
                      <a:pt x="672" y="380"/>
                    </a:lnTo>
                    <a:lnTo>
                      <a:pt x="669" y="370"/>
                    </a:lnTo>
                    <a:lnTo>
                      <a:pt x="665" y="360"/>
                    </a:lnTo>
                    <a:lnTo>
                      <a:pt x="660" y="351"/>
                    </a:lnTo>
                    <a:lnTo>
                      <a:pt x="655" y="341"/>
                    </a:lnTo>
                    <a:lnTo>
                      <a:pt x="650" y="332"/>
                    </a:lnTo>
                    <a:lnTo>
                      <a:pt x="644" y="323"/>
                    </a:lnTo>
                    <a:lnTo>
                      <a:pt x="638" y="314"/>
                    </a:lnTo>
                    <a:lnTo>
                      <a:pt x="630" y="306"/>
                    </a:lnTo>
                    <a:lnTo>
                      <a:pt x="623" y="298"/>
                    </a:lnTo>
                    <a:lnTo>
                      <a:pt x="616" y="291"/>
                    </a:lnTo>
                    <a:lnTo>
                      <a:pt x="608" y="284"/>
                    </a:lnTo>
                    <a:lnTo>
                      <a:pt x="600" y="277"/>
                    </a:lnTo>
                    <a:lnTo>
                      <a:pt x="591" y="271"/>
                    </a:lnTo>
                    <a:lnTo>
                      <a:pt x="582" y="264"/>
                    </a:lnTo>
                    <a:lnTo>
                      <a:pt x="573" y="258"/>
                    </a:lnTo>
                    <a:lnTo>
                      <a:pt x="564" y="253"/>
                    </a:lnTo>
                    <a:lnTo>
                      <a:pt x="553" y="248"/>
                    </a:lnTo>
                    <a:lnTo>
                      <a:pt x="543" y="244"/>
                    </a:lnTo>
                    <a:lnTo>
                      <a:pt x="533" y="240"/>
                    </a:lnTo>
                    <a:lnTo>
                      <a:pt x="523" y="237"/>
                    </a:lnTo>
                    <a:lnTo>
                      <a:pt x="512" y="234"/>
                    </a:lnTo>
                    <a:lnTo>
                      <a:pt x="501" y="231"/>
                    </a:lnTo>
                    <a:lnTo>
                      <a:pt x="490" y="229"/>
                    </a:lnTo>
                    <a:lnTo>
                      <a:pt x="478" y="228"/>
                    </a:lnTo>
                    <a:lnTo>
                      <a:pt x="466" y="227"/>
                    </a:lnTo>
                    <a:lnTo>
                      <a:pt x="455" y="227"/>
                    </a:lnTo>
                    <a:close/>
                    <a:moveTo>
                      <a:pt x="464" y="0"/>
                    </a:moveTo>
                    <a:lnTo>
                      <a:pt x="440" y="0"/>
                    </a:lnTo>
                    <a:lnTo>
                      <a:pt x="417" y="2"/>
                    </a:lnTo>
                    <a:lnTo>
                      <a:pt x="393" y="5"/>
                    </a:lnTo>
                    <a:lnTo>
                      <a:pt x="371" y="9"/>
                    </a:lnTo>
                    <a:lnTo>
                      <a:pt x="348" y="14"/>
                    </a:lnTo>
                    <a:lnTo>
                      <a:pt x="326" y="20"/>
                    </a:lnTo>
                    <a:lnTo>
                      <a:pt x="304" y="27"/>
                    </a:lnTo>
                    <a:lnTo>
                      <a:pt x="284" y="35"/>
                    </a:lnTo>
                    <a:lnTo>
                      <a:pt x="262" y="45"/>
                    </a:lnTo>
                    <a:lnTo>
                      <a:pt x="243" y="56"/>
                    </a:lnTo>
                    <a:lnTo>
                      <a:pt x="224" y="66"/>
                    </a:lnTo>
                    <a:lnTo>
                      <a:pt x="205" y="78"/>
                    </a:lnTo>
                    <a:lnTo>
                      <a:pt x="186" y="91"/>
                    </a:lnTo>
                    <a:lnTo>
                      <a:pt x="169" y="105"/>
                    </a:lnTo>
                    <a:lnTo>
                      <a:pt x="152" y="120"/>
                    </a:lnTo>
                    <a:lnTo>
                      <a:pt x="136" y="135"/>
                    </a:lnTo>
                    <a:lnTo>
                      <a:pt x="121" y="151"/>
                    </a:lnTo>
                    <a:lnTo>
                      <a:pt x="106" y="167"/>
                    </a:lnTo>
                    <a:lnTo>
                      <a:pt x="92" y="184"/>
                    </a:lnTo>
                    <a:lnTo>
                      <a:pt x="79" y="203"/>
                    </a:lnTo>
                    <a:lnTo>
                      <a:pt x="67" y="222"/>
                    </a:lnTo>
                    <a:lnTo>
                      <a:pt x="56" y="241"/>
                    </a:lnTo>
                    <a:lnTo>
                      <a:pt x="45" y="261"/>
                    </a:lnTo>
                    <a:lnTo>
                      <a:pt x="36" y="282"/>
                    </a:lnTo>
                    <a:lnTo>
                      <a:pt x="28" y="302"/>
                    </a:lnTo>
                    <a:lnTo>
                      <a:pt x="21" y="324"/>
                    </a:lnTo>
                    <a:lnTo>
                      <a:pt x="15" y="346"/>
                    </a:lnTo>
                    <a:lnTo>
                      <a:pt x="9" y="368"/>
                    </a:lnTo>
                    <a:lnTo>
                      <a:pt x="5" y="391"/>
                    </a:lnTo>
                    <a:lnTo>
                      <a:pt x="3" y="413"/>
                    </a:lnTo>
                    <a:lnTo>
                      <a:pt x="1" y="438"/>
                    </a:lnTo>
                    <a:lnTo>
                      <a:pt x="0" y="461"/>
                    </a:lnTo>
                    <a:lnTo>
                      <a:pt x="1" y="484"/>
                    </a:lnTo>
                    <a:lnTo>
                      <a:pt x="3" y="509"/>
                    </a:lnTo>
                    <a:lnTo>
                      <a:pt x="5" y="531"/>
                    </a:lnTo>
                    <a:lnTo>
                      <a:pt x="9" y="554"/>
                    </a:lnTo>
                    <a:lnTo>
                      <a:pt x="15" y="577"/>
                    </a:lnTo>
                    <a:lnTo>
                      <a:pt x="21" y="598"/>
                    </a:lnTo>
                    <a:lnTo>
                      <a:pt x="28" y="620"/>
                    </a:lnTo>
                    <a:lnTo>
                      <a:pt x="36" y="640"/>
                    </a:lnTo>
                    <a:lnTo>
                      <a:pt x="45" y="661"/>
                    </a:lnTo>
                    <a:lnTo>
                      <a:pt x="56" y="681"/>
                    </a:lnTo>
                    <a:lnTo>
                      <a:pt x="67" y="700"/>
                    </a:lnTo>
                    <a:lnTo>
                      <a:pt x="79" y="720"/>
                    </a:lnTo>
                    <a:lnTo>
                      <a:pt x="92" y="737"/>
                    </a:lnTo>
                    <a:lnTo>
                      <a:pt x="106" y="755"/>
                    </a:lnTo>
                    <a:lnTo>
                      <a:pt x="121" y="771"/>
                    </a:lnTo>
                    <a:lnTo>
                      <a:pt x="136" y="787"/>
                    </a:lnTo>
                    <a:lnTo>
                      <a:pt x="152" y="803"/>
                    </a:lnTo>
                    <a:lnTo>
                      <a:pt x="169" y="817"/>
                    </a:lnTo>
                    <a:lnTo>
                      <a:pt x="186" y="831"/>
                    </a:lnTo>
                    <a:lnTo>
                      <a:pt x="205" y="844"/>
                    </a:lnTo>
                    <a:lnTo>
                      <a:pt x="224" y="855"/>
                    </a:lnTo>
                    <a:lnTo>
                      <a:pt x="243" y="866"/>
                    </a:lnTo>
                    <a:lnTo>
                      <a:pt x="262" y="877"/>
                    </a:lnTo>
                    <a:lnTo>
                      <a:pt x="284" y="887"/>
                    </a:lnTo>
                    <a:lnTo>
                      <a:pt x="304" y="895"/>
                    </a:lnTo>
                    <a:lnTo>
                      <a:pt x="326" y="902"/>
                    </a:lnTo>
                    <a:lnTo>
                      <a:pt x="348" y="908"/>
                    </a:lnTo>
                    <a:lnTo>
                      <a:pt x="371" y="913"/>
                    </a:lnTo>
                    <a:lnTo>
                      <a:pt x="393" y="917"/>
                    </a:lnTo>
                    <a:lnTo>
                      <a:pt x="417" y="920"/>
                    </a:lnTo>
                    <a:lnTo>
                      <a:pt x="440" y="922"/>
                    </a:lnTo>
                    <a:lnTo>
                      <a:pt x="464" y="922"/>
                    </a:lnTo>
                    <a:lnTo>
                      <a:pt x="488" y="922"/>
                    </a:lnTo>
                    <a:lnTo>
                      <a:pt x="512" y="920"/>
                    </a:lnTo>
                    <a:lnTo>
                      <a:pt x="535" y="917"/>
                    </a:lnTo>
                    <a:lnTo>
                      <a:pt x="557" y="913"/>
                    </a:lnTo>
                    <a:lnTo>
                      <a:pt x="580" y="908"/>
                    </a:lnTo>
                    <a:lnTo>
                      <a:pt x="602" y="902"/>
                    </a:lnTo>
                    <a:lnTo>
                      <a:pt x="623" y="895"/>
                    </a:lnTo>
                    <a:lnTo>
                      <a:pt x="645" y="887"/>
                    </a:lnTo>
                    <a:lnTo>
                      <a:pt x="665" y="877"/>
                    </a:lnTo>
                    <a:lnTo>
                      <a:pt x="685" y="866"/>
                    </a:lnTo>
                    <a:lnTo>
                      <a:pt x="704" y="855"/>
                    </a:lnTo>
                    <a:lnTo>
                      <a:pt x="724" y="844"/>
                    </a:lnTo>
                    <a:lnTo>
                      <a:pt x="742" y="831"/>
                    </a:lnTo>
                    <a:lnTo>
                      <a:pt x="759" y="817"/>
                    </a:lnTo>
                    <a:lnTo>
                      <a:pt x="776" y="803"/>
                    </a:lnTo>
                    <a:lnTo>
                      <a:pt x="792" y="787"/>
                    </a:lnTo>
                    <a:lnTo>
                      <a:pt x="808" y="771"/>
                    </a:lnTo>
                    <a:lnTo>
                      <a:pt x="822" y="755"/>
                    </a:lnTo>
                    <a:lnTo>
                      <a:pt x="836" y="737"/>
                    </a:lnTo>
                    <a:lnTo>
                      <a:pt x="848" y="720"/>
                    </a:lnTo>
                    <a:lnTo>
                      <a:pt x="861" y="700"/>
                    </a:lnTo>
                    <a:lnTo>
                      <a:pt x="872" y="681"/>
                    </a:lnTo>
                    <a:lnTo>
                      <a:pt x="882" y="661"/>
                    </a:lnTo>
                    <a:lnTo>
                      <a:pt x="892" y="640"/>
                    </a:lnTo>
                    <a:lnTo>
                      <a:pt x="900" y="620"/>
                    </a:lnTo>
                    <a:lnTo>
                      <a:pt x="907" y="598"/>
                    </a:lnTo>
                    <a:lnTo>
                      <a:pt x="913" y="577"/>
                    </a:lnTo>
                    <a:lnTo>
                      <a:pt x="918" y="554"/>
                    </a:lnTo>
                    <a:lnTo>
                      <a:pt x="922" y="531"/>
                    </a:lnTo>
                    <a:lnTo>
                      <a:pt x="925" y="509"/>
                    </a:lnTo>
                    <a:lnTo>
                      <a:pt x="928" y="484"/>
                    </a:lnTo>
                    <a:lnTo>
                      <a:pt x="929" y="461"/>
                    </a:lnTo>
                    <a:lnTo>
                      <a:pt x="928" y="438"/>
                    </a:lnTo>
                    <a:lnTo>
                      <a:pt x="925" y="413"/>
                    </a:lnTo>
                    <a:lnTo>
                      <a:pt x="922" y="391"/>
                    </a:lnTo>
                    <a:lnTo>
                      <a:pt x="918" y="368"/>
                    </a:lnTo>
                    <a:lnTo>
                      <a:pt x="913" y="346"/>
                    </a:lnTo>
                    <a:lnTo>
                      <a:pt x="907" y="324"/>
                    </a:lnTo>
                    <a:lnTo>
                      <a:pt x="900" y="302"/>
                    </a:lnTo>
                    <a:lnTo>
                      <a:pt x="892" y="282"/>
                    </a:lnTo>
                    <a:lnTo>
                      <a:pt x="882" y="261"/>
                    </a:lnTo>
                    <a:lnTo>
                      <a:pt x="872" y="241"/>
                    </a:lnTo>
                    <a:lnTo>
                      <a:pt x="861" y="222"/>
                    </a:lnTo>
                    <a:lnTo>
                      <a:pt x="848" y="203"/>
                    </a:lnTo>
                    <a:lnTo>
                      <a:pt x="836" y="184"/>
                    </a:lnTo>
                    <a:lnTo>
                      <a:pt x="822" y="167"/>
                    </a:lnTo>
                    <a:lnTo>
                      <a:pt x="808" y="151"/>
                    </a:lnTo>
                    <a:lnTo>
                      <a:pt x="792" y="135"/>
                    </a:lnTo>
                    <a:lnTo>
                      <a:pt x="776" y="120"/>
                    </a:lnTo>
                    <a:lnTo>
                      <a:pt x="759" y="105"/>
                    </a:lnTo>
                    <a:lnTo>
                      <a:pt x="742" y="91"/>
                    </a:lnTo>
                    <a:lnTo>
                      <a:pt x="724" y="78"/>
                    </a:lnTo>
                    <a:lnTo>
                      <a:pt x="704" y="66"/>
                    </a:lnTo>
                    <a:lnTo>
                      <a:pt x="685" y="56"/>
                    </a:lnTo>
                    <a:lnTo>
                      <a:pt x="665" y="45"/>
                    </a:lnTo>
                    <a:lnTo>
                      <a:pt x="645" y="35"/>
                    </a:lnTo>
                    <a:lnTo>
                      <a:pt x="623" y="27"/>
                    </a:lnTo>
                    <a:lnTo>
                      <a:pt x="602" y="20"/>
                    </a:lnTo>
                    <a:lnTo>
                      <a:pt x="580" y="14"/>
                    </a:lnTo>
                    <a:lnTo>
                      <a:pt x="557" y="9"/>
                    </a:lnTo>
                    <a:lnTo>
                      <a:pt x="535" y="5"/>
                    </a:lnTo>
                    <a:lnTo>
                      <a:pt x="512" y="2"/>
                    </a:lnTo>
                    <a:lnTo>
                      <a:pt x="488" y="0"/>
                    </a:lnTo>
                    <a:lnTo>
                      <a:pt x="464" y="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47" name="Group 146"/>
            <p:cNvGrpSpPr/>
            <p:nvPr/>
          </p:nvGrpSpPr>
          <p:grpSpPr>
            <a:xfrm>
              <a:off x="777922" y="2388358"/>
              <a:ext cx="518615" cy="454242"/>
              <a:chOff x="7813676" y="2820988"/>
              <a:chExt cx="969963" cy="850901"/>
            </a:xfrm>
            <a:solidFill>
              <a:schemeClr val="accent2"/>
            </a:solidFill>
          </p:grpSpPr>
          <p:sp>
            <p:nvSpPr>
              <p:cNvPr id="148" name="Freeform 433"/>
              <p:cNvSpPr>
                <a:spLocks/>
              </p:cNvSpPr>
              <p:nvPr/>
            </p:nvSpPr>
            <p:spPr bwMode="auto">
              <a:xfrm>
                <a:off x="8005763" y="3492501"/>
                <a:ext cx="663575" cy="179388"/>
              </a:xfrm>
              <a:custGeom>
                <a:avLst/>
                <a:gdLst>
                  <a:gd name="T0" fmla="*/ 396 w 1675"/>
                  <a:gd name="T1" fmla="*/ 188 h 455"/>
                  <a:gd name="T2" fmla="*/ 335 w 1675"/>
                  <a:gd name="T3" fmla="*/ 193 h 455"/>
                  <a:gd name="T4" fmla="*/ 296 w 1675"/>
                  <a:gd name="T5" fmla="*/ 200 h 455"/>
                  <a:gd name="T6" fmla="*/ 262 w 1675"/>
                  <a:gd name="T7" fmla="*/ 207 h 455"/>
                  <a:gd name="T8" fmla="*/ 229 w 1675"/>
                  <a:gd name="T9" fmla="*/ 216 h 455"/>
                  <a:gd name="T10" fmla="*/ 200 w 1675"/>
                  <a:gd name="T11" fmla="*/ 227 h 455"/>
                  <a:gd name="T12" fmla="*/ 172 w 1675"/>
                  <a:gd name="T13" fmla="*/ 240 h 455"/>
                  <a:gd name="T14" fmla="*/ 146 w 1675"/>
                  <a:gd name="T15" fmla="*/ 255 h 455"/>
                  <a:gd name="T16" fmla="*/ 123 w 1675"/>
                  <a:gd name="T17" fmla="*/ 274 h 455"/>
                  <a:gd name="T18" fmla="*/ 100 w 1675"/>
                  <a:gd name="T19" fmla="*/ 294 h 455"/>
                  <a:gd name="T20" fmla="*/ 80 w 1675"/>
                  <a:gd name="T21" fmla="*/ 316 h 455"/>
                  <a:gd name="T22" fmla="*/ 61 w 1675"/>
                  <a:gd name="T23" fmla="*/ 342 h 455"/>
                  <a:gd name="T24" fmla="*/ 43 w 1675"/>
                  <a:gd name="T25" fmla="*/ 371 h 455"/>
                  <a:gd name="T26" fmla="*/ 16 w 1675"/>
                  <a:gd name="T27" fmla="*/ 418 h 455"/>
                  <a:gd name="T28" fmla="*/ 104 w 1675"/>
                  <a:gd name="T29" fmla="*/ 455 h 455"/>
                  <a:gd name="T30" fmla="*/ 313 w 1675"/>
                  <a:gd name="T31" fmla="*/ 455 h 455"/>
                  <a:gd name="T32" fmla="*/ 522 w 1675"/>
                  <a:gd name="T33" fmla="*/ 455 h 455"/>
                  <a:gd name="T34" fmla="*/ 732 w 1675"/>
                  <a:gd name="T35" fmla="*/ 455 h 455"/>
                  <a:gd name="T36" fmla="*/ 941 w 1675"/>
                  <a:gd name="T37" fmla="*/ 455 h 455"/>
                  <a:gd name="T38" fmla="*/ 1150 w 1675"/>
                  <a:gd name="T39" fmla="*/ 455 h 455"/>
                  <a:gd name="T40" fmla="*/ 1359 w 1675"/>
                  <a:gd name="T41" fmla="*/ 455 h 455"/>
                  <a:gd name="T42" fmla="*/ 1567 w 1675"/>
                  <a:gd name="T43" fmla="*/ 455 h 455"/>
                  <a:gd name="T44" fmla="*/ 1675 w 1675"/>
                  <a:gd name="T45" fmla="*/ 435 h 455"/>
                  <a:gd name="T46" fmla="*/ 1675 w 1675"/>
                  <a:gd name="T47" fmla="*/ 397 h 455"/>
                  <a:gd name="T48" fmla="*/ 1668 w 1675"/>
                  <a:gd name="T49" fmla="*/ 363 h 455"/>
                  <a:gd name="T50" fmla="*/ 1657 w 1675"/>
                  <a:gd name="T51" fmla="*/ 331 h 455"/>
                  <a:gd name="T52" fmla="*/ 1639 w 1675"/>
                  <a:gd name="T53" fmla="*/ 303 h 455"/>
                  <a:gd name="T54" fmla="*/ 1619 w 1675"/>
                  <a:gd name="T55" fmla="*/ 280 h 455"/>
                  <a:gd name="T56" fmla="*/ 1595 w 1675"/>
                  <a:gd name="T57" fmla="*/ 260 h 455"/>
                  <a:gd name="T58" fmla="*/ 1567 w 1675"/>
                  <a:gd name="T59" fmla="*/ 245 h 455"/>
                  <a:gd name="T60" fmla="*/ 1537 w 1675"/>
                  <a:gd name="T61" fmla="*/ 236 h 455"/>
                  <a:gd name="T62" fmla="*/ 1506 w 1675"/>
                  <a:gd name="T63" fmla="*/ 232 h 455"/>
                  <a:gd name="T64" fmla="*/ 1473 w 1675"/>
                  <a:gd name="T65" fmla="*/ 233 h 455"/>
                  <a:gd name="T66" fmla="*/ 1441 w 1675"/>
                  <a:gd name="T67" fmla="*/ 241 h 455"/>
                  <a:gd name="T68" fmla="*/ 1407 w 1675"/>
                  <a:gd name="T69" fmla="*/ 256 h 455"/>
                  <a:gd name="T70" fmla="*/ 1376 w 1675"/>
                  <a:gd name="T71" fmla="*/ 278 h 455"/>
                  <a:gd name="T72" fmla="*/ 1344 w 1675"/>
                  <a:gd name="T73" fmla="*/ 307 h 455"/>
                  <a:gd name="T74" fmla="*/ 1316 w 1675"/>
                  <a:gd name="T75" fmla="*/ 343 h 455"/>
                  <a:gd name="T76" fmla="*/ 1295 w 1675"/>
                  <a:gd name="T77" fmla="*/ 323 h 455"/>
                  <a:gd name="T78" fmla="*/ 1266 w 1675"/>
                  <a:gd name="T79" fmla="*/ 248 h 455"/>
                  <a:gd name="T80" fmla="*/ 1226 w 1675"/>
                  <a:gd name="T81" fmla="*/ 184 h 455"/>
                  <a:gd name="T82" fmla="*/ 1174 w 1675"/>
                  <a:gd name="T83" fmla="*/ 130 h 455"/>
                  <a:gd name="T84" fmla="*/ 1114 w 1675"/>
                  <a:gd name="T85" fmla="*/ 86 h 455"/>
                  <a:gd name="T86" fmla="*/ 1047 w 1675"/>
                  <a:gd name="T87" fmla="*/ 51 h 455"/>
                  <a:gd name="T88" fmla="*/ 976 w 1675"/>
                  <a:gd name="T89" fmla="*/ 25 h 455"/>
                  <a:gd name="T90" fmla="*/ 902 w 1675"/>
                  <a:gd name="T91" fmla="*/ 9 h 455"/>
                  <a:gd name="T92" fmla="*/ 827 w 1675"/>
                  <a:gd name="T93" fmla="*/ 1 h 455"/>
                  <a:gd name="T94" fmla="*/ 753 w 1675"/>
                  <a:gd name="T95" fmla="*/ 2 h 455"/>
                  <a:gd name="T96" fmla="*/ 682 w 1675"/>
                  <a:gd name="T97" fmla="*/ 10 h 455"/>
                  <a:gd name="T98" fmla="*/ 617 w 1675"/>
                  <a:gd name="T99" fmla="*/ 26 h 455"/>
                  <a:gd name="T100" fmla="*/ 560 w 1675"/>
                  <a:gd name="T101" fmla="*/ 50 h 455"/>
                  <a:gd name="T102" fmla="*/ 510 w 1675"/>
                  <a:gd name="T103" fmla="*/ 81 h 455"/>
                  <a:gd name="T104" fmla="*/ 472 w 1675"/>
                  <a:gd name="T105" fmla="*/ 118 h 455"/>
                  <a:gd name="T106" fmla="*/ 448 w 1675"/>
                  <a:gd name="T107" fmla="*/ 163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75" h="455">
                    <a:moveTo>
                      <a:pt x="442" y="187"/>
                    </a:moveTo>
                    <a:lnTo>
                      <a:pt x="396" y="188"/>
                    </a:lnTo>
                    <a:lnTo>
                      <a:pt x="354" y="191"/>
                    </a:lnTo>
                    <a:lnTo>
                      <a:pt x="335" y="193"/>
                    </a:lnTo>
                    <a:lnTo>
                      <a:pt x="315" y="196"/>
                    </a:lnTo>
                    <a:lnTo>
                      <a:pt x="296" y="200"/>
                    </a:lnTo>
                    <a:lnTo>
                      <a:pt x="279" y="203"/>
                    </a:lnTo>
                    <a:lnTo>
                      <a:pt x="262" y="207"/>
                    </a:lnTo>
                    <a:lnTo>
                      <a:pt x="245" y="211"/>
                    </a:lnTo>
                    <a:lnTo>
                      <a:pt x="229" y="216"/>
                    </a:lnTo>
                    <a:lnTo>
                      <a:pt x="214" y="221"/>
                    </a:lnTo>
                    <a:lnTo>
                      <a:pt x="200" y="227"/>
                    </a:lnTo>
                    <a:lnTo>
                      <a:pt x="186" y="233"/>
                    </a:lnTo>
                    <a:lnTo>
                      <a:pt x="172" y="240"/>
                    </a:lnTo>
                    <a:lnTo>
                      <a:pt x="159" y="247"/>
                    </a:lnTo>
                    <a:lnTo>
                      <a:pt x="146" y="255"/>
                    </a:lnTo>
                    <a:lnTo>
                      <a:pt x="135" y="264"/>
                    </a:lnTo>
                    <a:lnTo>
                      <a:pt x="123" y="274"/>
                    </a:lnTo>
                    <a:lnTo>
                      <a:pt x="112" y="283"/>
                    </a:lnTo>
                    <a:lnTo>
                      <a:pt x="100" y="294"/>
                    </a:lnTo>
                    <a:lnTo>
                      <a:pt x="90" y="305"/>
                    </a:lnTo>
                    <a:lnTo>
                      <a:pt x="80" y="316"/>
                    </a:lnTo>
                    <a:lnTo>
                      <a:pt x="70" y="329"/>
                    </a:lnTo>
                    <a:lnTo>
                      <a:pt x="61" y="342"/>
                    </a:lnTo>
                    <a:lnTo>
                      <a:pt x="52" y="356"/>
                    </a:lnTo>
                    <a:lnTo>
                      <a:pt x="43" y="371"/>
                    </a:lnTo>
                    <a:lnTo>
                      <a:pt x="34" y="386"/>
                    </a:lnTo>
                    <a:lnTo>
                      <a:pt x="16" y="418"/>
                    </a:lnTo>
                    <a:lnTo>
                      <a:pt x="0" y="455"/>
                    </a:lnTo>
                    <a:lnTo>
                      <a:pt x="104" y="455"/>
                    </a:lnTo>
                    <a:lnTo>
                      <a:pt x="209" y="455"/>
                    </a:lnTo>
                    <a:lnTo>
                      <a:pt x="313" y="455"/>
                    </a:lnTo>
                    <a:lnTo>
                      <a:pt x="418" y="455"/>
                    </a:lnTo>
                    <a:lnTo>
                      <a:pt x="522" y="455"/>
                    </a:lnTo>
                    <a:lnTo>
                      <a:pt x="628" y="455"/>
                    </a:lnTo>
                    <a:lnTo>
                      <a:pt x="732" y="455"/>
                    </a:lnTo>
                    <a:lnTo>
                      <a:pt x="836" y="455"/>
                    </a:lnTo>
                    <a:lnTo>
                      <a:pt x="941" y="455"/>
                    </a:lnTo>
                    <a:lnTo>
                      <a:pt x="1045" y="455"/>
                    </a:lnTo>
                    <a:lnTo>
                      <a:pt x="1150" y="455"/>
                    </a:lnTo>
                    <a:lnTo>
                      <a:pt x="1254" y="455"/>
                    </a:lnTo>
                    <a:lnTo>
                      <a:pt x="1359" y="455"/>
                    </a:lnTo>
                    <a:lnTo>
                      <a:pt x="1463" y="455"/>
                    </a:lnTo>
                    <a:lnTo>
                      <a:pt x="1567" y="455"/>
                    </a:lnTo>
                    <a:lnTo>
                      <a:pt x="1672" y="455"/>
                    </a:lnTo>
                    <a:lnTo>
                      <a:pt x="1675" y="435"/>
                    </a:lnTo>
                    <a:lnTo>
                      <a:pt x="1675" y="415"/>
                    </a:lnTo>
                    <a:lnTo>
                      <a:pt x="1675" y="397"/>
                    </a:lnTo>
                    <a:lnTo>
                      <a:pt x="1672" y="380"/>
                    </a:lnTo>
                    <a:lnTo>
                      <a:pt x="1668" y="363"/>
                    </a:lnTo>
                    <a:lnTo>
                      <a:pt x="1663" y="346"/>
                    </a:lnTo>
                    <a:lnTo>
                      <a:pt x="1657" y="331"/>
                    </a:lnTo>
                    <a:lnTo>
                      <a:pt x="1649" y="316"/>
                    </a:lnTo>
                    <a:lnTo>
                      <a:pt x="1639" y="303"/>
                    </a:lnTo>
                    <a:lnTo>
                      <a:pt x="1630" y="291"/>
                    </a:lnTo>
                    <a:lnTo>
                      <a:pt x="1619" y="280"/>
                    </a:lnTo>
                    <a:lnTo>
                      <a:pt x="1607" y="269"/>
                    </a:lnTo>
                    <a:lnTo>
                      <a:pt x="1595" y="260"/>
                    </a:lnTo>
                    <a:lnTo>
                      <a:pt x="1582" y="252"/>
                    </a:lnTo>
                    <a:lnTo>
                      <a:pt x="1567" y="245"/>
                    </a:lnTo>
                    <a:lnTo>
                      <a:pt x="1552" y="240"/>
                    </a:lnTo>
                    <a:lnTo>
                      <a:pt x="1537" y="236"/>
                    </a:lnTo>
                    <a:lnTo>
                      <a:pt x="1522" y="233"/>
                    </a:lnTo>
                    <a:lnTo>
                      <a:pt x="1506" y="232"/>
                    </a:lnTo>
                    <a:lnTo>
                      <a:pt x="1489" y="232"/>
                    </a:lnTo>
                    <a:lnTo>
                      <a:pt x="1473" y="233"/>
                    </a:lnTo>
                    <a:lnTo>
                      <a:pt x="1457" y="237"/>
                    </a:lnTo>
                    <a:lnTo>
                      <a:pt x="1441" y="241"/>
                    </a:lnTo>
                    <a:lnTo>
                      <a:pt x="1423" y="248"/>
                    </a:lnTo>
                    <a:lnTo>
                      <a:pt x="1407" y="256"/>
                    </a:lnTo>
                    <a:lnTo>
                      <a:pt x="1391" y="266"/>
                    </a:lnTo>
                    <a:lnTo>
                      <a:pt x="1376" y="278"/>
                    </a:lnTo>
                    <a:lnTo>
                      <a:pt x="1360" y="291"/>
                    </a:lnTo>
                    <a:lnTo>
                      <a:pt x="1344" y="307"/>
                    </a:lnTo>
                    <a:lnTo>
                      <a:pt x="1330" y="324"/>
                    </a:lnTo>
                    <a:lnTo>
                      <a:pt x="1316" y="343"/>
                    </a:lnTo>
                    <a:lnTo>
                      <a:pt x="1303" y="365"/>
                    </a:lnTo>
                    <a:lnTo>
                      <a:pt x="1295" y="323"/>
                    </a:lnTo>
                    <a:lnTo>
                      <a:pt x="1283" y="285"/>
                    </a:lnTo>
                    <a:lnTo>
                      <a:pt x="1266" y="248"/>
                    </a:lnTo>
                    <a:lnTo>
                      <a:pt x="1248" y="215"/>
                    </a:lnTo>
                    <a:lnTo>
                      <a:pt x="1226" y="184"/>
                    </a:lnTo>
                    <a:lnTo>
                      <a:pt x="1201" y="156"/>
                    </a:lnTo>
                    <a:lnTo>
                      <a:pt x="1174" y="130"/>
                    </a:lnTo>
                    <a:lnTo>
                      <a:pt x="1146" y="106"/>
                    </a:lnTo>
                    <a:lnTo>
                      <a:pt x="1114" y="86"/>
                    </a:lnTo>
                    <a:lnTo>
                      <a:pt x="1082" y="67"/>
                    </a:lnTo>
                    <a:lnTo>
                      <a:pt x="1047" y="51"/>
                    </a:lnTo>
                    <a:lnTo>
                      <a:pt x="1013" y="37"/>
                    </a:lnTo>
                    <a:lnTo>
                      <a:pt x="976" y="25"/>
                    </a:lnTo>
                    <a:lnTo>
                      <a:pt x="939" y="16"/>
                    </a:lnTo>
                    <a:lnTo>
                      <a:pt x="902" y="9"/>
                    </a:lnTo>
                    <a:lnTo>
                      <a:pt x="865" y="4"/>
                    </a:lnTo>
                    <a:lnTo>
                      <a:pt x="827" y="1"/>
                    </a:lnTo>
                    <a:lnTo>
                      <a:pt x="790" y="0"/>
                    </a:lnTo>
                    <a:lnTo>
                      <a:pt x="753" y="2"/>
                    </a:lnTo>
                    <a:lnTo>
                      <a:pt x="718" y="5"/>
                    </a:lnTo>
                    <a:lnTo>
                      <a:pt x="682" y="10"/>
                    </a:lnTo>
                    <a:lnTo>
                      <a:pt x="649" y="17"/>
                    </a:lnTo>
                    <a:lnTo>
                      <a:pt x="617" y="26"/>
                    </a:lnTo>
                    <a:lnTo>
                      <a:pt x="587" y="37"/>
                    </a:lnTo>
                    <a:lnTo>
                      <a:pt x="560" y="50"/>
                    </a:lnTo>
                    <a:lnTo>
                      <a:pt x="533" y="65"/>
                    </a:lnTo>
                    <a:lnTo>
                      <a:pt x="510" y="81"/>
                    </a:lnTo>
                    <a:lnTo>
                      <a:pt x="490" y="99"/>
                    </a:lnTo>
                    <a:lnTo>
                      <a:pt x="472" y="118"/>
                    </a:lnTo>
                    <a:lnTo>
                      <a:pt x="458" y="140"/>
                    </a:lnTo>
                    <a:lnTo>
                      <a:pt x="448" y="163"/>
                    </a:lnTo>
                    <a:lnTo>
                      <a:pt x="442" y="187"/>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49" name="Freeform 434"/>
              <p:cNvSpPr>
                <a:spLocks noEditPoints="1"/>
              </p:cNvSpPr>
              <p:nvPr/>
            </p:nvSpPr>
            <p:spPr bwMode="auto">
              <a:xfrm>
                <a:off x="7813676" y="2820988"/>
                <a:ext cx="969963" cy="658813"/>
              </a:xfrm>
              <a:custGeom>
                <a:avLst/>
                <a:gdLst>
                  <a:gd name="T0" fmla="*/ 964 w 2448"/>
                  <a:gd name="T1" fmla="*/ 894 h 1660"/>
                  <a:gd name="T2" fmla="*/ 1006 w 2448"/>
                  <a:gd name="T3" fmla="*/ 950 h 1660"/>
                  <a:gd name="T4" fmla="*/ 1053 w 2448"/>
                  <a:gd name="T5" fmla="*/ 1039 h 1660"/>
                  <a:gd name="T6" fmla="*/ 1096 w 2448"/>
                  <a:gd name="T7" fmla="*/ 1163 h 1660"/>
                  <a:gd name="T8" fmla="*/ 1134 w 2448"/>
                  <a:gd name="T9" fmla="*/ 1323 h 1660"/>
                  <a:gd name="T10" fmla="*/ 1159 w 2448"/>
                  <a:gd name="T11" fmla="*/ 1519 h 1660"/>
                  <a:gd name="T12" fmla="*/ 1195 w 2448"/>
                  <a:gd name="T13" fmla="*/ 1649 h 1660"/>
                  <a:gd name="T14" fmla="*/ 1265 w 2448"/>
                  <a:gd name="T15" fmla="*/ 1648 h 1660"/>
                  <a:gd name="T16" fmla="*/ 1261 w 2448"/>
                  <a:gd name="T17" fmla="*/ 1491 h 1660"/>
                  <a:gd name="T18" fmla="*/ 1224 w 2448"/>
                  <a:gd name="T19" fmla="*/ 1299 h 1660"/>
                  <a:gd name="T20" fmla="*/ 1146 w 2448"/>
                  <a:gd name="T21" fmla="*/ 1061 h 1660"/>
                  <a:gd name="T22" fmla="*/ 1059 w 2448"/>
                  <a:gd name="T23" fmla="*/ 861 h 1660"/>
                  <a:gd name="T24" fmla="*/ 1064 w 2448"/>
                  <a:gd name="T25" fmla="*/ 571 h 1660"/>
                  <a:gd name="T26" fmla="*/ 1009 w 2448"/>
                  <a:gd name="T27" fmla="*/ 332 h 1660"/>
                  <a:gd name="T28" fmla="*/ 877 w 2448"/>
                  <a:gd name="T29" fmla="*/ 165 h 1660"/>
                  <a:gd name="T30" fmla="*/ 683 w 2448"/>
                  <a:gd name="T31" fmla="*/ 59 h 1660"/>
                  <a:gd name="T32" fmla="*/ 442 w 2448"/>
                  <a:gd name="T33" fmla="*/ 8 h 1660"/>
                  <a:gd name="T34" fmla="*/ 172 w 2448"/>
                  <a:gd name="T35" fmla="*/ 2 h 1660"/>
                  <a:gd name="T36" fmla="*/ 45 w 2448"/>
                  <a:gd name="T37" fmla="*/ 102 h 1660"/>
                  <a:gd name="T38" fmla="*/ 116 w 2448"/>
                  <a:gd name="T39" fmla="*/ 300 h 1660"/>
                  <a:gd name="T40" fmla="*/ 188 w 2448"/>
                  <a:gd name="T41" fmla="*/ 545 h 1660"/>
                  <a:gd name="T42" fmla="*/ 273 w 2448"/>
                  <a:gd name="T43" fmla="*/ 686 h 1660"/>
                  <a:gd name="T44" fmla="*/ 432 w 2448"/>
                  <a:gd name="T45" fmla="*/ 793 h 1660"/>
                  <a:gd name="T46" fmla="*/ 703 w 2448"/>
                  <a:gd name="T47" fmla="*/ 858 h 1660"/>
                  <a:gd name="T48" fmla="*/ 1417 w 2448"/>
                  <a:gd name="T49" fmla="*/ 1637 h 1660"/>
                  <a:gd name="T50" fmla="*/ 1433 w 2448"/>
                  <a:gd name="T51" fmla="*/ 1517 h 1660"/>
                  <a:gd name="T52" fmla="*/ 1489 w 2448"/>
                  <a:gd name="T53" fmla="*/ 1319 h 1660"/>
                  <a:gd name="T54" fmla="*/ 1588 w 2448"/>
                  <a:gd name="T55" fmla="*/ 1102 h 1660"/>
                  <a:gd name="T56" fmla="*/ 1662 w 2448"/>
                  <a:gd name="T57" fmla="*/ 995 h 1660"/>
                  <a:gd name="T58" fmla="*/ 1918 w 2448"/>
                  <a:gd name="T59" fmla="*/ 1038 h 1660"/>
                  <a:gd name="T60" fmla="*/ 2123 w 2448"/>
                  <a:gd name="T61" fmla="*/ 998 h 1660"/>
                  <a:gd name="T62" fmla="*/ 2244 w 2448"/>
                  <a:gd name="T63" fmla="*/ 862 h 1660"/>
                  <a:gd name="T64" fmla="*/ 2311 w 2448"/>
                  <a:gd name="T65" fmla="*/ 659 h 1660"/>
                  <a:gd name="T66" fmla="*/ 2371 w 2448"/>
                  <a:gd name="T67" fmla="*/ 320 h 1660"/>
                  <a:gd name="T68" fmla="*/ 2431 w 2448"/>
                  <a:gd name="T69" fmla="*/ 73 h 1660"/>
                  <a:gd name="T70" fmla="*/ 2252 w 2448"/>
                  <a:gd name="T71" fmla="*/ 88 h 1660"/>
                  <a:gd name="T72" fmla="*/ 2015 w 2448"/>
                  <a:gd name="T73" fmla="*/ 138 h 1660"/>
                  <a:gd name="T74" fmla="*/ 1803 w 2448"/>
                  <a:gd name="T75" fmla="*/ 191 h 1660"/>
                  <a:gd name="T76" fmla="*/ 1632 w 2448"/>
                  <a:gd name="T77" fmla="*/ 279 h 1660"/>
                  <a:gd name="T78" fmla="*/ 1517 w 2448"/>
                  <a:gd name="T79" fmla="*/ 433 h 1660"/>
                  <a:gd name="T80" fmla="*/ 1476 w 2448"/>
                  <a:gd name="T81" fmla="*/ 686 h 1660"/>
                  <a:gd name="T82" fmla="*/ 1576 w 2448"/>
                  <a:gd name="T83" fmla="*/ 776 h 1660"/>
                  <a:gd name="T84" fmla="*/ 1677 w 2448"/>
                  <a:gd name="T85" fmla="*/ 642 h 1660"/>
                  <a:gd name="T86" fmla="*/ 1784 w 2448"/>
                  <a:gd name="T87" fmla="*/ 526 h 1660"/>
                  <a:gd name="T88" fmla="*/ 1901 w 2448"/>
                  <a:gd name="T89" fmla="*/ 422 h 1660"/>
                  <a:gd name="T90" fmla="*/ 2040 w 2448"/>
                  <a:gd name="T91" fmla="*/ 323 h 1660"/>
                  <a:gd name="T92" fmla="*/ 2278 w 2448"/>
                  <a:gd name="T93" fmla="*/ 186 h 1660"/>
                  <a:gd name="T94" fmla="*/ 2064 w 2448"/>
                  <a:gd name="T95" fmla="*/ 342 h 1660"/>
                  <a:gd name="T96" fmla="*/ 1874 w 2448"/>
                  <a:gd name="T97" fmla="*/ 514 h 1660"/>
                  <a:gd name="T98" fmla="*/ 1707 w 2448"/>
                  <a:gd name="T99" fmla="*/ 714 h 1660"/>
                  <a:gd name="T100" fmla="*/ 1559 w 2448"/>
                  <a:gd name="T101" fmla="*/ 950 h 1660"/>
                  <a:gd name="T102" fmla="*/ 1428 w 2448"/>
                  <a:gd name="T103" fmla="*/ 1233 h 1660"/>
                  <a:gd name="T104" fmla="*/ 1309 w 2448"/>
                  <a:gd name="T105" fmla="*/ 1573 h 1660"/>
                  <a:gd name="T106" fmla="*/ 1353 w 2448"/>
                  <a:gd name="T107" fmla="*/ 1649 h 1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48" h="1660">
                    <a:moveTo>
                      <a:pt x="936" y="875"/>
                    </a:moveTo>
                    <a:lnTo>
                      <a:pt x="942" y="878"/>
                    </a:lnTo>
                    <a:lnTo>
                      <a:pt x="949" y="882"/>
                    </a:lnTo>
                    <a:lnTo>
                      <a:pt x="956" y="887"/>
                    </a:lnTo>
                    <a:lnTo>
                      <a:pt x="964" y="894"/>
                    </a:lnTo>
                    <a:lnTo>
                      <a:pt x="972" y="902"/>
                    </a:lnTo>
                    <a:lnTo>
                      <a:pt x="980" y="912"/>
                    </a:lnTo>
                    <a:lnTo>
                      <a:pt x="989" y="924"/>
                    </a:lnTo>
                    <a:lnTo>
                      <a:pt x="997" y="936"/>
                    </a:lnTo>
                    <a:lnTo>
                      <a:pt x="1006" y="950"/>
                    </a:lnTo>
                    <a:lnTo>
                      <a:pt x="1015" y="964"/>
                    </a:lnTo>
                    <a:lnTo>
                      <a:pt x="1024" y="981"/>
                    </a:lnTo>
                    <a:lnTo>
                      <a:pt x="1034" y="999"/>
                    </a:lnTo>
                    <a:lnTo>
                      <a:pt x="1043" y="1018"/>
                    </a:lnTo>
                    <a:lnTo>
                      <a:pt x="1053" y="1039"/>
                    </a:lnTo>
                    <a:lnTo>
                      <a:pt x="1062" y="1060"/>
                    </a:lnTo>
                    <a:lnTo>
                      <a:pt x="1071" y="1084"/>
                    </a:lnTo>
                    <a:lnTo>
                      <a:pt x="1079" y="1109"/>
                    </a:lnTo>
                    <a:lnTo>
                      <a:pt x="1088" y="1135"/>
                    </a:lnTo>
                    <a:lnTo>
                      <a:pt x="1096" y="1163"/>
                    </a:lnTo>
                    <a:lnTo>
                      <a:pt x="1106" y="1192"/>
                    </a:lnTo>
                    <a:lnTo>
                      <a:pt x="1113" y="1223"/>
                    </a:lnTo>
                    <a:lnTo>
                      <a:pt x="1121" y="1254"/>
                    </a:lnTo>
                    <a:lnTo>
                      <a:pt x="1128" y="1287"/>
                    </a:lnTo>
                    <a:lnTo>
                      <a:pt x="1134" y="1323"/>
                    </a:lnTo>
                    <a:lnTo>
                      <a:pt x="1140" y="1359"/>
                    </a:lnTo>
                    <a:lnTo>
                      <a:pt x="1146" y="1397"/>
                    </a:lnTo>
                    <a:lnTo>
                      <a:pt x="1151" y="1435"/>
                    </a:lnTo>
                    <a:lnTo>
                      <a:pt x="1155" y="1477"/>
                    </a:lnTo>
                    <a:lnTo>
                      <a:pt x="1159" y="1519"/>
                    </a:lnTo>
                    <a:lnTo>
                      <a:pt x="1162" y="1562"/>
                    </a:lnTo>
                    <a:lnTo>
                      <a:pt x="1164" y="1608"/>
                    </a:lnTo>
                    <a:lnTo>
                      <a:pt x="1165" y="1654"/>
                    </a:lnTo>
                    <a:lnTo>
                      <a:pt x="1180" y="1651"/>
                    </a:lnTo>
                    <a:lnTo>
                      <a:pt x="1195" y="1649"/>
                    </a:lnTo>
                    <a:lnTo>
                      <a:pt x="1209" y="1647"/>
                    </a:lnTo>
                    <a:lnTo>
                      <a:pt x="1223" y="1647"/>
                    </a:lnTo>
                    <a:lnTo>
                      <a:pt x="1236" y="1646"/>
                    </a:lnTo>
                    <a:lnTo>
                      <a:pt x="1250" y="1647"/>
                    </a:lnTo>
                    <a:lnTo>
                      <a:pt x="1265" y="1648"/>
                    </a:lnTo>
                    <a:lnTo>
                      <a:pt x="1279" y="1650"/>
                    </a:lnTo>
                    <a:lnTo>
                      <a:pt x="1275" y="1609"/>
                    </a:lnTo>
                    <a:lnTo>
                      <a:pt x="1271" y="1567"/>
                    </a:lnTo>
                    <a:lnTo>
                      <a:pt x="1266" y="1529"/>
                    </a:lnTo>
                    <a:lnTo>
                      <a:pt x="1261" y="1491"/>
                    </a:lnTo>
                    <a:lnTo>
                      <a:pt x="1256" y="1456"/>
                    </a:lnTo>
                    <a:lnTo>
                      <a:pt x="1250" y="1422"/>
                    </a:lnTo>
                    <a:lnTo>
                      <a:pt x="1244" y="1389"/>
                    </a:lnTo>
                    <a:lnTo>
                      <a:pt x="1238" y="1357"/>
                    </a:lnTo>
                    <a:lnTo>
                      <a:pt x="1224" y="1299"/>
                    </a:lnTo>
                    <a:lnTo>
                      <a:pt x="1210" y="1245"/>
                    </a:lnTo>
                    <a:lnTo>
                      <a:pt x="1196" y="1194"/>
                    </a:lnTo>
                    <a:lnTo>
                      <a:pt x="1180" y="1148"/>
                    </a:lnTo>
                    <a:lnTo>
                      <a:pt x="1163" y="1103"/>
                    </a:lnTo>
                    <a:lnTo>
                      <a:pt x="1146" y="1061"/>
                    </a:lnTo>
                    <a:lnTo>
                      <a:pt x="1129" y="1021"/>
                    </a:lnTo>
                    <a:lnTo>
                      <a:pt x="1112" y="980"/>
                    </a:lnTo>
                    <a:lnTo>
                      <a:pt x="1094" y="941"/>
                    </a:lnTo>
                    <a:lnTo>
                      <a:pt x="1077" y="901"/>
                    </a:lnTo>
                    <a:lnTo>
                      <a:pt x="1059" y="861"/>
                    </a:lnTo>
                    <a:lnTo>
                      <a:pt x="1043" y="818"/>
                    </a:lnTo>
                    <a:lnTo>
                      <a:pt x="1054" y="751"/>
                    </a:lnTo>
                    <a:lnTo>
                      <a:pt x="1061" y="689"/>
                    </a:lnTo>
                    <a:lnTo>
                      <a:pt x="1065" y="628"/>
                    </a:lnTo>
                    <a:lnTo>
                      <a:pt x="1064" y="571"/>
                    </a:lnTo>
                    <a:lnTo>
                      <a:pt x="1060" y="517"/>
                    </a:lnTo>
                    <a:lnTo>
                      <a:pt x="1053" y="467"/>
                    </a:lnTo>
                    <a:lnTo>
                      <a:pt x="1042" y="419"/>
                    </a:lnTo>
                    <a:lnTo>
                      <a:pt x="1027" y="374"/>
                    </a:lnTo>
                    <a:lnTo>
                      <a:pt x="1009" y="332"/>
                    </a:lnTo>
                    <a:lnTo>
                      <a:pt x="989" y="293"/>
                    </a:lnTo>
                    <a:lnTo>
                      <a:pt x="965" y="257"/>
                    </a:lnTo>
                    <a:lnTo>
                      <a:pt x="938" y="223"/>
                    </a:lnTo>
                    <a:lnTo>
                      <a:pt x="909" y="193"/>
                    </a:lnTo>
                    <a:lnTo>
                      <a:pt x="877" y="165"/>
                    </a:lnTo>
                    <a:lnTo>
                      <a:pt x="843" y="138"/>
                    </a:lnTo>
                    <a:lnTo>
                      <a:pt x="805" y="115"/>
                    </a:lnTo>
                    <a:lnTo>
                      <a:pt x="767" y="95"/>
                    </a:lnTo>
                    <a:lnTo>
                      <a:pt x="725" y="75"/>
                    </a:lnTo>
                    <a:lnTo>
                      <a:pt x="683" y="59"/>
                    </a:lnTo>
                    <a:lnTo>
                      <a:pt x="638" y="45"/>
                    </a:lnTo>
                    <a:lnTo>
                      <a:pt x="592" y="33"/>
                    </a:lnTo>
                    <a:lnTo>
                      <a:pt x="543" y="23"/>
                    </a:lnTo>
                    <a:lnTo>
                      <a:pt x="493" y="15"/>
                    </a:lnTo>
                    <a:lnTo>
                      <a:pt x="442" y="8"/>
                    </a:lnTo>
                    <a:lnTo>
                      <a:pt x="391" y="3"/>
                    </a:lnTo>
                    <a:lnTo>
                      <a:pt x="337" y="0"/>
                    </a:lnTo>
                    <a:lnTo>
                      <a:pt x="282" y="0"/>
                    </a:lnTo>
                    <a:lnTo>
                      <a:pt x="228" y="0"/>
                    </a:lnTo>
                    <a:lnTo>
                      <a:pt x="172" y="2"/>
                    </a:lnTo>
                    <a:lnTo>
                      <a:pt x="115" y="6"/>
                    </a:lnTo>
                    <a:lnTo>
                      <a:pt x="58" y="11"/>
                    </a:lnTo>
                    <a:lnTo>
                      <a:pt x="0" y="19"/>
                    </a:lnTo>
                    <a:lnTo>
                      <a:pt x="24" y="60"/>
                    </a:lnTo>
                    <a:lnTo>
                      <a:pt x="45" y="102"/>
                    </a:lnTo>
                    <a:lnTo>
                      <a:pt x="62" y="143"/>
                    </a:lnTo>
                    <a:lnTo>
                      <a:pt x="79" y="184"/>
                    </a:lnTo>
                    <a:lnTo>
                      <a:pt x="93" y="223"/>
                    </a:lnTo>
                    <a:lnTo>
                      <a:pt x="105" y="262"/>
                    </a:lnTo>
                    <a:lnTo>
                      <a:pt x="116" y="300"/>
                    </a:lnTo>
                    <a:lnTo>
                      <a:pt x="127" y="338"/>
                    </a:lnTo>
                    <a:lnTo>
                      <a:pt x="146" y="411"/>
                    </a:lnTo>
                    <a:lnTo>
                      <a:pt x="166" y="480"/>
                    </a:lnTo>
                    <a:lnTo>
                      <a:pt x="177" y="513"/>
                    </a:lnTo>
                    <a:lnTo>
                      <a:pt x="188" y="545"/>
                    </a:lnTo>
                    <a:lnTo>
                      <a:pt x="201" y="576"/>
                    </a:lnTo>
                    <a:lnTo>
                      <a:pt x="216" y="605"/>
                    </a:lnTo>
                    <a:lnTo>
                      <a:pt x="233" y="634"/>
                    </a:lnTo>
                    <a:lnTo>
                      <a:pt x="252" y="660"/>
                    </a:lnTo>
                    <a:lnTo>
                      <a:pt x="273" y="686"/>
                    </a:lnTo>
                    <a:lnTo>
                      <a:pt x="299" y="711"/>
                    </a:lnTo>
                    <a:lnTo>
                      <a:pt x="326" y="733"/>
                    </a:lnTo>
                    <a:lnTo>
                      <a:pt x="357" y="754"/>
                    </a:lnTo>
                    <a:lnTo>
                      <a:pt x="393" y="775"/>
                    </a:lnTo>
                    <a:lnTo>
                      <a:pt x="432" y="793"/>
                    </a:lnTo>
                    <a:lnTo>
                      <a:pt x="476" y="809"/>
                    </a:lnTo>
                    <a:lnTo>
                      <a:pt x="525" y="824"/>
                    </a:lnTo>
                    <a:lnTo>
                      <a:pt x="578" y="837"/>
                    </a:lnTo>
                    <a:lnTo>
                      <a:pt x="638" y="849"/>
                    </a:lnTo>
                    <a:lnTo>
                      <a:pt x="703" y="858"/>
                    </a:lnTo>
                    <a:lnTo>
                      <a:pt x="774" y="866"/>
                    </a:lnTo>
                    <a:lnTo>
                      <a:pt x="852" y="871"/>
                    </a:lnTo>
                    <a:lnTo>
                      <a:pt x="936" y="875"/>
                    </a:lnTo>
                    <a:close/>
                    <a:moveTo>
                      <a:pt x="1416" y="1660"/>
                    </a:moveTo>
                    <a:lnTo>
                      <a:pt x="1417" y="1637"/>
                    </a:lnTo>
                    <a:lnTo>
                      <a:pt x="1418" y="1613"/>
                    </a:lnTo>
                    <a:lnTo>
                      <a:pt x="1421" y="1590"/>
                    </a:lnTo>
                    <a:lnTo>
                      <a:pt x="1424" y="1565"/>
                    </a:lnTo>
                    <a:lnTo>
                      <a:pt x="1428" y="1541"/>
                    </a:lnTo>
                    <a:lnTo>
                      <a:pt x="1433" y="1517"/>
                    </a:lnTo>
                    <a:lnTo>
                      <a:pt x="1438" y="1491"/>
                    </a:lnTo>
                    <a:lnTo>
                      <a:pt x="1443" y="1467"/>
                    </a:lnTo>
                    <a:lnTo>
                      <a:pt x="1456" y="1417"/>
                    </a:lnTo>
                    <a:lnTo>
                      <a:pt x="1472" y="1368"/>
                    </a:lnTo>
                    <a:lnTo>
                      <a:pt x="1489" y="1319"/>
                    </a:lnTo>
                    <a:lnTo>
                      <a:pt x="1507" y="1272"/>
                    </a:lnTo>
                    <a:lnTo>
                      <a:pt x="1526" y="1226"/>
                    </a:lnTo>
                    <a:lnTo>
                      <a:pt x="1547" y="1182"/>
                    </a:lnTo>
                    <a:lnTo>
                      <a:pt x="1567" y="1141"/>
                    </a:lnTo>
                    <a:lnTo>
                      <a:pt x="1588" y="1102"/>
                    </a:lnTo>
                    <a:lnTo>
                      <a:pt x="1609" y="1067"/>
                    </a:lnTo>
                    <a:lnTo>
                      <a:pt x="1631" y="1035"/>
                    </a:lnTo>
                    <a:lnTo>
                      <a:pt x="1642" y="1020"/>
                    </a:lnTo>
                    <a:lnTo>
                      <a:pt x="1652" y="1007"/>
                    </a:lnTo>
                    <a:lnTo>
                      <a:pt x="1662" y="995"/>
                    </a:lnTo>
                    <a:lnTo>
                      <a:pt x="1672" y="983"/>
                    </a:lnTo>
                    <a:lnTo>
                      <a:pt x="1741" y="1006"/>
                    </a:lnTo>
                    <a:lnTo>
                      <a:pt x="1805" y="1022"/>
                    </a:lnTo>
                    <a:lnTo>
                      <a:pt x="1864" y="1033"/>
                    </a:lnTo>
                    <a:lnTo>
                      <a:pt x="1918" y="1038"/>
                    </a:lnTo>
                    <a:lnTo>
                      <a:pt x="1967" y="1039"/>
                    </a:lnTo>
                    <a:lnTo>
                      <a:pt x="2012" y="1035"/>
                    </a:lnTo>
                    <a:lnTo>
                      <a:pt x="2053" y="1027"/>
                    </a:lnTo>
                    <a:lnTo>
                      <a:pt x="2090" y="1014"/>
                    </a:lnTo>
                    <a:lnTo>
                      <a:pt x="2123" y="998"/>
                    </a:lnTo>
                    <a:lnTo>
                      <a:pt x="2154" y="977"/>
                    </a:lnTo>
                    <a:lnTo>
                      <a:pt x="2180" y="953"/>
                    </a:lnTo>
                    <a:lnTo>
                      <a:pt x="2205" y="926"/>
                    </a:lnTo>
                    <a:lnTo>
                      <a:pt x="2226" y="895"/>
                    </a:lnTo>
                    <a:lnTo>
                      <a:pt x="2244" y="862"/>
                    </a:lnTo>
                    <a:lnTo>
                      <a:pt x="2261" y="825"/>
                    </a:lnTo>
                    <a:lnTo>
                      <a:pt x="2275" y="787"/>
                    </a:lnTo>
                    <a:lnTo>
                      <a:pt x="2289" y="746"/>
                    </a:lnTo>
                    <a:lnTo>
                      <a:pt x="2301" y="704"/>
                    </a:lnTo>
                    <a:lnTo>
                      <a:pt x="2311" y="659"/>
                    </a:lnTo>
                    <a:lnTo>
                      <a:pt x="2320" y="614"/>
                    </a:lnTo>
                    <a:lnTo>
                      <a:pt x="2337" y="518"/>
                    </a:lnTo>
                    <a:lnTo>
                      <a:pt x="2354" y="420"/>
                    </a:lnTo>
                    <a:lnTo>
                      <a:pt x="2362" y="369"/>
                    </a:lnTo>
                    <a:lnTo>
                      <a:pt x="2371" y="320"/>
                    </a:lnTo>
                    <a:lnTo>
                      <a:pt x="2380" y="269"/>
                    </a:lnTo>
                    <a:lnTo>
                      <a:pt x="2391" y="219"/>
                    </a:lnTo>
                    <a:lnTo>
                      <a:pt x="2403" y="170"/>
                    </a:lnTo>
                    <a:lnTo>
                      <a:pt x="2416" y="121"/>
                    </a:lnTo>
                    <a:lnTo>
                      <a:pt x="2431" y="73"/>
                    </a:lnTo>
                    <a:lnTo>
                      <a:pt x="2448" y="28"/>
                    </a:lnTo>
                    <a:lnTo>
                      <a:pt x="2399" y="45"/>
                    </a:lnTo>
                    <a:lnTo>
                      <a:pt x="2349" y="60"/>
                    </a:lnTo>
                    <a:lnTo>
                      <a:pt x="2301" y="74"/>
                    </a:lnTo>
                    <a:lnTo>
                      <a:pt x="2252" y="88"/>
                    </a:lnTo>
                    <a:lnTo>
                      <a:pt x="2203" y="99"/>
                    </a:lnTo>
                    <a:lnTo>
                      <a:pt x="2155" y="109"/>
                    </a:lnTo>
                    <a:lnTo>
                      <a:pt x="2107" y="119"/>
                    </a:lnTo>
                    <a:lnTo>
                      <a:pt x="2061" y="128"/>
                    </a:lnTo>
                    <a:lnTo>
                      <a:pt x="2015" y="138"/>
                    </a:lnTo>
                    <a:lnTo>
                      <a:pt x="1970" y="147"/>
                    </a:lnTo>
                    <a:lnTo>
                      <a:pt x="1927" y="156"/>
                    </a:lnTo>
                    <a:lnTo>
                      <a:pt x="1884" y="168"/>
                    </a:lnTo>
                    <a:lnTo>
                      <a:pt x="1843" y="179"/>
                    </a:lnTo>
                    <a:lnTo>
                      <a:pt x="1803" y="191"/>
                    </a:lnTo>
                    <a:lnTo>
                      <a:pt x="1765" y="205"/>
                    </a:lnTo>
                    <a:lnTo>
                      <a:pt x="1728" y="220"/>
                    </a:lnTo>
                    <a:lnTo>
                      <a:pt x="1695" y="238"/>
                    </a:lnTo>
                    <a:lnTo>
                      <a:pt x="1662" y="257"/>
                    </a:lnTo>
                    <a:lnTo>
                      <a:pt x="1632" y="279"/>
                    </a:lnTo>
                    <a:lnTo>
                      <a:pt x="1603" y="303"/>
                    </a:lnTo>
                    <a:lnTo>
                      <a:pt x="1578" y="331"/>
                    </a:lnTo>
                    <a:lnTo>
                      <a:pt x="1555" y="362"/>
                    </a:lnTo>
                    <a:lnTo>
                      <a:pt x="1534" y="396"/>
                    </a:lnTo>
                    <a:lnTo>
                      <a:pt x="1517" y="433"/>
                    </a:lnTo>
                    <a:lnTo>
                      <a:pt x="1503" y="476"/>
                    </a:lnTo>
                    <a:lnTo>
                      <a:pt x="1491" y="521"/>
                    </a:lnTo>
                    <a:lnTo>
                      <a:pt x="1483" y="572"/>
                    </a:lnTo>
                    <a:lnTo>
                      <a:pt x="1478" y="627"/>
                    </a:lnTo>
                    <a:lnTo>
                      <a:pt x="1476" y="686"/>
                    </a:lnTo>
                    <a:lnTo>
                      <a:pt x="1478" y="752"/>
                    </a:lnTo>
                    <a:lnTo>
                      <a:pt x="1484" y="822"/>
                    </a:lnTo>
                    <a:lnTo>
                      <a:pt x="1493" y="899"/>
                    </a:lnTo>
                    <a:lnTo>
                      <a:pt x="1535" y="835"/>
                    </a:lnTo>
                    <a:lnTo>
                      <a:pt x="1576" y="776"/>
                    </a:lnTo>
                    <a:lnTo>
                      <a:pt x="1596" y="747"/>
                    </a:lnTo>
                    <a:lnTo>
                      <a:pt x="1616" y="720"/>
                    </a:lnTo>
                    <a:lnTo>
                      <a:pt x="1637" y="693"/>
                    </a:lnTo>
                    <a:lnTo>
                      <a:pt x="1657" y="667"/>
                    </a:lnTo>
                    <a:lnTo>
                      <a:pt x="1677" y="642"/>
                    </a:lnTo>
                    <a:lnTo>
                      <a:pt x="1698" y="618"/>
                    </a:lnTo>
                    <a:lnTo>
                      <a:pt x="1719" y="594"/>
                    </a:lnTo>
                    <a:lnTo>
                      <a:pt x="1740" y="571"/>
                    </a:lnTo>
                    <a:lnTo>
                      <a:pt x="1761" y="549"/>
                    </a:lnTo>
                    <a:lnTo>
                      <a:pt x="1784" y="526"/>
                    </a:lnTo>
                    <a:lnTo>
                      <a:pt x="1806" y="505"/>
                    </a:lnTo>
                    <a:lnTo>
                      <a:pt x="1828" y="484"/>
                    </a:lnTo>
                    <a:lnTo>
                      <a:pt x="1853" y="464"/>
                    </a:lnTo>
                    <a:lnTo>
                      <a:pt x="1877" y="442"/>
                    </a:lnTo>
                    <a:lnTo>
                      <a:pt x="1901" y="422"/>
                    </a:lnTo>
                    <a:lnTo>
                      <a:pt x="1928" y="403"/>
                    </a:lnTo>
                    <a:lnTo>
                      <a:pt x="1954" y="382"/>
                    </a:lnTo>
                    <a:lnTo>
                      <a:pt x="1982" y="362"/>
                    </a:lnTo>
                    <a:lnTo>
                      <a:pt x="2011" y="343"/>
                    </a:lnTo>
                    <a:lnTo>
                      <a:pt x="2040" y="323"/>
                    </a:lnTo>
                    <a:lnTo>
                      <a:pt x="2103" y="282"/>
                    </a:lnTo>
                    <a:lnTo>
                      <a:pt x="2171" y="242"/>
                    </a:lnTo>
                    <a:lnTo>
                      <a:pt x="2244" y="199"/>
                    </a:lnTo>
                    <a:lnTo>
                      <a:pt x="2323" y="155"/>
                    </a:lnTo>
                    <a:lnTo>
                      <a:pt x="2278" y="186"/>
                    </a:lnTo>
                    <a:lnTo>
                      <a:pt x="2232" y="216"/>
                    </a:lnTo>
                    <a:lnTo>
                      <a:pt x="2188" y="247"/>
                    </a:lnTo>
                    <a:lnTo>
                      <a:pt x="2146" y="278"/>
                    </a:lnTo>
                    <a:lnTo>
                      <a:pt x="2104" y="309"/>
                    </a:lnTo>
                    <a:lnTo>
                      <a:pt x="2064" y="342"/>
                    </a:lnTo>
                    <a:lnTo>
                      <a:pt x="2024" y="374"/>
                    </a:lnTo>
                    <a:lnTo>
                      <a:pt x="1985" y="408"/>
                    </a:lnTo>
                    <a:lnTo>
                      <a:pt x="1947" y="442"/>
                    </a:lnTo>
                    <a:lnTo>
                      <a:pt x="1910" y="478"/>
                    </a:lnTo>
                    <a:lnTo>
                      <a:pt x="1874" y="514"/>
                    </a:lnTo>
                    <a:lnTo>
                      <a:pt x="1840" y="552"/>
                    </a:lnTo>
                    <a:lnTo>
                      <a:pt x="1805" y="590"/>
                    </a:lnTo>
                    <a:lnTo>
                      <a:pt x="1772" y="630"/>
                    </a:lnTo>
                    <a:lnTo>
                      <a:pt x="1739" y="671"/>
                    </a:lnTo>
                    <a:lnTo>
                      <a:pt x="1707" y="714"/>
                    </a:lnTo>
                    <a:lnTo>
                      <a:pt x="1676" y="757"/>
                    </a:lnTo>
                    <a:lnTo>
                      <a:pt x="1646" y="803"/>
                    </a:lnTo>
                    <a:lnTo>
                      <a:pt x="1616" y="850"/>
                    </a:lnTo>
                    <a:lnTo>
                      <a:pt x="1587" y="899"/>
                    </a:lnTo>
                    <a:lnTo>
                      <a:pt x="1559" y="950"/>
                    </a:lnTo>
                    <a:lnTo>
                      <a:pt x="1531" y="1003"/>
                    </a:lnTo>
                    <a:lnTo>
                      <a:pt x="1505" y="1056"/>
                    </a:lnTo>
                    <a:lnTo>
                      <a:pt x="1479" y="1113"/>
                    </a:lnTo>
                    <a:lnTo>
                      <a:pt x="1452" y="1172"/>
                    </a:lnTo>
                    <a:lnTo>
                      <a:pt x="1428" y="1233"/>
                    </a:lnTo>
                    <a:lnTo>
                      <a:pt x="1403" y="1297"/>
                    </a:lnTo>
                    <a:lnTo>
                      <a:pt x="1378" y="1361"/>
                    </a:lnTo>
                    <a:lnTo>
                      <a:pt x="1355" y="1430"/>
                    </a:lnTo>
                    <a:lnTo>
                      <a:pt x="1332" y="1500"/>
                    </a:lnTo>
                    <a:lnTo>
                      <a:pt x="1309" y="1573"/>
                    </a:lnTo>
                    <a:lnTo>
                      <a:pt x="1287" y="1649"/>
                    </a:lnTo>
                    <a:lnTo>
                      <a:pt x="1304" y="1648"/>
                    </a:lnTo>
                    <a:lnTo>
                      <a:pt x="1320" y="1648"/>
                    </a:lnTo>
                    <a:lnTo>
                      <a:pt x="1337" y="1648"/>
                    </a:lnTo>
                    <a:lnTo>
                      <a:pt x="1353" y="1649"/>
                    </a:lnTo>
                    <a:lnTo>
                      <a:pt x="1368" y="1650"/>
                    </a:lnTo>
                    <a:lnTo>
                      <a:pt x="1384" y="1653"/>
                    </a:lnTo>
                    <a:lnTo>
                      <a:pt x="1400" y="1656"/>
                    </a:lnTo>
                    <a:lnTo>
                      <a:pt x="1416" y="1660"/>
                    </a:lnTo>
                    <a:close/>
                  </a:path>
                </a:pathLst>
              </a:custGeom>
              <a:grp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150" name="Freeform 1257"/>
            <p:cNvSpPr>
              <a:spLocks noEditPoints="1"/>
            </p:cNvSpPr>
            <p:nvPr/>
          </p:nvSpPr>
          <p:spPr bwMode="auto">
            <a:xfrm>
              <a:off x="827802" y="1344944"/>
              <a:ext cx="487439" cy="471369"/>
            </a:xfrm>
            <a:custGeom>
              <a:avLst/>
              <a:gdLst>
                <a:gd name="T0" fmla="*/ 969 w 1095"/>
                <a:gd name="T1" fmla="*/ 162 h 1057"/>
                <a:gd name="T2" fmla="*/ 820 w 1095"/>
                <a:gd name="T3" fmla="*/ 20 h 1057"/>
                <a:gd name="T4" fmla="*/ 547 w 1095"/>
                <a:gd name="T5" fmla="*/ 75 h 1057"/>
                <a:gd name="T6" fmla="*/ 325 w 1095"/>
                <a:gd name="T7" fmla="*/ 2 h 1057"/>
                <a:gd name="T8" fmla="*/ 180 w 1095"/>
                <a:gd name="T9" fmla="*/ 122 h 1057"/>
                <a:gd name="T10" fmla="*/ 186 w 1095"/>
                <a:gd name="T11" fmla="*/ 292 h 1057"/>
                <a:gd name="T12" fmla="*/ 237 w 1095"/>
                <a:gd name="T13" fmla="*/ 99 h 1057"/>
                <a:gd name="T14" fmla="*/ 365 w 1095"/>
                <a:gd name="T15" fmla="*/ 41 h 1057"/>
                <a:gd name="T16" fmla="*/ 507 w 1095"/>
                <a:gd name="T17" fmla="*/ 148 h 1057"/>
                <a:gd name="T18" fmla="*/ 219 w 1095"/>
                <a:gd name="T19" fmla="*/ 297 h 1057"/>
                <a:gd name="T20" fmla="*/ 42 w 1095"/>
                <a:gd name="T21" fmla="*/ 423 h 1057"/>
                <a:gd name="T22" fmla="*/ 19 w 1095"/>
                <a:gd name="T23" fmla="*/ 621 h 1057"/>
                <a:gd name="T24" fmla="*/ 171 w 1095"/>
                <a:gd name="T25" fmla="*/ 776 h 1057"/>
                <a:gd name="T26" fmla="*/ 228 w 1095"/>
                <a:gd name="T27" fmla="*/ 1000 h 1057"/>
                <a:gd name="T28" fmla="*/ 443 w 1095"/>
                <a:gd name="T29" fmla="*/ 1046 h 1057"/>
                <a:gd name="T30" fmla="*/ 721 w 1095"/>
                <a:gd name="T31" fmla="*/ 1037 h 1057"/>
                <a:gd name="T32" fmla="*/ 889 w 1095"/>
                <a:gd name="T33" fmla="*/ 969 h 1057"/>
                <a:gd name="T34" fmla="*/ 931 w 1095"/>
                <a:gd name="T35" fmla="*/ 781 h 1057"/>
                <a:gd name="T36" fmla="*/ 870 w 1095"/>
                <a:gd name="T37" fmla="*/ 926 h 1057"/>
                <a:gd name="T38" fmla="*/ 753 w 1095"/>
                <a:gd name="T39" fmla="*/ 997 h 1057"/>
                <a:gd name="T40" fmla="*/ 725 w 1095"/>
                <a:gd name="T41" fmla="*/ 846 h 1057"/>
                <a:gd name="T42" fmla="*/ 931 w 1095"/>
                <a:gd name="T43" fmla="*/ 760 h 1057"/>
                <a:gd name="T44" fmla="*/ 1084 w 1095"/>
                <a:gd name="T45" fmla="*/ 603 h 1057"/>
                <a:gd name="T46" fmla="*/ 1055 w 1095"/>
                <a:gd name="T47" fmla="*/ 426 h 1057"/>
                <a:gd name="T48" fmla="*/ 594 w 1095"/>
                <a:gd name="T49" fmla="*/ 165 h 1057"/>
                <a:gd name="T50" fmla="*/ 644 w 1095"/>
                <a:gd name="T51" fmla="*/ 101 h 1057"/>
                <a:gd name="T52" fmla="*/ 850 w 1095"/>
                <a:gd name="T53" fmla="*/ 74 h 1057"/>
                <a:gd name="T54" fmla="*/ 937 w 1095"/>
                <a:gd name="T55" fmla="*/ 216 h 1057"/>
                <a:gd name="T56" fmla="*/ 808 w 1095"/>
                <a:gd name="T57" fmla="*/ 273 h 1057"/>
                <a:gd name="T58" fmla="*/ 509 w 1095"/>
                <a:gd name="T59" fmla="*/ 239 h 1057"/>
                <a:gd name="T60" fmla="*/ 74 w 1095"/>
                <a:gd name="T61" fmla="*/ 449 h 1057"/>
                <a:gd name="T62" fmla="*/ 219 w 1095"/>
                <a:gd name="T63" fmla="*/ 341 h 1057"/>
                <a:gd name="T64" fmla="*/ 317 w 1095"/>
                <a:gd name="T65" fmla="*/ 374 h 1057"/>
                <a:gd name="T66" fmla="*/ 180 w 1095"/>
                <a:gd name="T67" fmla="*/ 387 h 1057"/>
                <a:gd name="T68" fmla="*/ 177 w 1095"/>
                <a:gd name="T69" fmla="*/ 720 h 1057"/>
                <a:gd name="T70" fmla="*/ 47 w 1095"/>
                <a:gd name="T71" fmla="*/ 580 h 1057"/>
                <a:gd name="T72" fmla="*/ 453 w 1095"/>
                <a:gd name="T73" fmla="*/ 861 h 1057"/>
                <a:gd name="T74" fmla="*/ 460 w 1095"/>
                <a:gd name="T75" fmla="*/ 995 h 1057"/>
                <a:gd name="T76" fmla="*/ 278 w 1095"/>
                <a:gd name="T77" fmla="*/ 987 h 1057"/>
                <a:gd name="T78" fmla="*/ 211 w 1095"/>
                <a:gd name="T79" fmla="*/ 831 h 1057"/>
                <a:gd name="T80" fmla="*/ 437 w 1095"/>
                <a:gd name="T81" fmla="*/ 839 h 1057"/>
                <a:gd name="T82" fmla="*/ 782 w 1095"/>
                <a:gd name="T83" fmla="*/ 774 h 1057"/>
                <a:gd name="T84" fmla="*/ 872 w 1095"/>
                <a:gd name="T85" fmla="*/ 743 h 1057"/>
                <a:gd name="T86" fmla="*/ 759 w 1095"/>
                <a:gd name="T87" fmla="*/ 320 h 1057"/>
                <a:gd name="T88" fmla="*/ 841 w 1095"/>
                <a:gd name="T89" fmla="*/ 522 h 1057"/>
                <a:gd name="T90" fmla="*/ 658 w 1095"/>
                <a:gd name="T91" fmla="*/ 798 h 1057"/>
                <a:gd name="T92" fmla="*/ 361 w 1095"/>
                <a:gd name="T93" fmla="*/ 785 h 1057"/>
                <a:gd name="T94" fmla="*/ 310 w 1095"/>
                <a:gd name="T95" fmla="*/ 718 h 1057"/>
                <a:gd name="T96" fmla="*/ 327 w 1095"/>
                <a:gd name="T97" fmla="*/ 672 h 1057"/>
                <a:gd name="T98" fmla="*/ 370 w 1095"/>
                <a:gd name="T99" fmla="*/ 367 h 1057"/>
                <a:gd name="T100" fmla="*/ 713 w 1095"/>
                <a:gd name="T101" fmla="*/ 293 h 1057"/>
                <a:gd name="T102" fmla="*/ 910 w 1095"/>
                <a:gd name="T103" fmla="*/ 441 h 1057"/>
                <a:gd name="T104" fmla="*/ 955 w 1095"/>
                <a:gd name="T105" fmla="*/ 436 h 1057"/>
                <a:gd name="T106" fmla="*/ 1051 w 1095"/>
                <a:gd name="T107" fmla="*/ 511 h 1057"/>
                <a:gd name="T108" fmla="*/ 1007 w 1095"/>
                <a:gd name="T109" fmla="*/ 654 h 1057"/>
                <a:gd name="T110" fmla="*/ 593 w 1095"/>
                <a:gd name="T111" fmla="*/ 574 h 1057"/>
                <a:gd name="T112" fmla="*/ 505 w 1095"/>
                <a:gd name="T113" fmla="*/ 605 h 1057"/>
                <a:gd name="T114" fmla="*/ 448 w 1095"/>
                <a:gd name="T115" fmla="*/ 529 h 1057"/>
                <a:gd name="T116" fmla="*/ 505 w 1095"/>
                <a:gd name="T117" fmla="*/ 454 h 1057"/>
                <a:gd name="T118" fmla="*/ 593 w 1095"/>
                <a:gd name="T119" fmla="*/ 485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95" h="1057">
                  <a:moveTo>
                    <a:pt x="974" y="349"/>
                  </a:moveTo>
                  <a:lnTo>
                    <a:pt x="974" y="347"/>
                  </a:lnTo>
                  <a:lnTo>
                    <a:pt x="976" y="335"/>
                  </a:lnTo>
                  <a:lnTo>
                    <a:pt x="978" y="323"/>
                  </a:lnTo>
                  <a:lnTo>
                    <a:pt x="979" y="311"/>
                  </a:lnTo>
                  <a:lnTo>
                    <a:pt x="980" y="300"/>
                  </a:lnTo>
                  <a:lnTo>
                    <a:pt x="981" y="279"/>
                  </a:lnTo>
                  <a:lnTo>
                    <a:pt x="981" y="257"/>
                  </a:lnTo>
                  <a:lnTo>
                    <a:pt x="981" y="237"/>
                  </a:lnTo>
                  <a:lnTo>
                    <a:pt x="979" y="217"/>
                  </a:lnTo>
                  <a:lnTo>
                    <a:pt x="976" y="198"/>
                  </a:lnTo>
                  <a:lnTo>
                    <a:pt x="973" y="179"/>
                  </a:lnTo>
                  <a:lnTo>
                    <a:pt x="969" y="162"/>
                  </a:lnTo>
                  <a:lnTo>
                    <a:pt x="964" y="145"/>
                  </a:lnTo>
                  <a:lnTo>
                    <a:pt x="957" y="130"/>
                  </a:lnTo>
                  <a:lnTo>
                    <a:pt x="949" y="115"/>
                  </a:lnTo>
                  <a:lnTo>
                    <a:pt x="942" y="101"/>
                  </a:lnTo>
                  <a:lnTo>
                    <a:pt x="932" y="87"/>
                  </a:lnTo>
                  <a:lnTo>
                    <a:pt x="922" y="75"/>
                  </a:lnTo>
                  <a:lnTo>
                    <a:pt x="911" y="64"/>
                  </a:lnTo>
                  <a:lnTo>
                    <a:pt x="899" y="53"/>
                  </a:lnTo>
                  <a:lnTo>
                    <a:pt x="886" y="44"/>
                  </a:lnTo>
                  <a:lnTo>
                    <a:pt x="871" y="36"/>
                  </a:lnTo>
                  <a:lnTo>
                    <a:pt x="854" y="28"/>
                  </a:lnTo>
                  <a:lnTo>
                    <a:pt x="837" y="23"/>
                  </a:lnTo>
                  <a:lnTo>
                    <a:pt x="820" y="20"/>
                  </a:lnTo>
                  <a:lnTo>
                    <a:pt x="802" y="17"/>
                  </a:lnTo>
                  <a:lnTo>
                    <a:pt x="782" y="17"/>
                  </a:lnTo>
                  <a:lnTo>
                    <a:pt x="763" y="18"/>
                  </a:lnTo>
                  <a:lnTo>
                    <a:pt x="743" y="21"/>
                  </a:lnTo>
                  <a:lnTo>
                    <a:pt x="723" y="25"/>
                  </a:lnTo>
                  <a:lnTo>
                    <a:pt x="702" y="31"/>
                  </a:lnTo>
                  <a:lnTo>
                    <a:pt x="682" y="38"/>
                  </a:lnTo>
                  <a:lnTo>
                    <a:pt x="661" y="47"/>
                  </a:lnTo>
                  <a:lnTo>
                    <a:pt x="640" y="57"/>
                  </a:lnTo>
                  <a:lnTo>
                    <a:pt x="618" y="68"/>
                  </a:lnTo>
                  <a:lnTo>
                    <a:pt x="596" y="81"/>
                  </a:lnTo>
                  <a:lnTo>
                    <a:pt x="575" y="95"/>
                  </a:lnTo>
                  <a:lnTo>
                    <a:pt x="547" y="75"/>
                  </a:lnTo>
                  <a:lnTo>
                    <a:pt x="519" y="56"/>
                  </a:lnTo>
                  <a:lnTo>
                    <a:pt x="489" y="40"/>
                  </a:lnTo>
                  <a:lnTo>
                    <a:pt x="462" y="26"/>
                  </a:lnTo>
                  <a:lnTo>
                    <a:pt x="448" y="20"/>
                  </a:lnTo>
                  <a:lnTo>
                    <a:pt x="434" y="15"/>
                  </a:lnTo>
                  <a:lnTo>
                    <a:pt x="420" y="10"/>
                  </a:lnTo>
                  <a:lnTo>
                    <a:pt x="407" y="7"/>
                  </a:lnTo>
                  <a:lnTo>
                    <a:pt x="393" y="3"/>
                  </a:lnTo>
                  <a:lnTo>
                    <a:pt x="380" y="1"/>
                  </a:lnTo>
                  <a:lnTo>
                    <a:pt x="367" y="0"/>
                  </a:lnTo>
                  <a:lnTo>
                    <a:pt x="354" y="0"/>
                  </a:lnTo>
                  <a:lnTo>
                    <a:pt x="340" y="0"/>
                  </a:lnTo>
                  <a:lnTo>
                    <a:pt x="325" y="2"/>
                  </a:lnTo>
                  <a:lnTo>
                    <a:pt x="312" y="4"/>
                  </a:lnTo>
                  <a:lnTo>
                    <a:pt x="298" y="8"/>
                  </a:lnTo>
                  <a:lnTo>
                    <a:pt x="285" y="11"/>
                  </a:lnTo>
                  <a:lnTo>
                    <a:pt x="272" y="16"/>
                  </a:lnTo>
                  <a:lnTo>
                    <a:pt x="261" y="23"/>
                  </a:lnTo>
                  <a:lnTo>
                    <a:pt x="250" y="29"/>
                  </a:lnTo>
                  <a:lnTo>
                    <a:pt x="237" y="39"/>
                  </a:lnTo>
                  <a:lnTo>
                    <a:pt x="225" y="50"/>
                  </a:lnTo>
                  <a:lnTo>
                    <a:pt x="214" y="62"/>
                  </a:lnTo>
                  <a:lnTo>
                    <a:pt x="204" y="75"/>
                  </a:lnTo>
                  <a:lnTo>
                    <a:pt x="195" y="90"/>
                  </a:lnTo>
                  <a:lnTo>
                    <a:pt x="187" y="106"/>
                  </a:lnTo>
                  <a:lnTo>
                    <a:pt x="180" y="122"/>
                  </a:lnTo>
                  <a:lnTo>
                    <a:pt x="173" y="141"/>
                  </a:lnTo>
                  <a:lnTo>
                    <a:pt x="168" y="159"/>
                  </a:lnTo>
                  <a:lnTo>
                    <a:pt x="163" y="178"/>
                  </a:lnTo>
                  <a:lnTo>
                    <a:pt x="159" y="199"/>
                  </a:lnTo>
                  <a:lnTo>
                    <a:pt x="157" y="219"/>
                  </a:lnTo>
                  <a:lnTo>
                    <a:pt x="156" y="241"/>
                  </a:lnTo>
                  <a:lnTo>
                    <a:pt x="155" y="263"/>
                  </a:lnTo>
                  <a:lnTo>
                    <a:pt x="156" y="284"/>
                  </a:lnTo>
                  <a:lnTo>
                    <a:pt x="157" y="307"/>
                  </a:lnTo>
                  <a:lnTo>
                    <a:pt x="157" y="307"/>
                  </a:lnTo>
                  <a:lnTo>
                    <a:pt x="167" y="301"/>
                  </a:lnTo>
                  <a:lnTo>
                    <a:pt x="176" y="297"/>
                  </a:lnTo>
                  <a:lnTo>
                    <a:pt x="186" y="292"/>
                  </a:lnTo>
                  <a:lnTo>
                    <a:pt x="197" y="287"/>
                  </a:lnTo>
                  <a:lnTo>
                    <a:pt x="196" y="269"/>
                  </a:lnTo>
                  <a:lnTo>
                    <a:pt x="196" y="252"/>
                  </a:lnTo>
                  <a:lnTo>
                    <a:pt x="197" y="233"/>
                  </a:lnTo>
                  <a:lnTo>
                    <a:pt x="199" y="216"/>
                  </a:lnTo>
                  <a:lnTo>
                    <a:pt x="201" y="200"/>
                  </a:lnTo>
                  <a:lnTo>
                    <a:pt x="204" y="184"/>
                  </a:lnTo>
                  <a:lnTo>
                    <a:pt x="208" y="168"/>
                  </a:lnTo>
                  <a:lnTo>
                    <a:pt x="212" y="152"/>
                  </a:lnTo>
                  <a:lnTo>
                    <a:pt x="217" y="137"/>
                  </a:lnTo>
                  <a:lnTo>
                    <a:pt x="223" y="124"/>
                  </a:lnTo>
                  <a:lnTo>
                    <a:pt x="229" y="111"/>
                  </a:lnTo>
                  <a:lnTo>
                    <a:pt x="237" y="99"/>
                  </a:lnTo>
                  <a:lnTo>
                    <a:pt x="244" y="89"/>
                  </a:lnTo>
                  <a:lnTo>
                    <a:pt x="253" y="79"/>
                  </a:lnTo>
                  <a:lnTo>
                    <a:pt x="262" y="70"/>
                  </a:lnTo>
                  <a:lnTo>
                    <a:pt x="271" y="64"/>
                  </a:lnTo>
                  <a:lnTo>
                    <a:pt x="280" y="58"/>
                  </a:lnTo>
                  <a:lnTo>
                    <a:pt x="290" y="53"/>
                  </a:lnTo>
                  <a:lnTo>
                    <a:pt x="299" y="50"/>
                  </a:lnTo>
                  <a:lnTo>
                    <a:pt x="310" y="47"/>
                  </a:lnTo>
                  <a:lnTo>
                    <a:pt x="321" y="43"/>
                  </a:lnTo>
                  <a:lnTo>
                    <a:pt x="332" y="42"/>
                  </a:lnTo>
                  <a:lnTo>
                    <a:pt x="343" y="41"/>
                  </a:lnTo>
                  <a:lnTo>
                    <a:pt x="354" y="40"/>
                  </a:lnTo>
                  <a:lnTo>
                    <a:pt x="365" y="41"/>
                  </a:lnTo>
                  <a:lnTo>
                    <a:pt x="376" y="42"/>
                  </a:lnTo>
                  <a:lnTo>
                    <a:pt x="387" y="43"/>
                  </a:lnTo>
                  <a:lnTo>
                    <a:pt x="399" y="47"/>
                  </a:lnTo>
                  <a:lnTo>
                    <a:pt x="410" y="50"/>
                  </a:lnTo>
                  <a:lnTo>
                    <a:pt x="421" y="53"/>
                  </a:lnTo>
                  <a:lnTo>
                    <a:pt x="433" y="57"/>
                  </a:lnTo>
                  <a:lnTo>
                    <a:pt x="444" y="63"/>
                  </a:lnTo>
                  <a:lnTo>
                    <a:pt x="468" y="74"/>
                  </a:lnTo>
                  <a:lnTo>
                    <a:pt x="492" y="88"/>
                  </a:lnTo>
                  <a:lnTo>
                    <a:pt x="516" y="104"/>
                  </a:lnTo>
                  <a:lnTo>
                    <a:pt x="540" y="121"/>
                  </a:lnTo>
                  <a:lnTo>
                    <a:pt x="523" y="134"/>
                  </a:lnTo>
                  <a:lnTo>
                    <a:pt x="507" y="148"/>
                  </a:lnTo>
                  <a:lnTo>
                    <a:pt x="491" y="163"/>
                  </a:lnTo>
                  <a:lnTo>
                    <a:pt x="473" y="178"/>
                  </a:lnTo>
                  <a:lnTo>
                    <a:pt x="457" y="195"/>
                  </a:lnTo>
                  <a:lnTo>
                    <a:pt x="441" y="212"/>
                  </a:lnTo>
                  <a:lnTo>
                    <a:pt x="425" y="229"/>
                  </a:lnTo>
                  <a:lnTo>
                    <a:pt x="410" y="247"/>
                  </a:lnTo>
                  <a:lnTo>
                    <a:pt x="379" y="253"/>
                  </a:lnTo>
                  <a:lnTo>
                    <a:pt x="351" y="258"/>
                  </a:lnTo>
                  <a:lnTo>
                    <a:pt x="323" y="264"/>
                  </a:lnTo>
                  <a:lnTo>
                    <a:pt x="296" y="271"/>
                  </a:lnTo>
                  <a:lnTo>
                    <a:pt x="269" y="279"/>
                  </a:lnTo>
                  <a:lnTo>
                    <a:pt x="244" y="287"/>
                  </a:lnTo>
                  <a:lnTo>
                    <a:pt x="219" y="297"/>
                  </a:lnTo>
                  <a:lnTo>
                    <a:pt x="197" y="307"/>
                  </a:lnTo>
                  <a:lnTo>
                    <a:pt x="186" y="312"/>
                  </a:lnTo>
                  <a:lnTo>
                    <a:pt x="176" y="318"/>
                  </a:lnTo>
                  <a:lnTo>
                    <a:pt x="167" y="322"/>
                  </a:lnTo>
                  <a:lnTo>
                    <a:pt x="157" y="327"/>
                  </a:lnTo>
                  <a:lnTo>
                    <a:pt x="139" y="338"/>
                  </a:lnTo>
                  <a:lnTo>
                    <a:pt x="122" y="349"/>
                  </a:lnTo>
                  <a:lnTo>
                    <a:pt x="106" y="360"/>
                  </a:lnTo>
                  <a:lnTo>
                    <a:pt x="91" y="372"/>
                  </a:lnTo>
                  <a:lnTo>
                    <a:pt x="77" y="385"/>
                  </a:lnTo>
                  <a:lnTo>
                    <a:pt x="65" y="396"/>
                  </a:lnTo>
                  <a:lnTo>
                    <a:pt x="53" y="409"/>
                  </a:lnTo>
                  <a:lnTo>
                    <a:pt x="42" y="423"/>
                  </a:lnTo>
                  <a:lnTo>
                    <a:pt x="33" y="438"/>
                  </a:lnTo>
                  <a:lnTo>
                    <a:pt x="24" y="452"/>
                  </a:lnTo>
                  <a:lnTo>
                    <a:pt x="18" y="466"/>
                  </a:lnTo>
                  <a:lnTo>
                    <a:pt x="11" y="481"/>
                  </a:lnTo>
                  <a:lnTo>
                    <a:pt x="7" y="495"/>
                  </a:lnTo>
                  <a:lnTo>
                    <a:pt x="4" y="510"/>
                  </a:lnTo>
                  <a:lnTo>
                    <a:pt x="1" y="526"/>
                  </a:lnTo>
                  <a:lnTo>
                    <a:pt x="0" y="541"/>
                  </a:lnTo>
                  <a:lnTo>
                    <a:pt x="1" y="558"/>
                  </a:lnTo>
                  <a:lnTo>
                    <a:pt x="4" y="575"/>
                  </a:lnTo>
                  <a:lnTo>
                    <a:pt x="7" y="590"/>
                  </a:lnTo>
                  <a:lnTo>
                    <a:pt x="12" y="606"/>
                  </a:lnTo>
                  <a:lnTo>
                    <a:pt x="19" y="621"/>
                  </a:lnTo>
                  <a:lnTo>
                    <a:pt x="27" y="636"/>
                  </a:lnTo>
                  <a:lnTo>
                    <a:pt x="36" y="651"/>
                  </a:lnTo>
                  <a:lnTo>
                    <a:pt x="47" y="665"/>
                  </a:lnTo>
                  <a:lnTo>
                    <a:pt x="59" y="679"/>
                  </a:lnTo>
                  <a:lnTo>
                    <a:pt x="72" y="692"/>
                  </a:lnTo>
                  <a:lnTo>
                    <a:pt x="86" y="705"/>
                  </a:lnTo>
                  <a:lnTo>
                    <a:pt x="101" y="718"/>
                  </a:lnTo>
                  <a:lnTo>
                    <a:pt x="117" y="730"/>
                  </a:lnTo>
                  <a:lnTo>
                    <a:pt x="134" y="742"/>
                  </a:lnTo>
                  <a:lnTo>
                    <a:pt x="153" y="753"/>
                  </a:lnTo>
                  <a:lnTo>
                    <a:pt x="172" y="764"/>
                  </a:lnTo>
                  <a:lnTo>
                    <a:pt x="171" y="770"/>
                  </a:lnTo>
                  <a:lnTo>
                    <a:pt x="171" y="776"/>
                  </a:lnTo>
                  <a:lnTo>
                    <a:pt x="170" y="797"/>
                  </a:lnTo>
                  <a:lnTo>
                    <a:pt x="169" y="819"/>
                  </a:lnTo>
                  <a:lnTo>
                    <a:pt x="170" y="839"/>
                  </a:lnTo>
                  <a:lnTo>
                    <a:pt x="172" y="859"/>
                  </a:lnTo>
                  <a:lnTo>
                    <a:pt x="174" y="877"/>
                  </a:lnTo>
                  <a:lnTo>
                    <a:pt x="177" y="895"/>
                  </a:lnTo>
                  <a:lnTo>
                    <a:pt x="182" y="913"/>
                  </a:lnTo>
                  <a:lnTo>
                    <a:pt x="187" y="930"/>
                  </a:lnTo>
                  <a:lnTo>
                    <a:pt x="194" y="946"/>
                  </a:lnTo>
                  <a:lnTo>
                    <a:pt x="201" y="961"/>
                  </a:lnTo>
                  <a:lnTo>
                    <a:pt x="209" y="975"/>
                  </a:lnTo>
                  <a:lnTo>
                    <a:pt x="218" y="988"/>
                  </a:lnTo>
                  <a:lnTo>
                    <a:pt x="228" y="1000"/>
                  </a:lnTo>
                  <a:lnTo>
                    <a:pt x="239" y="1011"/>
                  </a:lnTo>
                  <a:lnTo>
                    <a:pt x="251" y="1022"/>
                  </a:lnTo>
                  <a:lnTo>
                    <a:pt x="264" y="1030"/>
                  </a:lnTo>
                  <a:lnTo>
                    <a:pt x="279" y="1039"/>
                  </a:lnTo>
                  <a:lnTo>
                    <a:pt x="295" y="1046"/>
                  </a:lnTo>
                  <a:lnTo>
                    <a:pt x="312" y="1051"/>
                  </a:lnTo>
                  <a:lnTo>
                    <a:pt x="330" y="1055"/>
                  </a:lnTo>
                  <a:lnTo>
                    <a:pt x="347" y="1057"/>
                  </a:lnTo>
                  <a:lnTo>
                    <a:pt x="365" y="1057"/>
                  </a:lnTo>
                  <a:lnTo>
                    <a:pt x="384" y="1056"/>
                  </a:lnTo>
                  <a:lnTo>
                    <a:pt x="403" y="1054"/>
                  </a:lnTo>
                  <a:lnTo>
                    <a:pt x="423" y="1051"/>
                  </a:lnTo>
                  <a:lnTo>
                    <a:pt x="443" y="1046"/>
                  </a:lnTo>
                  <a:lnTo>
                    <a:pt x="464" y="1039"/>
                  </a:lnTo>
                  <a:lnTo>
                    <a:pt x="484" y="1030"/>
                  </a:lnTo>
                  <a:lnTo>
                    <a:pt x="505" y="1021"/>
                  </a:lnTo>
                  <a:lnTo>
                    <a:pt x="525" y="1010"/>
                  </a:lnTo>
                  <a:lnTo>
                    <a:pt x="547" y="998"/>
                  </a:lnTo>
                  <a:lnTo>
                    <a:pt x="567" y="985"/>
                  </a:lnTo>
                  <a:lnTo>
                    <a:pt x="590" y="997"/>
                  </a:lnTo>
                  <a:lnTo>
                    <a:pt x="613" y="1008"/>
                  </a:lnTo>
                  <a:lnTo>
                    <a:pt x="634" y="1016"/>
                  </a:lnTo>
                  <a:lnTo>
                    <a:pt x="657" y="1024"/>
                  </a:lnTo>
                  <a:lnTo>
                    <a:pt x="678" y="1030"/>
                  </a:lnTo>
                  <a:lnTo>
                    <a:pt x="700" y="1035"/>
                  </a:lnTo>
                  <a:lnTo>
                    <a:pt x="721" y="1037"/>
                  </a:lnTo>
                  <a:lnTo>
                    <a:pt x="741" y="1038"/>
                  </a:lnTo>
                  <a:lnTo>
                    <a:pt x="756" y="1037"/>
                  </a:lnTo>
                  <a:lnTo>
                    <a:pt x="770" y="1036"/>
                  </a:lnTo>
                  <a:lnTo>
                    <a:pt x="784" y="1034"/>
                  </a:lnTo>
                  <a:lnTo>
                    <a:pt x="797" y="1030"/>
                  </a:lnTo>
                  <a:lnTo>
                    <a:pt x="810" y="1026"/>
                  </a:lnTo>
                  <a:lnTo>
                    <a:pt x="823" y="1021"/>
                  </a:lnTo>
                  <a:lnTo>
                    <a:pt x="835" y="1015"/>
                  </a:lnTo>
                  <a:lnTo>
                    <a:pt x="847" y="1008"/>
                  </a:lnTo>
                  <a:lnTo>
                    <a:pt x="859" y="1000"/>
                  </a:lnTo>
                  <a:lnTo>
                    <a:pt x="870" y="990"/>
                  </a:lnTo>
                  <a:lnTo>
                    <a:pt x="879" y="980"/>
                  </a:lnTo>
                  <a:lnTo>
                    <a:pt x="889" y="969"/>
                  </a:lnTo>
                  <a:lnTo>
                    <a:pt x="898" y="957"/>
                  </a:lnTo>
                  <a:lnTo>
                    <a:pt x="906" y="944"/>
                  </a:lnTo>
                  <a:lnTo>
                    <a:pt x="913" y="931"/>
                  </a:lnTo>
                  <a:lnTo>
                    <a:pt x="919" y="916"/>
                  </a:lnTo>
                  <a:lnTo>
                    <a:pt x="925" y="901"/>
                  </a:lnTo>
                  <a:lnTo>
                    <a:pt x="929" y="886"/>
                  </a:lnTo>
                  <a:lnTo>
                    <a:pt x="933" y="868"/>
                  </a:lnTo>
                  <a:lnTo>
                    <a:pt x="937" y="851"/>
                  </a:lnTo>
                  <a:lnTo>
                    <a:pt x="939" y="834"/>
                  </a:lnTo>
                  <a:lnTo>
                    <a:pt x="940" y="814"/>
                  </a:lnTo>
                  <a:lnTo>
                    <a:pt x="941" y="795"/>
                  </a:lnTo>
                  <a:lnTo>
                    <a:pt x="940" y="776"/>
                  </a:lnTo>
                  <a:lnTo>
                    <a:pt x="931" y="781"/>
                  </a:lnTo>
                  <a:lnTo>
                    <a:pt x="920" y="785"/>
                  </a:lnTo>
                  <a:lnTo>
                    <a:pt x="911" y="791"/>
                  </a:lnTo>
                  <a:lnTo>
                    <a:pt x="900" y="796"/>
                  </a:lnTo>
                  <a:lnTo>
                    <a:pt x="900" y="811"/>
                  </a:lnTo>
                  <a:lnTo>
                    <a:pt x="899" y="826"/>
                  </a:lnTo>
                  <a:lnTo>
                    <a:pt x="898" y="840"/>
                  </a:lnTo>
                  <a:lnTo>
                    <a:pt x="895" y="854"/>
                  </a:lnTo>
                  <a:lnTo>
                    <a:pt x="892" y="867"/>
                  </a:lnTo>
                  <a:lnTo>
                    <a:pt x="889" y="880"/>
                  </a:lnTo>
                  <a:lnTo>
                    <a:pt x="885" y="893"/>
                  </a:lnTo>
                  <a:lnTo>
                    <a:pt x="880" y="904"/>
                  </a:lnTo>
                  <a:lnTo>
                    <a:pt x="875" y="916"/>
                  </a:lnTo>
                  <a:lnTo>
                    <a:pt x="870" y="926"/>
                  </a:lnTo>
                  <a:lnTo>
                    <a:pt x="863" y="935"/>
                  </a:lnTo>
                  <a:lnTo>
                    <a:pt x="857" y="945"/>
                  </a:lnTo>
                  <a:lnTo>
                    <a:pt x="849" y="953"/>
                  </a:lnTo>
                  <a:lnTo>
                    <a:pt x="841" y="961"/>
                  </a:lnTo>
                  <a:lnTo>
                    <a:pt x="833" y="968"/>
                  </a:lnTo>
                  <a:lnTo>
                    <a:pt x="824" y="974"/>
                  </a:lnTo>
                  <a:lnTo>
                    <a:pt x="816" y="980"/>
                  </a:lnTo>
                  <a:lnTo>
                    <a:pt x="806" y="984"/>
                  </a:lnTo>
                  <a:lnTo>
                    <a:pt x="796" y="988"/>
                  </a:lnTo>
                  <a:lnTo>
                    <a:pt x="786" y="992"/>
                  </a:lnTo>
                  <a:lnTo>
                    <a:pt x="776" y="994"/>
                  </a:lnTo>
                  <a:lnTo>
                    <a:pt x="765" y="996"/>
                  </a:lnTo>
                  <a:lnTo>
                    <a:pt x="753" y="997"/>
                  </a:lnTo>
                  <a:lnTo>
                    <a:pt x="741" y="997"/>
                  </a:lnTo>
                  <a:lnTo>
                    <a:pt x="725" y="997"/>
                  </a:lnTo>
                  <a:lnTo>
                    <a:pt x="709" y="995"/>
                  </a:lnTo>
                  <a:lnTo>
                    <a:pt x="691" y="992"/>
                  </a:lnTo>
                  <a:lnTo>
                    <a:pt x="674" y="987"/>
                  </a:lnTo>
                  <a:lnTo>
                    <a:pt x="657" y="982"/>
                  </a:lnTo>
                  <a:lnTo>
                    <a:pt x="640" y="975"/>
                  </a:lnTo>
                  <a:lnTo>
                    <a:pt x="622" y="968"/>
                  </a:lnTo>
                  <a:lnTo>
                    <a:pt x="604" y="959"/>
                  </a:lnTo>
                  <a:lnTo>
                    <a:pt x="634" y="934"/>
                  </a:lnTo>
                  <a:lnTo>
                    <a:pt x="665" y="907"/>
                  </a:lnTo>
                  <a:lnTo>
                    <a:pt x="695" y="878"/>
                  </a:lnTo>
                  <a:lnTo>
                    <a:pt x="725" y="846"/>
                  </a:lnTo>
                  <a:lnTo>
                    <a:pt x="733" y="836"/>
                  </a:lnTo>
                  <a:lnTo>
                    <a:pt x="742" y="826"/>
                  </a:lnTo>
                  <a:lnTo>
                    <a:pt x="764" y="821"/>
                  </a:lnTo>
                  <a:lnTo>
                    <a:pt x="784" y="817"/>
                  </a:lnTo>
                  <a:lnTo>
                    <a:pt x="806" y="810"/>
                  </a:lnTo>
                  <a:lnTo>
                    <a:pt x="825" y="805"/>
                  </a:lnTo>
                  <a:lnTo>
                    <a:pt x="845" y="798"/>
                  </a:lnTo>
                  <a:lnTo>
                    <a:pt x="864" y="791"/>
                  </a:lnTo>
                  <a:lnTo>
                    <a:pt x="883" y="783"/>
                  </a:lnTo>
                  <a:lnTo>
                    <a:pt x="900" y="776"/>
                  </a:lnTo>
                  <a:lnTo>
                    <a:pt x="911" y="770"/>
                  </a:lnTo>
                  <a:lnTo>
                    <a:pt x="920" y="766"/>
                  </a:lnTo>
                  <a:lnTo>
                    <a:pt x="931" y="760"/>
                  </a:lnTo>
                  <a:lnTo>
                    <a:pt x="940" y="755"/>
                  </a:lnTo>
                  <a:lnTo>
                    <a:pt x="958" y="744"/>
                  </a:lnTo>
                  <a:lnTo>
                    <a:pt x="974" y="733"/>
                  </a:lnTo>
                  <a:lnTo>
                    <a:pt x="990" y="723"/>
                  </a:lnTo>
                  <a:lnTo>
                    <a:pt x="1006" y="711"/>
                  </a:lnTo>
                  <a:lnTo>
                    <a:pt x="1019" y="699"/>
                  </a:lnTo>
                  <a:lnTo>
                    <a:pt x="1032" y="686"/>
                  </a:lnTo>
                  <a:lnTo>
                    <a:pt x="1043" y="673"/>
                  </a:lnTo>
                  <a:lnTo>
                    <a:pt x="1054" y="659"/>
                  </a:lnTo>
                  <a:lnTo>
                    <a:pt x="1064" y="646"/>
                  </a:lnTo>
                  <a:lnTo>
                    <a:pt x="1071" y="632"/>
                  </a:lnTo>
                  <a:lnTo>
                    <a:pt x="1079" y="618"/>
                  </a:lnTo>
                  <a:lnTo>
                    <a:pt x="1084" y="603"/>
                  </a:lnTo>
                  <a:lnTo>
                    <a:pt x="1090" y="588"/>
                  </a:lnTo>
                  <a:lnTo>
                    <a:pt x="1093" y="573"/>
                  </a:lnTo>
                  <a:lnTo>
                    <a:pt x="1094" y="557"/>
                  </a:lnTo>
                  <a:lnTo>
                    <a:pt x="1095" y="541"/>
                  </a:lnTo>
                  <a:lnTo>
                    <a:pt x="1095" y="528"/>
                  </a:lnTo>
                  <a:lnTo>
                    <a:pt x="1093" y="514"/>
                  </a:lnTo>
                  <a:lnTo>
                    <a:pt x="1091" y="501"/>
                  </a:lnTo>
                  <a:lnTo>
                    <a:pt x="1087" y="488"/>
                  </a:lnTo>
                  <a:lnTo>
                    <a:pt x="1082" y="475"/>
                  </a:lnTo>
                  <a:lnTo>
                    <a:pt x="1077" y="462"/>
                  </a:lnTo>
                  <a:lnTo>
                    <a:pt x="1070" y="449"/>
                  </a:lnTo>
                  <a:lnTo>
                    <a:pt x="1063" y="438"/>
                  </a:lnTo>
                  <a:lnTo>
                    <a:pt x="1055" y="426"/>
                  </a:lnTo>
                  <a:lnTo>
                    <a:pt x="1046" y="414"/>
                  </a:lnTo>
                  <a:lnTo>
                    <a:pt x="1036" y="402"/>
                  </a:lnTo>
                  <a:lnTo>
                    <a:pt x="1025" y="391"/>
                  </a:lnTo>
                  <a:lnTo>
                    <a:pt x="1013" y="380"/>
                  </a:lnTo>
                  <a:lnTo>
                    <a:pt x="1001" y="369"/>
                  </a:lnTo>
                  <a:lnTo>
                    <a:pt x="987" y="360"/>
                  </a:lnTo>
                  <a:lnTo>
                    <a:pt x="974" y="349"/>
                  </a:lnTo>
                  <a:close/>
                  <a:moveTo>
                    <a:pt x="473" y="238"/>
                  </a:moveTo>
                  <a:lnTo>
                    <a:pt x="498" y="213"/>
                  </a:lnTo>
                  <a:lnTo>
                    <a:pt x="523" y="189"/>
                  </a:lnTo>
                  <a:lnTo>
                    <a:pt x="548" y="168"/>
                  </a:lnTo>
                  <a:lnTo>
                    <a:pt x="574" y="147"/>
                  </a:lnTo>
                  <a:lnTo>
                    <a:pt x="594" y="165"/>
                  </a:lnTo>
                  <a:lnTo>
                    <a:pt x="615" y="184"/>
                  </a:lnTo>
                  <a:lnTo>
                    <a:pt x="635" y="203"/>
                  </a:lnTo>
                  <a:lnTo>
                    <a:pt x="655" y="224"/>
                  </a:lnTo>
                  <a:lnTo>
                    <a:pt x="671" y="226"/>
                  </a:lnTo>
                  <a:lnTo>
                    <a:pt x="687" y="227"/>
                  </a:lnTo>
                  <a:lnTo>
                    <a:pt x="702" y="230"/>
                  </a:lnTo>
                  <a:lnTo>
                    <a:pt x="718" y="232"/>
                  </a:lnTo>
                  <a:lnTo>
                    <a:pt x="691" y="203"/>
                  </a:lnTo>
                  <a:lnTo>
                    <a:pt x="664" y="175"/>
                  </a:lnTo>
                  <a:lnTo>
                    <a:pt x="636" y="148"/>
                  </a:lnTo>
                  <a:lnTo>
                    <a:pt x="608" y="123"/>
                  </a:lnTo>
                  <a:lnTo>
                    <a:pt x="627" y="111"/>
                  </a:lnTo>
                  <a:lnTo>
                    <a:pt x="644" y="101"/>
                  </a:lnTo>
                  <a:lnTo>
                    <a:pt x="662" y="92"/>
                  </a:lnTo>
                  <a:lnTo>
                    <a:pt x="680" y="83"/>
                  </a:lnTo>
                  <a:lnTo>
                    <a:pt x="697" y="77"/>
                  </a:lnTo>
                  <a:lnTo>
                    <a:pt x="714" y="71"/>
                  </a:lnTo>
                  <a:lnTo>
                    <a:pt x="731" y="66"/>
                  </a:lnTo>
                  <a:lnTo>
                    <a:pt x="748" y="63"/>
                  </a:lnTo>
                  <a:lnTo>
                    <a:pt x="764" y="61"/>
                  </a:lnTo>
                  <a:lnTo>
                    <a:pt x="780" y="60"/>
                  </a:lnTo>
                  <a:lnTo>
                    <a:pt x="795" y="60"/>
                  </a:lnTo>
                  <a:lnTo>
                    <a:pt x="810" y="62"/>
                  </a:lnTo>
                  <a:lnTo>
                    <a:pt x="824" y="64"/>
                  </a:lnTo>
                  <a:lnTo>
                    <a:pt x="837" y="68"/>
                  </a:lnTo>
                  <a:lnTo>
                    <a:pt x="850" y="74"/>
                  </a:lnTo>
                  <a:lnTo>
                    <a:pt x="863" y="81"/>
                  </a:lnTo>
                  <a:lnTo>
                    <a:pt x="873" y="88"/>
                  </a:lnTo>
                  <a:lnTo>
                    <a:pt x="883" y="95"/>
                  </a:lnTo>
                  <a:lnTo>
                    <a:pt x="891" y="104"/>
                  </a:lnTo>
                  <a:lnTo>
                    <a:pt x="899" y="114"/>
                  </a:lnTo>
                  <a:lnTo>
                    <a:pt x="906" y="124"/>
                  </a:lnTo>
                  <a:lnTo>
                    <a:pt x="913" y="135"/>
                  </a:lnTo>
                  <a:lnTo>
                    <a:pt x="918" y="147"/>
                  </a:lnTo>
                  <a:lnTo>
                    <a:pt x="924" y="159"/>
                  </a:lnTo>
                  <a:lnTo>
                    <a:pt x="928" y="173"/>
                  </a:lnTo>
                  <a:lnTo>
                    <a:pt x="931" y="186"/>
                  </a:lnTo>
                  <a:lnTo>
                    <a:pt x="934" y="201"/>
                  </a:lnTo>
                  <a:lnTo>
                    <a:pt x="937" y="216"/>
                  </a:lnTo>
                  <a:lnTo>
                    <a:pt x="939" y="231"/>
                  </a:lnTo>
                  <a:lnTo>
                    <a:pt x="940" y="247"/>
                  </a:lnTo>
                  <a:lnTo>
                    <a:pt x="940" y="264"/>
                  </a:lnTo>
                  <a:lnTo>
                    <a:pt x="940" y="281"/>
                  </a:lnTo>
                  <a:lnTo>
                    <a:pt x="939" y="292"/>
                  </a:lnTo>
                  <a:lnTo>
                    <a:pt x="938" y="303"/>
                  </a:lnTo>
                  <a:lnTo>
                    <a:pt x="937" y="314"/>
                  </a:lnTo>
                  <a:lnTo>
                    <a:pt x="935" y="325"/>
                  </a:lnTo>
                  <a:lnTo>
                    <a:pt x="913" y="313"/>
                  </a:lnTo>
                  <a:lnTo>
                    <a:pt x="888" y="303"/>
                  </a:lnTo>
                  <a:lnTo>
                    <a:pt x="862" y="292"/>
                  </a:lnTo>
                  <a:lnTo>
                    <a:pt x="835" y="282"/>
                  </a:lnTo>
                  <a:lnTo>
                    <a:pt x="808" y="273"/>
                  </a:lnTo>
                  <a:lnTo>
                    <a:pt x="779" y="266"/>
                  </a:lnTo>
                  <a:lnTo>
                    <a:pt x="749" y="258"/>
                  </a:lnTo>
                  <a:lnTo>
                    <a:pt x="718" y="253"/>
                  </a:lnTo>
                  <a:lnTo>
                    <a:pt x="702" y="250"/>
                  </a:lnTo>
                  <a:lnTo>
                    <a:pt x="687" y="247"/>
                  </a:lnTo>
                  <a:lnTo>
                    <a:pt x="671" y="245"/>
                  </a:lnTo>
                  <a:lnTo>
                    <a:pt x="655" y="244"/>
                  </a:lnTo>
                  <a:lnTo>
                    <a:pt x="629" y="241"/>
                  </a:lnTo>
                  <a:lnTo>
                    <a:pt x="602" y="240"/>
                  </a:lnTo>
                  <a:lnTo>
                    <a:pt x="575" y="239"/>
                  </a:lnTo>
                  <a:lnTo>
                    <a:pt x="548" y="238"/>
                  </a:lnTo>
                  <a:lnTo>
                    <a:pt x="528" y="239"/>
                  </a:lnTo>
                  <a:lnTo>
                    <a:pt x="509" y="239"/>
                  </a:lnTo>
                  <a:lnTo>
                    <a:pt x="489" y="240"/>
                  </a:lnTo>
                  <a:lnTo>
                    <a:pt x="470" y="241"/>
                  </a:lnTo>
                  <a:lnTo>
                    <a:pt x="472" y="239"/>
                  </a:lnTo>
                  <a:lnTo>
                    <a:pt x="473" y="238"/>
                  </a:lnTo>
                  <a:close/>
                  <a:moveTo>
                    <a:pt x="41" y="541"/>
                  </a:moveTo>
                  <a:lnTo>
                    <a:pt x="41" y="529"/>
                  </a:lnTo>
                  <a:lnTo>
                    <a:pt x="43" y="517"/>
                  </a:lnTo>
                  <a:lnTo>
                    <a:pt x="46" y="506"/>
                  </a:lnTo>
                  <a:lnTo>
                    <a:pt x="49" y="494"/>
                  </a:lnTo>
                  <a:lnTo>
                    <a:pt x="54" y="483"/>
                  </a:lnTo>
                  <a:lnTo>
                    <a:pt x="60" y="471"/>
                  </a:lnTo>
                  <a:lnTo>
                    <a:pt x="66" y="460"/>
                  </a:lnTo>
                  <a:lnTo>
                    <a:pt x="74" y="449"/>
                  </a:lnTo>
                  <a:lnTo>
                    <a:pt x="81" y="439"/>
                  </a:lnTo>
                  <a:lnTo>
                    <a:pt x="91" y="428"/>
                  </a:lnTo>
                  <a:lnTo>
                    <a:pt x="101" y="418"/>
                  </a:lnTo>
                  <a:lnTo>
                    <a:pt x="112" y="408"/>
                  </a:lnTo>
                  <a:lnTo>
                    <a:pt x="123" y="399"/>
                  </a:lnTo>
                  <a:lnTo>
                    <a:pt x="135" y="389"/>
                  </a:lnTo>
                  <a:lnTo>
                    <a:pt x="148" y="380"/>
                  </a:lnTo>
                  <a:lnTo>
                    <a:pt x="162" y="372"/>
                  </a:lnTo>
                  <a:lnTo>
                    <a:pt x="171" y="366"/>
                  </a:lnTo>
                  <a:lnTo>
                    <a:pt x="181" y="361"/>
                  </a:lnTo>
                  <a:lnTo>
                    <a:pt x="190" y="355"/>
                  </a:lnTo>
                  <a:lnTo>
                    <a:pt x="200" y="350"/>
                  </a:lnTo>
                  <a:lnTo>
                    <a:pt x="219" y="341"/>
                  </a:lnTo>
                  <a:lnTo>
                    <a:pt x="239" y="334"/>
                  </a:lnTo>
                  <a:lnTo>
                    <a:pt x="259" y="326"/>
                  </a:lnTo>
                  <a:lnTo>
                    <a:pt x="280" y="319"/>
                  </a:lnTo>
                  <a:lnTo>
                    <a:pt x="302" y="312"/>
                  </a:lnTo>
                  <a:lnTo>
                    <a:pt x="324" y="306"/>
                  </a:lnTo>
                  <a:lnTo>
                    <a:pt x="348" y="300"/>
                  </a:lnTo>
                  <a:lnTo>
                    <a:pt x="372" y="296"/>
                  </a:lnTo>
                  <a:lnTo>
                    <a:pt x="367" y="300"/>
                  </a:lnTo>
                  <a:lnTo>
                    <a:pt x="364" y="306"/>
                  </a:lnTo>
                  <a:lnTo>
                    <a:pt x="351" y="322"/>
                  </a:lnTo>
                  <a:lnTo>
                    <a:pt x="339" y="339"/>
                  </a:lnTo>
                  <a:lnTo>
                    <a:pt x="329" y="357"/>
                  </a:lnTo>
                  <a:lnTo>
                    <a:pt x="317" y="374"/>
                  </a:lnTo>
                  <a:lnTo>
                    <a:pt x="296" y="408"/>
                  </a:lnTo>
                  <a:lnTo>
                    <a:pt x="278" y="442"/>
                  </a:lnTo>
                  <a:lnTo>
                    <a:pt x="259" y="475"/>
                  </a:lnTo>
                  <a:lnTo>
                    <a:pt x="244" y="509"/>
                  </a:lnTo>
                  <a:lnTo>
                    <a:pt x="232" y="474"/>
                  </a:lnTo>
                  <a:lnTo>
                    <a:pt x="223" y="441"/>
                  </a:lnTo>
                  <a:lnTo>
                    <a:pt x="218" y="423"/>
                  </a:lnTo>
                  <a:lnTo>
                    <a:pt x="214" y="406"/>
                  </a:lnTo>
                  <a:lnTo>
                    <a:pt x="211" y="389"/>
                  </a:lnTo>
                  <a:lnTo>
                    <a:pt x="209" y="371"/>
                  </a:lnTo>
                  <a:lnTo>
                    <a:pt x="199" y="376"/>
                  </a:lnTo>
                  <a:lnTo>
                    <a:pt x="189" y="381"/>
                  </a:lnTo>
                  <a:lnTo>
                    <a:pt x="180" y="387"/>
                  </a:lnTo>
                  <a:lnTo>
                    <a:pt x="170" y="392"/>
                  </a:lnTo>
                  <a:lnTo>
                    <a:pt x="174" y="414"/>
                  </a:lnTo>
                  <a:lnTo>
                    <a:pt x="178" y="436"/>
                  </a:lnTo>
                  <a:lnTo>
                    <a:pt x="184" y="458"/>
                  </a:lnTo>
                  <a:lnTo>
                    <a:pt x="189" y="480"/>
                  </a:lnTo>
                  <a:lnTo>
                    <a:pt x="197" y="501"/>
                  </a:lnTo>
                  <a:lnTo>
                    <a:pt x="203" y="522"/>
                  </a:lnTo>
                  <a:lnTo>
                    <a:pt x="212" y="543"/>
                  </a:lnTo>
                  <a:lnTo>
                    <a:pt x="221" y="565"/>
                  </a:lnTo>
                  <a:lnTo>
                    <a:pt x="207" y="605"/>
                  </a:lnTo>
                  <a:lnTo>
                    <a:pt x="195" y="645"/>
                  </a:lnTo>
                  <a:lnTo>
                    <a:pt x="185" y="683"/>
                  </a:lnTo>
                  <a:lnTo>
                    <a:pt x="177" y="720"/>
                  </a:lnTo>
                  <a:lnTo>
                    <a:pt x="162" y="712"/>
                  </a:lnTo>
                  <a:lnTo>
                    <a:pt x="147" y="702"/>
                  </a:lnTo>
                  <a:lnTo>
                    <a:pt x="133" y="692"/>
                  </a:lnTo>
                  <a:lnTo>
                    <a:pt x="120" y="683"/>
                  </a:lnTo>
                  <a:lnTo>
                    <a:pt x="108" y="672"/>
                  </a:lnTo>
                  <a:lnTo>
                    <a:pt x="97" y="661"/>
                  </a:lnTo>
                  <a:lnTo>
                    <a:pt x="87" y="650"/>
                  </a:lnTo>
                  <a:lnTo>
                    <a:pt x="78" y="639"/>
                  </a:lnTo>
                  <a:lnTo>
                    <a:pt x="69" y="628"/>
                  </a:lnTo>
                  <a:lnTo>
                    <a:pt x="62" y="616"/>
                  </a:lnTo>
                  <a:lnTo>
                    <a:pt x="55" y="604"/>
                  </a:lnTo>
                  <a:lnTo>
                    <a:pt x="50" y="592"/>
                  </a:lnTo>
                  <a:lnTo>
                    <a:pt x="47" y="580"/>
                  </a:lnTo>
                  <a:lnTo>
                    <a:pt x="43" y="567"/>
                  </a:lnTo>
                  <a:lnTo>
                    <a:pt x="41" y="554"/>
                  </a:lnTo>
                  <a:lnTo>
                    <a:pt x="41" y="541"/>
                  </a:lnTo>
                  <a:close/>
                  <a:moveTo>
                    <a:pt x="659" y="855"/>
                  </a:moveTo>
                  <a:lnTo>
                    <a:pt x="635" y="878"/>
                  </a:lnTo>
                  <a:lnTo>
                    <a:pt x="611" y="900"/>
                  </a:lnTo>
                  <a:lnTo>
                    <a:pt x="589" y="918"/>
                  </a:lnTo>
                  <a:lnTo>
                    <a:pt x="565" y="936"/>
                  </a:lnTo>
                  <a:lnTo>
                    <a:pt x="540" y="920"/>
                  </a:lnTo>
                  <a:lnTo>
                    <a:pt x="516" y="902"/>
                  </a:lnTo>
                  <a:lnTo>
                    <a:pt x="493" y="884"/>
                  </a:lnTo>
                  <a:lnTo>
                    <a:pt x="470" y="862"/>
                  </a:lnTo>
                  <a:lnTo>
                    <a:pt x="453" y="861"/>
                  </a:lnTo>
                  <a:lnTo>
                    <a:pt x="437" y="859"/>
                  </a:lnTo>
                  <a:lnTo>
                    <a:pt x="420" y="858"/>
                  </a:lnTo>
                  <a:lnTo>
                    <a:pt x="405" y="855"/>
                  </a:lnTo>
                  <a:lnTo>
                    <a:pt x="435" y="885"/>
                  </a:lnTo>
                  <a:lnTo>
                    <a:pt x="466" y="913"/>
                  </a:lnTo>
                  <a:lnTo>
                    <a:pt x="482" y="926"/>
                  </a:lnTo>
                  <a:lnTo>
                    <a:pt x="497" y="938"/>
                  </a:lnTo>
                  <a:lnTo>
                    <a:pt x="513" y="949"/>
                  </a:lnTo>
                  <a:lnTo>
                    <a:pt x="528" y="960"/>
                  </a:lnTo>
                  <a:lnTo>
                    <a:pt x="511" y="971"/>
                  </a:lnTo>
                  <a:lnTo>
                    <a:pt x="494" y="980"/>
                  </a:lnTo>
                  <a:lnTo>
                    <a:pt x="478" y="988"/>
                  </a:lnTo>
                  <a:lnTo>
                    <a:pt x="460" y="995"/>
                  </a:lnTo>
                  <a:lnTo>
                    <a:pt x="444" y="1001"/>
                  </a:lnTo>
                  <a:lnTo>
                    <a:pt x="428" y="1007"/>
                  </a:lnTo>
                  <a:lnTo>
                    <a:pt x="412" y="1010"/>
                  </a:lnTo>
                  <a:lnTo>
                    <a:pt x="397" y="1013"/>
                  </a:lnTo>
                  <a:lnTo>
                    <a:pt x="381" y="1015"/>
                  </a:lnTo>
                  <a:lnTo>
                    <a:pt x="366" y="1015"/>
                  </a:lnTo>
                  <a:lnTo>
                    <a:pt x="352" y="1015"/>
                  </a:lnTo>
                  <a:lnTo>
                    <a:pt x="338" y="1013"/>
                  </a:lnTo>
                  <a:lnTo>
                    <a:pt x="324" y="1010"/>
                  </a:lnTo>
                  <a:lnTo>
                    <a:pt x="311" y="1006"/>
                  </a:lnTo>
                  <a:lnTo>
                    <a:pt x="299" y="1000"/>
                  </a:lnTo>
                  <a:lnTo>
                    <a:pt x="288" y="994"/>
                  </a:lnTo>
                  <a:lnTo>
                    <a:pt x="278" y="987"/>
                  </a:lnTo>
                  <a:lnTo>
                    <a:pt x="268" y="980"/>
                  </a:lnTo>
                  <a:lnTo>
                    <a:pt x="259" y="971"/>
                  </a:lnTo>
                  <a:lnTo>
                    <a:pt x="252" y="961"/>
                  </a:lnTo>
                  <a:lnTo>
                    <a:pt x="244" y="952"/>
                  </a:lnTo>
                  <a:lnTo>
                    <a:pt x="238" y="941"/>
                  </a:lnTo>
                  <a:lnTo>
                    <a:pt x="232" y="929"/>
                  </a:lnTo>
                  <a:lnTo>
                    <a:pt x="227" y="917"/>
                  </a:lnTo>
                  <a:lnTo>
                    <a:pt x="223" y="904"/>
                  </a:lnTo>
                  <a:lnTo>
                    <a:pt x="219" y="890"/>
                  </a:lnTo>
                  <a:lnTo>
                    <a:pt x="216" y="876"/>
                  </a:lnTo>
                  <a:lnTo>
                    <a:pt x="214" y="861"/>
                  </a:lnTo>
                  <a:lnTo>
                    <a:pt x="212" y="846"/>
                  </a:lnTo>
                  <a:lnTo>
                    <a:pt x="211" y="831"/>
                  </a:lnTo>
                  <a:lnTo>
                    <a:pt x="211" y="814"/>
                  </a:lnTo>
                  <a:lnTo>
                    <a:pt x="211" y="797"/>
                  </a:lnTo>
                  <a:lnTo>
                    <a:pt x="212" y="783"/>
                  </a:lnTo>
                  <a:lnTo>
                    <a:pt x="234" y="792"/>
                  </a:lnTo>
                  <a:lnTo>
                    <a:pt x="256" y="799"/>
                  </a:lnTo>
                  <a:lnTo>
                    <a:pt x="279" y="807"/>
                  </a:lnTo>
                  <a:lnTo>
                    <a:pt x="303" y="813"/>
                  </a:lnTo>
                  <a:lnTo>
                    <a:pt x="327" y="820"/>
                  </a:lnTo>
                  <a:lnTo>
                    <a:pt x="352" y="825"/>
                  </a:lnTo>
                  <a:lnTo>
                    <a:pt x="378" y="831"/>
                  </a:lnTo>
                  <a:lnTo>
                    <a:pt x="405" y="835"/>
                  </a:lnTo>
                  <a:lnTo>
                    <a:pt x="420" y="837"/>
                  </a:lnTo>
                  <a:lnTo>
                    <a:pt x="437" y="839"/>
                  </a:lnTo>
                  <a:lnTo>
                    <a:pt x="453" y="840"/>
                  </a:lnTo>
                  <a:lnTo>
                    <a:pt x="470" y="841"/>
                  </a:lnTo>
                  <a:lnTo>
                    <a:pt x="488" y="844"/>
                  </a:lnTo>
                  <a:lnTo>
                    <a:pt x="508" y="845"/>
                  </a:lnTo>
                  <a:lnTo>
                    <a:pt x="528" y="845"/>
                  </a:lnTo>
                  <a:lnTo>
                    <a:pt x="548" y="845"/>
                  </a:lnTo>
                  <a:lnTo>
                    <a:pt x="581" y="845"/>
                  </a:lnTo>
                  <a:lnTo>
                    <a:pt x="614" y="843"/>
                  </a:lnTo>
                  <a:lnTo>
                    <a:pt x="646" y="840"/>
                  </a:lnTo>
                  <a:lnTo>
                    <a:pt x="677" y="836"/>
                  </a:lnTo>
                  <a:lnTo>
                    <a:pt x="668" y="847"/>
                  </a:lnTo>
                  <a:lnTo>
                    <a:pt x="659" y="855"/>
                  </a:lnTo>
                  <a:close/>
                  <a:moveTo>
                    <a:pt x="782" y="774"/>
                  </a:moveTo>
                  <a:lnTo>
                    <a:pt x="795" y="756"/>
                  </a:lnTo>
                  <a:lnTo>
                    <a:pt x="808" y="738"/>
                  </a:lnTo>
                  <a:lnTo>
                    <a:pt x="821" y="719"/>
                  </a:lnTo>
                  <a:lnTo>
                    <a:pt x="834" y="700"/>
                  </a:lnTo>
                  <a:lnTo>
                    <a:pt x="846" y="682"/>
                  </a:lnTo>
                  <a:lnTo>
                    <a:pt x="857" y="662"/>
                  </a:lnTo>
                  <a:lnTo>
                    <a:pt x="867" y="643"/>
                  </a:lnTo>
                  <a:lnTo>
                    <a:pt x="878" y="623"/>
                  </a:lnTo>
                  <a:lnTo>
                    <a:pt x="885" y="651"/>
                  </a:lnTo>
                  <a:lnTo>
                    <a:pt x="891" y="678"/>
                  </a:lnTo>
                  <a:lnTo>
                    <a:pt x="895" y="705"/>
                  </a:lnTo>
                  <a:lnTo>
                    <a:pt x="899" y="731"/>
                  </a:lnTo>
                  <a:lnTo>
                    <a:pt x="872" y="743"/>
                  </a:lnTo>
                  <a:lnTo>
                    <a:pt x="844" y="755"/>
                  </a:lnTo>
                  <a:lnTo>
                    <a:pt x="813" y="765"/>
                  </a:lnTo>
                  <a:lnTo>
                    <a:pt x="782" y="774"/>
                  </a:lnTo>
                  <a:close/>
                  <a:moveTo>
                    <a:pt x="883" y="516"/>
                  </a:moveTo>
                  <a:lnTo>
                    <a:pt x="865" y="477"/>
                  </a:lnTo>
                  <a:lnTo>
                    <a:pt x="847" y="439"/>
                  </a:lnTo>
                  <a:lnTo>
                    <a:pt x="825" y="401"/>
                  </a:lnTo>
                  <a:lnTo>
                    <a:pt x="803" y="363"/>
                  </a:lnTo>
                  <a:lnTo>
                    <a:pt x="794" y="351"/>
                  </a:lnTo>
                  <a:lnTo>
                    <a:pt x="789" y="342"/>
                  </a:lnTo>
                  <a:lnTo>
                    <a:pt x="783" y="335"/>
                  </a:lnTo>
                  <a:lnTo>
                    <a:pt x="775" y="323"/>
                  </a:lnTo>
                  <a:lnTo>
                    <a:pt x="759" y="320"/>
                  </a:lnTo>
                  <a:lnTo>
                    <a:pt x="744" y="317"/>
                  </a:lnTo>
                  <a:lnTo>
                    <a:pt x="728" y="313"/>
                  </a:lnTo>
                  <a:lnTo>
                    <a:pt x="713" y="311"/>
                  </a:lnTo>
                  <a:lnTo>
                    <a:pt x="729" y="331"/>
                  </a:lnTo>
                  <a:lnTo>
                    <a:pt x="741" y="347"/>
                  </a:lnTo>
                  <a:lnTo>
                    <a:pt x="754" y="364"/>
                  </a:lnTo>
                  <a:lnTo>
                    <a:pt x="768" y="386"/>
                  </a:lnTo>
                  <a:lnTo>
                    <a:pt x="782" y="408"/>
                  </a:lnTo>
                  <a:lnTo>
                    <a:pt x="796" y="431"/>
                  </a:lnTo>
                  <a:lnTo>
                    <a:pt x="808" y="454"/>
                  </a:lnTo>
                  <a:lnTo>
                    <a:pt x="820" y="476"/>
                  </a:lnTo>
                  <a:lnTo>
                    <a:pt x="832" y="499"/>
                  </a:lnTo>
                  <a:lnTo>
                    <a:pt x="841" y="522"/>
                  </a:lnTo>
                  <a:lnTo>
                    <a:pt x="851" y="544"/>
                  </a:lnTo>
                  <a:lnTo>
                    <a:pt x="860" y="567"/>
                  </a:lnTo>
                  <a:lnTo>
                    <a:pt x="846" y="595"/>
                  </a:lnTo>
                  <a:lnTo>
                    <a:pt x="832" y="623"/>
                  </a:lnTo>
                  <a:lnTo>
                    <a:pt x="816" y="651"/>
                  </a:lnTo>
                  <a:lnTo>
                    <a:pt x="799" y="678"/>
                  </a:lnTo>
                  <a:lnTo>
                    <a:pt x="780" y="708"/>
                  </a:lnTo>
                  <a:lnTo>
                    <a:pt x="760" y="736"/>
                  </a:lnTo>
                  <a:lnTo>
                    <a:pt x="740" y="763"/>
                  </a:lnTo>
                  <a:lnTo>
                    <a:pt x="719" y="789"/>
                  </a:lnTo>
                  <a:lnTo>
                    <a:pt x="699" y="792"/>
                  </a:lnTo>
                  <a:lnTo>
                    <a:pt x="678" y="795"/>
                  </a:lnTo>
                  <a:lnTo>
                    <a:pt x="658" y="798"/>
                  </a:lnTo>
                  <a:lnTo>
                    <a:pt x="636" y="800"/>
                  </a:lnTo>
                  <a:lnTo>
                    <a:pt x="615" y="801"/>
                  </a:lnTo>
                  <a:lnTo>
                    <a:pt x="593" y="804"/>
                  </a:lnTo>
                  <a:lnTo>
                    <a:pt x="570" y="804"/>
                  </a:lnTo>
                  <a:lnTo>
                    <a:pt x="548" y="805"/>
                  </a:lnTo>
                  <a:lnTo>
                    <a:pt x="516" y="804"/>
                  </a:lnTo>
                  <a:lnTo>
                    <a:pt x="485" y="803"/>
                  </a:lnTo>
                  <a:lnTo>
                    <a:pt x="454" y="799"/>
                  </a:lnTo>
                  <a:lnTo>
                    <a:pt x="424" y="796"/>
                  </a:lnTo>
                  <a:lnTo>
                    <a:pt x="405" y="794"/>
                  </a:lnTo>
                  <a:lnTo>
                    <a:pt x="385" y="790"/>
                  </a:lnTo>
                  <a:lnTo>
                    <a:pt x="367" y="787"/>
                  </a:lnTo>
                  <a:lnTo>
                    <a:pt x="361" y="785"/>
                  </a:lnTo>
                  <a:lnTo>
                    <a:pt x="322" y="777"/>
                  </a:lnTo>
                  <a:lnTo>
                    <a:pt x="284" y="766"/>
                  </a:lnTo>
                  <a:lnTo>
                    <a:pt x="250" y="754"/>
                  </a:lnTo>
                  <a:lnTo>
                    <a:pt x="216" y="740"/>
                  </a:lnTo>
                  <a:lnTo>
                    <a:pt x="222" y="711"/>
                  </a:lnTo>
                  <a:lnTo>
                    <a:pt x="228" y="679"/>
                  </a:lnTo>
                  <a:lnTo>
                    <a:pt x="236" y="649"/>
                  </a:lnTo>
                  <a:lnTo>
                    <a:pt x="245" y="617"/>
                  </a:lnTo>
                  <a:lnTo>
                    <a:pt x="256" y="636"/>
                  </a:lnTo>
                  <a:lnTo>
                    <a:pt x="268" y="656"/>
                  </a:lnTo>
                  <a:lnTo>
                    <a:pt x="280" y="675"/>
                  </a:lnTo>
                  <a:lnTo>
                    <a:pt x="294" y="695"/>
                  </a:lnTo>
                  <a:lnTo>
                    <a:pt x="310" y="718"/>
                  </a:lnTo>
                  <a:lnTo>
                    <a:pt x="322" y="736"/>
                  </a:lnTo>
                  <a:lnTo>
                    <a:pt x="334" y="750"/>
                  </a:lnTo>
                  <a:lnTo>
                    <a:pt x="349" y="768"/>
                  </a:lnTo>
                  <a:lnTo>
                    <a:pt x="364" y="771"/>
                  </a:lnTo>
                  <a:lnTo>
                    <a:pt x="379" y="773"/>
                  </a:lnTo>
                  <a:lnTo>
                    <a:pt x="396" y="777"/>
                  </a:lnTo>
                  <a:lnTo>
                    <a:pt x="412" y="779"/>
                  </a:lnTo>
                  <a:lnTo>
                    <a:pt x="389" y="754"/>
                  </a:lnTo>
                  <a:lnTo>
                    <a:pt x="370" y="731"/>
                  </a:lnTo>
                  <a:lnTo>
                    <a:pt x="360" y="719"/>
                  </a:lnTo>
                  <a:lnTo>
                    <a:pt x="350" y="706"/>
                  </a:lnTo>
                  <a:lnTo>
                    <a:pt x="339" y="690"/>
                  </a:lnTo>
                  <a:lnTo>
                    <a:pt x="327" y="672"/>
                  </a:lnTo>
                  <a:lnTo>
                    <a:pt x="310" y="644"/>
                  </a:lnTo>
                  <a:lnTo>
                    <a:pt x="294" y="616"/>
                  </a:lnTo>
                  <a:lnTo>
                    <a:pt x="280" y="589"/>
                  </a:lnTo>
                  <a:lnTo>
                    <a:pt x="267" y="562"/>
                  </a:lnTo>
                  <a:lnTo>
                    <a:pt x="275" y="541"/>
                  </a:lnTo>
                  <a:lnTo>
                    <a:pt x="284" y="521"/>
                  </a:lnTo>
                  <a:lnTo>
                    <a:pt x="294" y="500"/>
                  </a:lnTo>
                  <a:lnTo>
                    <a:pt x="304" y="479"/>
                  </a:lnTo>
                  <a:lnTo>
                    <a:pt x="315" y="458"/>
                  </a:lnTo>
                  <a:lnTo>
                    <a:pt x="326" y="438"/>
                  </a:lnTo>
                  <a:lnTo>
                    <a:pt x="338" y="417"/>
                  </a:lnTo>
                  <a:lnTo>
                    <a:pt x="351" y="396"/>
                  </a:lnTo>
                  <a:lnTo>
                    <a:pt x="370" y="367"/>
                  </a:lnTo>
                  <a:lnTo>
                    <a:pt x="389" y="340"/>
                  </a:lnTo>
                  <a:lnTo>
                    <a:pt x="408" y="314"/>
                  </a:lnTo>
                  <a:lnTo>
                    <a:pt x="429" y="288"/>
                  </a:lnTo>
                  <a:lnTo>
                    <a:pt x="431" y="286"/>
                  </a:lnTo>
                  <a:lnTo>
                    <a:pt x="459" y="283"/>
                  </a:lnTo>
                  <a:lnTo>
                    <a:pt x="488" y="281"/>
                  </a:lnTo>
                  <a:lnTo>
                    <a:pt x="518" y="280"/>
                  </a:lnTo>
                  <a:lnTo>
                    <a:pt x="548" y="279"/>
                  </a:lnTo>
                  <a:lnTo>
                    <a:pt x="587" y="280"/>
                  </a:lnTo>
                  <a:lnTo>
                    <a:pt x="624" y="282"/>
                  </a:lnTo>
                  <a:lnTo>
                    <a:pt x="661" y="285"/>
                  </a:lnTo>
                  <a:lnTo>
                    <a:pt x="698" y="291"/>
                  </a:lnTo>
                  <a:lnTo>
                    <a:pt x="713" y="293"/>
                  </a:lnTo>
                  <a:lnTo>
                    <a:pt x="729" y="296"/>
                  </a:lnTo>
                  <a:lnTo>
                    <a:pt x="744" y="299"/>
                  </a:lnTo>
                  <a:lnTo>
                    <a:pt x="759" y="303"/>
                  </a:lnTo>
                  <a:lnTo>
                    <a:pt x="783" y="309"/>
                  </a:lnTo>
                  <a:lnTo>
                    <a:pt x="807" y="315"/>
                  </a:lnTo>
                  <a:lnTo>
                    <a:pt x="829" y="323"/>
                  </a:lnTo>
                  <a:lnTo>
                    <a:pt x="851" y="331"/>
                  </a:lnTo>
                  <a:lnTo>
                    <a:pt x="872" y="339"/>
                  </a:lnTo>
                  <a:lnTo>
                    <a:pt x="891" y="349"/>
                  </a:lnTo>
                  <a:lnTo>
                    <a:pt x="911" y="359"/>
                  </a:lnTo>
                  <a:lnTo>
                    <a:pt x="929" y="368"/>
                  </a:lnTo>
                  <a:lnTo>
                    <a:pt x="920" y="404"/>
                  </a:lnTo>
                  <a:lnTo>
                    <a:pt x="910" y="441"/>
                  </a:lnTo>
                  <a:lnTo>
                    <a:pt x="898" y="477"/>
                  </a:lnTo>
                  <a:lnTo>
                    <a:pt x="883" y="516"/>
                  </a:lnTo>
                  <a:close/>
                  <a:moveTo>
                    <a:pt x="937" y="710"/>
                  </a:moveTo>
                  <a:lnTo>
                    <a:pt x="931" y="676"/>
                  </a:lnTo>
                  <a:lnTo>
                    <a:pt x="925" y="642"/>
                  </a:lnTo>
                  <a:lnTo>
                    <a:pt x="915" y="606"/>
                  </a:lnTo>
                  <a:lnTo>
                    <a:pt x="904" y="571"/>
                  </a:lnTo>
                  <a:lnTo>
                    <a:pt x="914" y="548"/>
                  </a:lnTo>
                  <a:lnTo>
                    <a:pt x="924" y="525"/>
                  </a:lnTo>
                  <a:lnTo>
                    <a:pt x="932" y="502"/>
                  </a:lnTo>
                  <a:lnTo>
                    <a:pt x="941" y="481"/>
                  </a:lnTo>
                  <a:lnTo>
                    <a:pt x="947" y="458"/>
                  </a:lnTo>
                  <a:lnTo>
                    <a:pt x="955" y="436"/>
                  </a:lnTo>
                  <a:lnTo>
                    <a:pt x="960" y="415"/>
                  </a:lnTo>
                  <a:lnTo>
                    <a:pt x="966" y="393"/>
                  </a:lnTo>
                  <a:lnTo>
                    <a:pt x="985" y="409"/>
                  </a:lnTo>
                  <a:lnTo>
                    <a:pt x="1003" y="427"/>
                  </a:lnTo>
                  <a:lnTo>
                    <a:pt x="1011" y="435"/>
                  </a:lnTo>
                  <a:lnTo>
                    <a:pt x="1019" y="444"/>
                  </a:lnTo>
                  <a:lnTo>
                    <a:pt x="1025" y="454"/>
                  </a:lnTo>
                  <a:lnTo>
                    <a:pt x="1032" y="462"/>
                  </a:lnTo>
                  <a:lnTo>
                    <a:pt x="1037" y="472"/>
                  </a:lnTo>
                  <a:lnTo>
                    <a:pt x="1041" y="482"/>
                  </a:lnTo>
                  <a:lnTo>
                    <a:pt x="1046" y="492"/>
                  </a:lnTo>
                  <a:lnTo>
                    <a:pt x="1049" y="501"/>
                  </a:lnTo>
                  <a:lnTo>
                    <a:pt x="1051" y="511"/>
                  </a:lnTo>
                  <a:lnTo>
                    <a:pt x="1053" y="521"/>
                  </a:lnTo>
                  <a:lnTo>
                    <a:pt x="1054" y="531"/>
                  </a:lnTo>
                  <a:lnTo>
                    <a:pt x="1054" y="541"/>
                  </a:lnTo>
                  <a:lnTo>
                    <a:pt x="1054" y="553"/>
                  </a:lnTo>
                  <a:lnTo>
                    <a:pt x="1053" y="565"/>
                  </a:lnTo>
                  <a:lnTo>
                    <a:pt x="1050" y="577"/>
                  </a:lnTo>
                  <a:lnTo>
                    <a:pt x="1047" y="589"/>
                  </a:lnTo>
                  <a:lnTo>
                    <a:pt x="1042" y="600"/>
                  </a:lnTo>
                  <a:lnTo>
                    <a:pt x="1037" y="611"/>
                  </a:lnTo>
                  <a:lnTo>
                    <a:pt x="1030" y="622"/>
                  </a:lnTo>
                  <a:lnTo>
                    <a:pt x="1023" y="633"/>
                  </a:lnTo>
                  <a:lnTo>
                    <a:pt x="1015" y="643"/>
                  </a:lnTo>
                  <a:lnTo>
                    <a:pt x="1007" y="654"/>
                  </a:lnTo>
                  <a:lnTo>
                    <a:pt x="997" y="663"/>
                  </a:lnTo>
                  <a:lnTo>
                    <a:pt x="986" y="673"/>
                  </a:lnTo>
                  <a:lnTo>
                    <a:pt x="975" y="683"/>
                  </a:lnTo>
                  <a:lnTo>
                    <a:pt x="962" y="692"/>
                  </a:lnTo>
                  <a:lnTo>
                    <a:pt x="951" y="701"/>
                  </a:lnTo>
                  <a:lnTo>
                    <a:pt x="937" y="710"/>
                  </a:lnTo>
                  <a:close/>
                  <a:moveTo>
                    <a:pt x="607" y="529"/>
                  </a:moveTo>
                  <a:lnTo>
                    <a:pt x="606" y="537"/>
                  </a:lnTo>
                  <a:lnTo>
                    <a:pt x="605" y="544"/>
                  </a:lnTo>
                  <a:lnTo>
                    <a:pt x="604" y="553"/>
                  </a:lnTo>
                  <a:lnTo>
                    <a:pt x="601" y="560"/>
                  </a:lnTo>
                  <a:lnTo>
                    <a:pt x="597" y="567"/>
                  </a:lnTo>
                  <a:lnTo>
                    <a:pt x="593" y="574"/>
                  </a:lnTo>
                  <a:lnTo>
                    <a:pt x="589" y="579"/>
                  </a:lnTo>
                  <a:lnTo>
                    <a:pt x="583" y="585"/>
                  </a:lnTo>
                  <a:lnTo>
                    <a:pt x="578" y="590"/>
                  </a:lnTo>
                  <a:lnTo>
                    <a:pt x="572" y="595"/>
                  </a:lnTo>
                  <a:lnTo>
                    <a:pt x="565" y="598"/>
                  </a:lnTo>
                  <a:lnTo>
                    <a:pt x="559" y="602"/>
                  </a:lnTo>
                  <a:lnTo>
                    <a:pt x="551" y="605"/>
                  </a:lnTo>
                  <a:lnTo>
                    <a:pt x="543" y="607"/>
                  </a:lnTo>
                  <a:lnTo>
                    <a:pt x="536" y="608"/>
                  </a:lnTo>
                  <a:lnTo>
                    <a:pt x="527" y="608"/>
                  </a:lnTo>
                  <a:lnTo>
                    <a:pt x="520" y="608"/>
                  </a:lnTo>
                  <a:lnTo>
                    <a:pt x="512" y="607"/>
                  </a:lnTo>
                  <a:lnTo>
                    <a:pt x="505" y="605"/>
                  </a:lnTo>
                  <a:lnTo>
                    <a:pt x="497" y="602"/>
                  </a:lnTo>
                  <a:lnTo>
                    <a:pt x="489" y="598"/>
                  </a:lnTo>
                  <a:lnTo>
                    <a:pt x="483" y="595"/>
                  </a:lnTo>
                  <a:lnTo>
                    <a:pt x="478" y="590"/>
                  </a:lnTo>
                  <a:lnTo>
                    <a:pt x="471" y="585"/>
                  </a:lnTo>
                  <a:lnTo>
                    <a:pt x="467" y="579"/>
                  </a:lnTo>
                  <a:lnTo>
                    <a:pt x="461" y="574"/>
                  </a:lnTo>
                  <a:lnTo>
                    <a:pt x="458" y="567"/>
                  </a:lnTo>
                  <a:lnTo>
                    <a:pt x="455" y="560"/>
                  </a:lnTo>
                  <a:lnTo>
                    <a:pt x="452" y="553"/>
                  </a:lnTo>
                  <a:lnTo>
                    <a:pt x="450" y="546"/>
                  </a:lnTo>
                  <a:lnTo>
                    <a:pt x="448" y="537"/>
                  </a:lnTo>
                  <a:lnTo>
                    <a:pt x="448" y="529"/>
                  </a:lnTo>
                  <a:lnTo>
                    <a:pt x="448" y="521"/>
                  </a:lnTo>
                  <a:lnTo>
                    <a:pt x="450" y="513"/>
                  </a:lnTo>
                  <a:lnTo>
                    <a:pt x="452" y="506"/>
                  </a:lnTo>
                  <a:lnTo>
                    <a:pt x="455" y="498"/>
                  </a:lnTo>
                  <a:lnTo>
                    <a:pt x="458" y="492"/>
                  </a:lnTo>
                  <a:lnTo>
                    <a:pt x="461" y="485"/>
                  </a:lnTo>
                  <a:lnTo>
                    <a:pt x="467" y="479"/>
                  </a:lnTo>
                  <a:lnTo>
                    <a:pt x="471" y="473"/>
                  </a:lnTo>
                  <a:lnTo>
                    <a:pt x="478" y="468"/>
                  </a:lnTo>
                  <a:lnTo>
                    <a:pt x="483" y="463"/>
                  </a:lnTo>
                  <a:lnTo>
                    <a:pt x="489" y="459"/>
                  </a:lnTo>
                  <a:lnTo>
                    <a:pt x="497" y="456"/>
                  </a:lnTo>
                  <a:lnTo>
                    <a:pt x="505" y="454"/>
                  </a:lnTo>
                  <a:lnTo>
                    <a:pt x="512" y="452"/>
                  </a:lnTo>
                  <a:lnTo>
                    <a:pt x="520" y="450"/>
                  </a:lnTo>
                  <a:lnTo>
                    <a:pt x="527" y="449"/>
                  </a:lnTo>
                  <a:lnTo>
                    <a:pt x="536" y="450"/>
                  </a:lnTo>
                  <a:lnTo>
                    <a:pt x="543" y="452"/>
                  </a:lnTo>
                  <a:lnTo>
                    <a:pt x="551" y="454"/>
                  </a:lnTo>
                  <a:lnTo>
                    <a:pt x="559" y="456"/>
                  </a:lnTo>
                  <a:lnTo>
                    <a:pt x="565" y="459"/>
                  </a:lnTo>
                  <a:lnTo>
                    <a:pt x="572" y="463"/>
                  </a:lnTo>
                  <a:lnTo>
                    <a:pt x="578" y="468"/>
                  </a:lnTo>
                  <a:lnTo>
                    <a:pt x="583" y="473"/>
                  </a:lnTo>
                  <a:lnTo>
                    <a:pt x="589" y="479"/>
                  </a:lnTo>
                  <a:lnTo>
                    <a:pt x="593" y="485"/>
                  </a:lnTo>
                  <a:lnTo>
                    <a:pt x="597" y="492"/>
                  </a:lnTo>
                  <a:lnTo>
                    <a:pt x="601" y="498"/>
                  </a:lnTo>
                  <a:lnTo>
                    <a:pt x="604" y="506"/>
                  </a:lnTo>
                  <a:lnTo>
                    <a:pt x="605" y="513"/>
                  </a:lnTo>
                  <a:lnTo>
                    <a:pt x="606" y="521"/>
                  </a:lnTo>
                  <a:lnTo>
                    <a:pt x="607" y="529"/>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76" name="Freeform 82"/>
          <p:cNvSpPr>
            <a:spLocks noChangeAspect="1" noEditPoints="1"/>
          </p:cNvSpPr>
          <p:nvPr/>
        </p:nvSpPr>
        <p:spPr bwMode="auto">
          <a:xfrm>
            <a:off x="4162256" y="1086354"/>
            <a:ext cx="353591" cy="337240"/>
          </a:xfrm>
          <a:custGeom>
            <a:avLst/>
            <a:gdLst>
              <a:gd name="T0" fmla="*/ 2147483647 w 3326"/>
              <a:gd name="T1" fmla="*/ 2147483647 h 4763"/>
              <a:gd name="T2" fmla="*/ 2147483647 w 3326"/>
              <a:gd name="T3" fmla="*/ 2147483647 h 4763"/>
              <a:gd name="T4" fmla="*/ 2147483647 w 3326"/>
              <a:gd name="T5" fmla="*/ 2147483647 h 4763"/>
              <a:gd name="T6" fmla="*/ 2147483647 w 3326"/>
              <a:gd name="T7" fmla="*/ 2147483647 h 4763"/>
              <a:gd name="T8" fmla="*/ 2147483647 w 3326"/>
              <a:gd name="T9" fmla="*/ 2147483647 h 4763"/>
              <a:gd name="T10" fmla="*/ 2147483647 w 3326"/>
              <a:gd name="T11" fmla="*/ 2147483647 h 4763"/>
              <a:gd name="T12" fmla="*/ 2147483647 w 3326"/>
              <a:gd name="T13" fmla="*/ 2147483647 h 4763"/>
              <a:gd name="T14" fmla="*/ 2147483647 w 3326"/>
              <a:gd name="T15" fmla="*/ 2147483647 h 4763"/>
              <a:gd name="T16" fmla="*/ 2147483647 w 3326"/>
              <a:gd name="T17" fmla="*/ 2147483647 h 4763"/>
              <a:gd name="T18" fmla="*/ 2147483647 w 3326"/>
              <a:gd name="T19" fmla="*/ 2147483647 h 4763"/>
              <a:gd name="T20" fmla="*/ 2147483647 w 3326"/>
              <a:gd name="T21" fmla="*/ 2147483647 h 4763"/>
              <a:gd name="T22" fmla="*/ 2147483647 w 3326"/>
              <a:gd name="T23" fmla="*/ 2147483647 h 4763"/>
              <a:gd name="T24" fmla="*/ 2147483647 w 3326"/>
              <a:gd name="T25" fmla="*/ 2147483647 h 4763"/>
              <a:gd name="T26" fmla="*/ 2147483647 w 3326"/>
              <a:gd name="T27" fmla="*/ 2147483647 h 4763"/>
              <a:gd name="T28" fmla="*/ 2147483647 w 3326"/>
              <a:gd name="T29" fmla="*/ 2147483647 h 4763"/>
              <a:gd name="T30" fmla="*/ 2147483647 w 3326"/>
              <a:gd name="T31" fmla="*/ 2147483647 h 4763"/>
              <a:gd name="T32" fmla="*/ 2147483647 w 3326"/>
              <a:gd name="T33" fmla="*/ 2147483647 h 4763"/>
              <a:gd name="T34" fmla="*/ 2147483647 w 3326"/>
              <a:gd name="T35" fmla="*/ 2147483647 h 4763"/>
              <a:gd name="T36" fmla="*/ 2147483647 w 3326"/>
              <a:gd name="T37" fmla="*/ 2147483647 h 4763"/>
              <a:gd name="T38" fmla="*/ 2147483647 w 3326"/>
              <a:gd name="T39" fmla="*/ 2147483647 h 4763"/>
              <a:gd name="T40" fmla="*/ 2147483647 w 3326"/>
              <a:gd name="T41" fmla="*/ 2147483647 h 4763"/>
              <a:gd name="T42" fmla="*/ 2147483647 w 3326"/>
              <a:gd name="T43" fmla="*/ 2147483647 h 4763"/>
              <a:gd name="T44" fmla="*/ 2147483647 w 3326"/>
              <a:gd name="T45" fmla="*/ 2147483647 h 4763"/>
              <a:gd name="T46" fmla="*/ 2147483647 w 3326"/>
              <a:gd name="T47" fmla="*/ 0 h 4763"/>
              <a:gd name="T48" fmla="*/ 2147483647 w 3326"/>
              <a:gd name="T49" fmla="*/ 2147483647 h 4763"/>
              <a:gd name="T50" fmla="*/ 2147483647 w 3326"/>
              <a:gd name="T51" fmla="*/ 2147483647 h 4763"/>
              <a:gd name="T52" fmla="*/ 2147483647 w 3326"/>
              <a:gd name="T53" fmla="*/ 2147483647 h 4763"/>
              <a:gd name="T54" fmla="*/ 2147483647 w 3326"/>
              <a:gd name="T55" fmla="*/ 2147483647 h 4763"/>
              <a:gd name="T56" fmla="*/ 2147483647 w 3326"/>
              <a:gd name="T57" fmla="*/ 2147483647 h 4763"/>
              <a:gd name="T58" fmla="*/ 2147483647 w 3326"/>
              <a:gd name="T59" fmla="*/ 2147483647 h 4763"/>
              <a:gd name="T60" fmla="*/ 2147483647 w 3326"/>
              <a:gd name="T61" fmla="*/ 2147483647 h 4763"/>
              <a:gd name="T62" fmla="*/ 2147483647 w 3326"/>
              <a:gd name="T63" fmla="*/ 2147483647 h 4763"/>
              <a:gd name="T64" fmla="*/ 2147483647 w 3326"/>
              <a:gd name="T65" fmla="*/ 2147483647 h 4763"/>
              <a:gd name="T66" fmla="*/ 2147483647 w 3326"/>
              <a:gd name="T67" fmla="*/ 2147483647 h 4763"/>
              <a:gd name="T68" fmla="*/ 2147483647 w 3326"/>
              <a:gd name="T69" fmla="*/ 2147483647 h 4763"/>
              <a:gd name="T70" fmla="*/ 2147483647 w 3326"/>
              <a:gd name="T71" fmla="*/ 2147483647 h 4763"/>
              <a:gd name="T72" fmla="*/ 2147483647 w 3326"/>
              <a:gd name="T73" fmla="*/ 2147483647 h 4763"/>
              <a:gd name="T74" fmla="*/ 2147483647 w 3326"/>
              <a:gd name="T75" fmla="*/ 2147483647 h 4763"/>
              <a:gd name="T76" fmla="*/ 2147483647 w 3326"/>
              <a:gd name="T77" fmla="*/ 2147483647 h 4763"/>
              <a:gd name="T78" fmla="*/ 2147483647 w 3326"/>
              <a:gd name="T79" fmla="*/ 2147483647 h 4763"/>
              <a:gd name="T80" fmla="*/ 2147483647 w 3326"/>
              <a:gd name="T81" fmla="*/ 2147483647 h 4763"/>
              <a:gd name="T82" fmla="*/ 2147483647 w 3326"/>
              <a:gd name="T83" fmla="*/ 2147483647 h 4763"/>
              <a:gd name="T84" fmla="*/ 2147483647 w 3326"/>
              <a:gd name="T85" fmla="*/ 2147483647 h 4763"/>
              <a:gd name="T86" fmla="*/ 2147483647 w 3326"/>
              <a:gd name="T87" fmla="*/ 2147483647 h 4763"/>
              <a:gd name="T88" fmla="*/ 2147483647 w 3326"/>
              <a:gd name="T89" fmla="*/ 2147483647 h 4763"/>
              <a:gd name="T90" fmla="*/ 2147483647 w 3326"/>
              <a:gd name="T91" fmla="*/ 2147483647 h 4763"/>
              <a:gd name="T92" fmla="*/ 2147483647 w 3326"/>
              <a:gd name="T93" fmla="*/ 2147483647 h 4763"/>
              <a:gd name="T94" fmla="*/ 2147483647 w 3326"/>
              <a:gd name="T95" fmla="*/ 2147483647 h 4763"/>
              <a:gd name="T96" fmla="*/ 2147483647 w 3326"/>
              <a:gd name="T97" fmla="*/ 2147483647 h 4763"/>
              <a:gd name="T98" fmla="*/ 2147483647 w 3326"/>
              <a:gd name="T99" fmla="*/ 2147483647 h 4763"/>
              <a:gd name="T100" fmla="*/ 2147483647 w 3326"/>
              <a:gd name="T101" fmla="*/ 2147483647 h 4763"/>
              <a:gd name="T102" fmla="*/ 2147483647 w 3326"/>
              <a:gd name="T103" fmla="*/ 2147483647 h 4763"/>
              <a:gd name="T104" fmla="*/ 2147483647 w 3326"/>
              <a:gd name="T105" fmla="*/ 2147483647 h 4763"/>
              <a:gd name="T106" fmla="*/ 2147483647 w 3326"/>
              <a:gd name="T107" fmla="*/ 2147483647 h 4763"/>
              <a:gd name="T108" fmla="*/ 2147483647 w 3326"/>
              <a:gd name="T109" fmla="*/ 2147483647 h 4763"/>
              <a:gd name="T110" fmla="*/ 2147483647 w 3326"/>
              <a:gd name="T111" fmla="*/ 2147483647 h 4763"/>
              <a:gd name="T112" fmla="*/ 2147483647 w 3326"/>
              <a:gd name="T113" fmla="*/ 2147483647 h 4763"/>
              <a:gd name="T114" fmla="*/ 2147483647 w 3326"/>
              <a:gd name="T115" fmla="*/ 2147483647 h 4763"/>
              <a:gd name="T116" fmla="*/ 2147483647 w 3326"/>
              <a:gd name="T117" fmla="*/ 2147483647 h 4763"/>
              <a:gd name="T118" fmla="*/ 2147483647 w 3326"/>
              <a:gd name="T119" fmla="*/ 2147483647 h 4763"/>
              <a:gd name="T120" fmla="*/ 2147483647 w 3326"/>
              <a:gd name="T121" fmla="*/ 2147483647 h 4763"/>
              <a:gd name="T122" fmla="*/ 2147483647 w 3326"/>
              <a:gd name="T123" fmla="*/ 2147483647 h 4763"/>
              <a:gd name="T124" fmla="*/ 2147483647 w 3326"/>
              <a:gd name="T125" fmla="*/ 2147483647 h 476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326"/>
              <a:gd name="T190" fmla="*/ 0 h 4763"/>
              <a:gd name="T191" fmla="*/ 3326 w 3326"/>
              <a:gd name="T192" fmla="*/ 4763 h 476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326" h="4763">
                <a:moveTo>
                  <a:pt x="453" y="2935"/>
                </a:moveTo>
                <a:lnTo>
                  <a:pt x="453" y="2935"/>
                </a:lnTo>
                <a:lnTo>
                  <a:pt x="519" y="2965"/>
                </a:lnTo>
                <a:lnTo>
                  <a:pt x="585" y="2993"/>
                </a:lnTo>
                <a:lnTo>
                  <a:pt x="652" y="3018"/>
                </a:lnTo>
                <a:lnTo>
                  <a:pt x="721" y="3040"/>
                </a:lnTo>
                <a:lnTo>
                  <a:pt x="789" y="3059"/>
                </a:lnTo>
                <a:lnTo>
                  <a:pt x="858" y="3075"/>
                </a:lnTo>
                <a:lnTo>
                  <a:pt x="928" y="3090"/>
                </a:lnTo>
                <a:lnTo>
                  <a:pt x="997" y="3101"/>
                </a:lnTo>
                <a:lnTo>
                  <a:pt x="1067" y="3110"/>
                </a:lnTo>
                <a:lnTo>
                  <a:pt x="1139" y="3116"/>
                </a:lnTo>
                <a:lnTo>
                  <a:pt x="1209" y="3120"/>
                </a:lnTo>
                <a:lnTo>
                  <a:pt x="1279" y="3120"/>
                </a:lnTo>
                <a:lnTo>
                  <a:pt x="1351" y="3119"/>
                </a:lnTo>
                <a:lnTo>
                  <a:pt x="1421" y="3114"/>
                </a:lnTo>
                <a:lnTo>
                  <a:pt x="1491" y="3106"/>
                </a:lnTo>
                <a:lnTo>
                  <a:pt x="1561" y="3096"/>
                </a:lnTo>
                <a:lnTo>
                  <a:pt x="1632" y="3084"/>
                </a:lnTo>
                <a:lnTo>
                  <a:pt x="1701" y="3069"/>
                </a:lnTo>
                <a:lnTo>
                  <a:pt x="1770" y="3051"/>
                </a:lnTo>
                <a:lnTo>
                  <a:pt x="1837" y="3030"/>
                </a:lnTo>
                <a:lnTo>
                  <a:pt x="1905" y="3008"/>
                </a:lnTo>
                <a:lnTo>
                  <a:pt x="1973" y="2982"/>
                </a:lnTo>
                <a:lnTo>
                  <a:pt x="2038" y="2952"/>
                </a:lnTo>
                <a:lnTo>
                  <a:pt x="2104" y="2921"/>
                </a:lnTo>
                <a:lnTo>
                  <a:pt x="2168" y="2887"/>
                </a:lnTo>
                <a:lnTo>
                  <a:pt x="2230" y="2851"/>
                </a:lnTo>
                <a:lnTo>
                  <a:pt x="2292" y="2812"/>
                </a:lnTo>
                <a:lnTo>
                  <a:pt x="2352" y="2770"/>
                </a:lnTo>
                <a:lnTo>
                  <a:pt x="2383" y="2748"/>
                </a:lnTo>
                <a:lnTo>
                  <a:pt x="2413" y="2725"/>
                </a:lnTo>
                <a:lnTo>
                  <a:pt x="2441" y="2702"/>
                </a:lnTo>
                <a:lnTo>
                  <a:pt x="2470" y="2677"/>
                </a:lnTo>
                <a:lnTo>
                  <a:pt x="2499" y="2653"/>
                </a:lnTo>
                <a:lnTo>
                  <a:pt x="2526" y="2628"/>
                </a:lnTo>
                <a:lnTo>
                  <a:pt x="2555" y="2602"/>
                </a:lnTo>
                <a:lnTo>
                  <a:pt x="2582" y="2575"/>
                </a:lnTo>
                <a:lnTo>
                  <a:pt x="2609" y="2548"/>
                </a:lnTo>
                <a:lnTo>
                  <a:pt x="2635" y="2520"/>
                </a:lnTo>
                <a:lnTo>
                  <a:pt x="2661" y="2491"/>
                </a:lnTo>
                <a:lnTo>
                  <a:pt x="2685" y="2463"/>
                </a:lnTo>
                <a:lnTo>
                  <a:pt x="2709" y="2435"/>
                </a:lnTo>
                <a:lnTo>
                  <a:pt x="2732" y="2405"/>
                </a:lnTo>
                <a:lnTo>
                  <a:pt x="2778" y="2346"/>
                </a:lnTo>
                <a:lnTo>
                  <a:pt x="2820" y="2284"/>
                </a:lnTo>
                <a:lnTo>
                  <a:pt x="2859" y="2222"/>
                </a:lnTo>
                <a:lnTo>
                  <a:pt x="2896" y="2160"/>
                </a:lnTo>
                <a:lnTo>
                  <a:pt x="2930" y="2096"/>
                </a:lnTo>
                <a:lnTo>
                  <a:pt x="2962" y="2030"/>
                </a:lnTo>
                <a:lnTo>
                  <a:pt x="2991" y="1965"/>
                </a:lnTo>
                <a:lnTo>
                  <a:pt x="3017" y="1898"/>
                </a:lnTo>
                <a:lnTo>
                  <a:pt x="3040" y="1831"/>
                </a:lnTo>
                <a:lnTo>
                  <a:pt x="3061" y="1763"/>
                </a:lnTo>
                <a:lnTo>
                  <a:pt x="3078" y="1694"/>
                </a:lnTo>
                <a:lnTo>
                  <a:pt x="3093" y="1625"/>
                </a:lnTo>
                <a:lnTo>
                  <a:pt x="3105" y="1556"/>
                </a:lnTo>
                <a:lnTo>
                  <a:pt x="3115" y="1485"/>
                </a:lnTo>
                <a:lnTo>
                  <a:pt x="3123" y="1415"/>
                </a:lnTo>
                <a:lnTo>
                  <a:pt x="3126" y="1345"/>
                </a:lnTo>
                <a:lnTo>
                  <a:pt x="3129" y="1275"/>
                </a:lnTo>
                <a:lnTo>
                  <a:pt x="3128" y="1204"/>
                </a:lnTo>
                <a:lnTo>
                  <a:pt x="3123" y="1134"/>
                </a:lnTo>
                <a:lnTo>
                  <a:pt x="3117" y="1064"/>
                </a:lnTo>
                <a:lnTo>
                  <a:pt x="3108" y="995"/>
                </a:lnTo>
                <a:lnTo>
                  <a:pt x="3096" y="924"/>
                </a:lnTo>
                <a:lnTo>
                  <a:pt x="3081" y="855"/>
                </a:lnTo>
                <a:lnTo>
                  <a:pt x="3064" y="786"/>
                </a:lnTo>
                <a:lnTo>
                  <a:pt x="3043" y="719"/>
                </a:lnTo>
                <a:lnTo>
                  <a:pt x="3019" y="651"/>
                </a:lnTo>
                <a:lnTo>
                  <a:pt x="2995" y="584"/>
                </a:lnTo>
                <a:lnTo>
                  <a:pt x="2966" y="518"/>
                </a:lnTo>
                <a:lnTo>
                  <a:pt x="2934" y="452"/>
                </a:lnTo>
                <a:lnTo>
                  <a:pt x="2921" y="488"/>
                </a:lnTo>
                <a:lnTo>
                  <a:pt x="2903" y="524"/>
                </a:lnTo>
                <a:lnTo>
                  <a:pt x="2886" y="562"/>
                </a:lnTo>
                <a:lnTo>
                  <a:pt x="2866" y="600"/>
                </a:lnTo>
                <a:lnTo>
                  <a:pt x="2847" y="640"/>
                </a:lnTo>
                <a:lnTo>
                  <a:pt x="2823" y="679"/>
                </a:lnTo>
                <a:lnTo>
                  <a:pt x="2800" y="720"/>
                </a:lnTo>
                <a:lnTo>
                  <a:pt x="2775" y="762"/>
                </a:lnTo>
                <a:lnTo>
                  <a:pt x="2748" y="804"/>
                </a:lnTo>
                <a:lnTo>
                  <a:pt x="2721" y="847"/>
                </a:lnTo>
                <a:lnTo>
                  <a:pt x="2662" y="933"/>
                </a:lnTo>
                <a:lnTo>
                  <a:pt x="2598" y="1023"/>
                </a:lnTo>
                <a:lnTo>
                  <a:pt x="2529" y="1114"/>
                </a:lnTo>
                <a:lnTo>
                  <a:pt x="2457" y="1207"/>
                </a:lnTo>
                <a:lnTo>
                  <a:pt x="2381" y="1300"/>
                </a:lnTo>
                <a:lnTo>
                  <a:pt x="2301" y="1394"/>
                </a:lnTo>
                <a:lnTo>
                  <a:pt x="2218" y="1489"/>
                </a:lnTo>
                <a:lnTo>
                  <a:pt x="2133" y="1584"/>
                </a:lnTo>
                <a:lnTo>
                  <a:pt x="2046" y="1678"/>
                </a:lnTo>
                <a:lnTo>
                  <a:pt x="1957" y="1771"/>
                </a:lnTo>
                <a:lnTo>
                  <a:pt x="1866" y="1864"/>
                </a:lnTo>
                <a:lnTo>
                  <a:pt x="1772" y="1955"/>
                </a:lnTo>
                <a:lnTo>
                  <a:pt x="1678" y="2045"/>
                </a:lnTo>
                <a:lnTo>
                  <a:pt x="1585" y="2133"/>
                </a:lnTo>
                <a:lnTo>
                  <a:pt x="1490" y="2218"/>
                </a:lnTo>
                <a:lnTo>
                  <a:pt x="1396" y="2300"/>
                </a:lnTo>
                <a:lnTo>
                  <a:pt x="1301" y="2380"/>
                </a:lnTo>
                <a:lnTo>
                  <a:pt x="1208" y="2457"/>
                </a:lnTo>
                <a:lnTo>
                  <a:pt x="1115" y="2528"/>
                </a:lnTo>
                <a:lnTo>
                  <a:pt x="1024" y="2597"/>
                </a:lnTo>
                <a:lnTo>
                  <a:pt x="935" y="2661"/>
                </a:lnTo>
                <a:lnTo>
                  <a:pt x="848" y="2720"/>
                </a:lnTo>
                <a:lnTo>
                  <a:pt x="805" y="2749"/>
                </a:lnTo>
                <a:lnTo>
                  <a:pt x="763" y="2775"/>
                </a:lnTo>
                <a:lnTo>
                  <a:pt x="721" y="2801"/>
                </a:lnTo>
                <a:lnTo>
                  <a:pt x="680" y="2824"/>
                </a:lnTo>
                <a:lnTo>
                  <a:pt x="641" y="2846"/>
                </a:lnTo>
                <a:lnTo>
                  <a:pt x="601" y="2867"/>
                </a:lnTo>
                <a:lnTo>
                  <a:pt x="563" y="2887"/>
                </a:lnTo>
                <a:lnTo>
                  <a:pt x="525" y="2904"/>
                </a:lnTo>
                <a:lnTo>
                  <a:pt x="489" y="2920"/>
                </a:lnTo>
                <a:lnTo>
                  <a:pt x="453" y="2935"/>
                </a:lnTo>
                <a:close/>
                <a:moveTo>
                  <a:pt x="3145" y="4664"/>
                </a:moveTo>
                <a:lnTo>
                  <a:pt x="2659" y="3813"/>
                </a:lnTo>
                <a:lnTo>
                  <a:pt x="2000" y="3813"/>
                </a:lnTo>
                <a:lnTo>
                  <a:pt x="1515" y="4664"/>
                </a:lnTo>
                <a:lnTo>
                  <a:pt x="3145" y="4664"/>
                </a:lnTo>
                <a:close/>
                <a:moveTo>
                  <a:pt x="748" y="847"/>
                </a:moveTo>
                <a:lnTo>
                  <a:pt x="874" y="2220"/>
                </a:lnTo>
                <a:lnTo>
                  <a:pt x="781" y="2289"/>
                </a:lnTo>
                <a:lnTo>
                  <a:pt x="738" y="1824"/>
                </a:lnTo>
                <a:lnTo>
                  <a:pt x="691" y="1880"/>
                </a:lnTo>
                <a:lnTo>
                  <a:pt x="647" y="1937"/>
                </a:lnTo>
                <a:lnTo>
                  <a:pt x="603" y="1993"/>
                </a:lnTo>
                <a:lnTo>
                  <a:pt x="561" y="2049"/>
                </a:lnTo>
                <a:lnTo>
                  <a:pt x="520" y="2104"/>
                </a:lnTo>
                <a:lnTo>
                  <a:pt x="481" y="2158"/>
                </a:lnTo>
                <a:lnTo>
                  <a:pt x="444" y="2213"/>
                </a:lnTo>
                <a:lnTo>
                  <a:pt x="409" y="2266"/>
                </a:lnTo>
                <a:lnTo>
                  <a:pt x="376" y="2319"/>
                </a:lnTo>
                <a:lnTo>
                  <a:pt x="346" y="2370"/>
                </a:lnTo>
                <a:lnTo>
                  <a:pt x="318" y="2421"/>
                </a:lnTo>
                <a:lnTo>
                  <a:pt x="292" y="2470"/>
                </a:lnTo>
                <a:lnTo>
                  <a:pt x="269" y="2520"/>
                </a:lnTo>
                <a:lnTo>
                  <a:pt x="248" y="2566"/>
                </a:lnTo>
                <a:lnTo>
                  <a:pt x="229" y="2613"/>
                </a:lnTo>
                <a:lnTo>
                  <a:pt x="214" y="2659"/>
                </a:lnTo>
                <a:lnTo>
                  <a:pt x="206" y="2691"/>
                </a:lnTo>
                <a:lnTo>
                  <a:pt x="200" y="2719"/>
                </a:lnTo>
                <a:lnTo>
                  <a:pt x="197" y="2743"/>
                </a:lnTo>
                <a:lnTo>
                  <a:pt x="196" y="2761"/>
                </a:lnTo>
                <a:lnTo>
                  <a:pt x="197" y="2769"/>
                </a:lnTo>
                <a:lnTo>
                  <a:pt x="200" y="2776"/>
                </a:lnTo>
                <a:lnTo>
                  <a:pt x="203" y="2786"/>
                </a:lnTo>
                <a:lnTo>
                  <a:pt x="213" y="2788"/>
                </a:lnTo>
                <a:lnTo>
                  <a:pt x="224" y="2790"/>
                </a:lnTo>
                <a:lnTo>
                  <a:pt x="237" y="2790"/>
                </a:lnTo>
                <a:lnTo>
                  <a:pt x="250" y="2790"/>
                </a:lnTo>
                <a:lnTo>
                  <a:pt x="265" y="2787"/>
                </a:lnTo>
                <a:lnTo>
                  <a:pt x="280" y="2785"/>
                </a:lnTo>
                <a:lnTo>
                  <a:pt x="313" y="2776"/>
                </a:lnTo>
                <a:lnTo>
                  <a:pt x="349" y="2764"/>
                </a:lnTo>
                <a:lnTo>
                  <a:pt x="386" y="2749"/>
                </a:lnTo>
                <a:lnTo>
                  <a:pt x="424" y="2733"/>
                </a:lnTo>
                <a:lnTo>
                  <a:pt x="462" y="2714"/>
                </a:lnTo>
                <a:lnTo>
                  <a:pt x="499" y="2696"/>
                </a:lnTo>
                <a:lnTo>
                  <a:pt x="536" y="2676"/>
                </a:lnTo>
                <a:lnTo>
                  <a:pt x="603" y="2639"/>
                </a:lnTo>
                <a:lnTo>
                  <a:pt x="657" y="2607"/>
                </a:lnTo>
                <a:lnTo>
                  <a:pt x="691" y="2586"/>
                </a:lnTo>
                <a:lnTo>
                  <a:pt x="748" y="2548"/>
                </a:lnTo>
                <a:lnTo>
                  <a:pt x="810" y="2506"/>
                </a:lnTo>
                <a:lnTo>
                  <a:pt x="875" y="2459"/>
                </a:lnTo>
                <a:lnTo>
                  <a:pt x="943" y="2409"/>
                </a:lnTo>
                <a:lnTo>
                  <a:pt x="1013" y="2354"/>
                </a:lnTo>
                <a:lnTo>
                  <a:pt x="1086" y="2296"/>
                </a:lnTo>
                <a:lnTo>
                  <a:pt x="1160" y="2235"/>
                </a:lnTo>
                <a:lnTo>
                  <a:pt x="1237" y="2169"/>
                </a:lnTo>
                <a:lnTo>
                  <a:pt x="1315" y="2103"/>
                </a:lnTo>
                <a:lnTo>
                  <a:pt x="1394" y="2033"/>
                </a:lnTo>
                <a:lnTo>
                  <a:pt x="1474" y="1961"/>
                </a:lnTo>
                <a:lnTo>
                  <a:pt x="1554" y="1886"/>
                </a:lnTo>
                <a:lnTo>
                  <a:pt x="1634" y="1810"/>
                </a:lnTo>
                <a:lnTo>
                  <a:pt x="1714" y="1732"/>
                </a:lnTo>
                <a:lnTo>
                  <a:pt x="1794" y="1653"/>
                </a:lnTo>
                <a:lnTo>
                  <a:pt x="1873" y="1573"/>
                </a:lnTo>
                <a:lnTo>
                  <a:pt x="1951" y="1492"/>
                </a:lnTo>
                <a:lnTo>
                  <a:pt x="2027" y="1409"/>
                </a:lnTo>
                <a:lnTo>
                  <a:pt x="2102" y="1326"/>
                </a:lnTo>
                <a:lnTo>
                  <a:pt x="2175" y="1244"/>
                </a:lnTo>
                <a:lnTo>
                  <a:pt x="2245" y="1161"/>
                </a:lnTo>
                <a:lnTo>
                  <a:pt x="2313" y="1080"/>
                </a:lnTo>
                <a:lnTo>
                  <a:pt x="2377" y="997"/>
                </a:lnTo>
                <a:lnTo>
                  <a:pt x="2439" y="917"/>
                </a:lnTo>
                <a:lnTo>
                  <a:pt x="2495" y="837"/>
                </a:lnTo>
                <a:lnTo>
                  <a:pt x="2550" y="758"/>
                </a:lnTo>
                <a:lnTo>
                  <a:pt x="2599" y="682"/>
                </a:lnTo>
                <a:lnTo>
                  <a:pt x="2621" y="643"/>
                </a:lnTo>
                <a:lnTo>
                  <a:pt x="2643" y="606"/>
                </a:lnTo>
                <a:lnTo>
                  <a:pt x="2664" y="569"/>
                </a:lnTo>
                <a:lnTo>
                  <a:pt x="2683" y="533"/>
                </a:lnTo>
                <a:lnTo>
                  <a:pt x="2701" y="497"/>
                </a:lnTo>
                <a:lnTo>
                  <a:pt x="2717" y="461"/>
                </a:lnTo>
                <a:lnTo>
                  <a:pt x="2733" y="427"/>
                </a:lnTo>
                <a:lnTo>
                  <a:pt x="2747" y="393"/>
                </a:lnTo>
                <a:lnTo>
                  <a:pt x="2759" y="360"/>
                </a:lnTo>
                <a:lnTo>
                  <a:pt x="2770" y="327"/>
                </a:lnTo>
                <a:lnTo>
                  <a:pt x="2779" y="296"/>
                </a:lnTo>
                <a:lnTo>
                  <a:pt x="2783" y="280"/>
                </a:lnTo>
                <a:lnTo>
                  <a:pt x="2785" y="264"/>
                </a:lnTo>
                <a:lnTo>
                  <a:pt x="2787" y="248"/>
                </a:lnTo>
                <a:lnTo>
                  <a:pt x="2787" y="232"/>
                </a:lnTo>
                <a:lnTo>
                  <a:pt x="2785" y="216"/>
                </a:lnTo>
                <a:lnTo>
                  <a:pt x="2780" y="200"/>
                </a:lnTo>
                <a:lnTo>
                  <a:pt x="2770" y="197"/>
                </a:lnTo>
                <a:lnTo>
                  <a:pt x="2759" y="196"/>
                </a:lnTo>
                <a:lnTo>
                  <a:pt x="2747" y="195"/>
                </a:lnTo>
                <a:lnTo>
                  <a:pt x="2733" y="196"/>
                </a:lnTo>
                <a:lnTo>
                  <a:pt x="2718" y="198"/>
                </a:lnTo>
                <a:lnTo>
                  <a:pt x="2704" y="201"/>
                </a:lnTo>
                <a:lnTo>
                  <a:pt x="2670" y="210"/>
                </a:lnTo>
                <a:lnTo>
                  <a:pt x="2636" y="222"/>
                </a:lnTo>
                <a:lnTo>
                  <a:pt x="2599" y="237"/>
                </a:lnTo>
                <a:lnTo>
                  <a:pt x="2561" y="253"/>
                </a:lnTo>
                <a:lnTo>
                  <a:pt x="2523" y="271"/>
                </a:lnTo>
                <a:lnTo>
                  <a:pt x="2484" y="290"/>
                </a:lnTo>
                <a:lnTo>
                  <a:pt x="2447" y="309"/>
                </a:lnTo>
                <a:lnTo>
                  <a:pt x="2381" y="346"/>
                </a:lnTo>
                <a:lnTo>
                  <a:pt x="2328" y="378"/>
                </a:lnTo>
                <a:lnTo>
                  <a:pt x="2293" y="399"/>
                </a:lnTo>
                <a:lnTo>
                  <a:pt x="2256" y="423"/>
                </a:lnTo>
                <a:lnTo>
                  <a:pt x="2218" y="449"/>
                </a:lnTo>
                <a:lnTo>
                  <a:pt x="2137" y="505"/>
                </a:lnTo>
                <a:lnTo>
                  <a:pt x="2051" y="569"/>
                </a:lnTo>
                <a:lnTo>
                  <a:pt x="1959" y="640"/>
                </a:lnTo>
                <a:lnTo>
                  <a:pt x="1672" y="614"/>
                </a:lnTo>
                <a:lnTo>
                  <a:pt x="1738" y="561"/>
                </a:lnTo>
                <a:lnTo>
                  <a:pt x="1802" y="509"/>
                </a:lnTo>
                <a:lnTo>
                  <a:pt x="1866" y="459"/>
                </a:lnTo>
                <a:lnTo>
                  <a:pt x="1930" y="410"/>
                </a:lnTo>
                <a:lnTo>
                  <a:pt x="1993" y="365"/>
                </a:lnTo>
                <a:lnTo>
                  <a:pt x="2054" y="320"/>
                </a:lnTo>
                <a:lnTo>
                  <a:pt x="2115" y="279"/>
                </a:lnTo>
                <a:lnTo>
                  <a:pt x="2175" y="239"/>
                </a:lnTo>
                <a:lnTo>
                  <a:pt x="2233" y="203"/>
                </a:lnTo>
                <a:lnTo>
                  <a:pt x="2290" y="169"/>
                </a:lnTo>
                <a:lnTo>
                  <a:pt x="2346" y="138"/>
                </a:lnTo>
                <a:lnTo>
                  <a:pt x="2401" y="110"/>
                </a:lnTo>
                <a:lnTo>
                  <a:pt x="2452" y="84"/>
                </a:lnTo>
                <a:lnTo>
                  <a:pt x="2503" y="62"/>
                </a:lnTo>
                <a:lnTo>
                  <a:pt x="2552" y="42"/>
                </a:lnTo>
                <a:lnTo>
                  <a:pt x="2599" y="26"/>
                </a:lnTo>
                <a:lnTo>
                  <a:pt x="2631" y="17"/>
                </a:lnTo>
                <a:lnTo>
                  <a:pt x="2662" y="10"/>
                </a:lnTo>
                <a:lnTo>
                  <a:pt x="2691" y="5"/>
                </a:lnTo>
                <a:lnTo>
                  <a:pt x="2720" y="1"/>
                </a:lnTo>
                <a:lnTo>
                  <a:pt x="2747" y="0"/>
                </a:lnTo>
                <a:lnTo>
                  <a:pt x="2773" y="1"/>
                </a:lnTo>
                <a:lnTo>
                  <a:pt x="2797" y="2"/>
                </a:lnTo>
                <a:lnTo>
                  <a:pt x="2821" y="7"/>
                </a:lnTo>
                <a:lnTo>
                  <a:pt x="2843" y="14"/>
                </a:lnTo>
                <a:lnTo>
                  <a:pt x="2863" y="21"/>
                </a:lnTo>
                <a:lnTo>
                  <a:pt x="2881" y="30"/>
                </a:lnTo>
                <a:lnTo>
                  <a:pt x="2900" y="41"/>
                </a:lnTo>
                <a:lnTo>
                  <a:pt x="2914" y="53"/>
                </a:lnTo>
                <a:lnTo>
                  <a:pt x="2929" y="68"/>
                </a:lnTo>
                <a:lnTo>
                  <a:pt x="2942" y="84"/>
                </a:lnTo>
                <a:lnTo>
                  <a:pt x="2953" y="101"/>
                </a:lnTo>
                <a:lnTo>
                  <a:pt x="2976" y="134"/>
                </a:lnTo>
                <a:lnTo>
                  <a:pt x="2998" y="168"/>
                </a:lnTo>
                <a:lnTo>
                  <a:pt x="3020" y="202"/>
                </a:lnTo>
                <a:lnTo>
                  <a:pt x="3041" y="237"/>
                </a:lnTo>
                <a:lnTo>
                  <a:pt x="3061" y="271"/>
                </a:lnTo>
                <a:lnTo>
                  <a:pt x="3081" y="307"/>
                </a:lnTo>
                <a:lnTo>
                  <a:pt x="3099" y="341"/>
                </a:lnTo>
                <a:lnTo>
                  <a:pt x="3118" y="377"/>
                </a:lnTo>
                <a:lnTo>
                  <a:pt x="3135" y="413"/>
                </a:lnTo>
                <a:lnTo>
                  <a:pt x="3151" y="450"/>
                </a:lnTo>
                <a:lnTo>
                  <a:pt x="3167" y="486"/>
                </a:lnTo>
                <a:lnTo>
                  <a:pt x="3182" y="523"/>
                </a:lnTo>
                <a:lnTo>
                  <a:pt x="3197" y="560"/>
                </a:lnTo>
                <a:lnTo>
                  <a:pt x="3210" y="597"/>
                </a:lnTo>
                <a:lnTo>
                  <a:pt x="3222" y="634"/>
                </a:lnTo>
                <a:lnTo>
                  <a:pt x="3235" y="671"/>
                </a:lnTo>
                <a:lnTo>
                  <a:pt x="3246" y="708"/>
                </a:lnTo>
                <a:lnTo>
                  <a:pt x="3256" y="746"/>
                </a:lnTo>
                <a:lnTo>
                  <a:pt x="3266" y="783"/>
                </a:lnTo>
                <a:lnTo>
                  <a:pt x="3275" y="821"/>
                </a:lnTo>
                <a:lnTo>
                  <a:pt x="3283" y="859"/>
                </a:lnTo>
                <a:lnTo>
                  <a:pt x="3290" y="897"/>
                </a:lnTo>
                <a:lnTo>
                  <a:pt x="3298" y="936"/>
                </a:lnTo>
                <a:lnTo>
                  <a:pt x="3304" y="974"/>
                </a:lnTo>
                <a:lnTo>
                  <a:pt x="3309" y="1012"/>
                </a:lnTo>
                <a:lnTo>
                  <a:pt x="3314" y="1050"/>
                </a:lnTo>
                <a:lnTo>
                  <a:pt x="3317" y="1088"/>
                </a:lnTo>
                <a:lnTo>
                  <a:pt x="3321" y="1128"/>
                </a:lnTo>
                <a:lnTo>
                  <a:pt x="3322" y="1166"/>
                </a:lnTo>
                <a:lnTo>
                  <a:pt x="3325" y="1204"/>
                </a:lnTo>
                <a:lnTo>
                  <a:pt x="3325" y="1244"/>
                </a:lnTo>
                <a:lnTo>
                  <a:pt x="3326" y="1282"/>
                </a:lnTo>
                <a:lnTo>
                  <a:pt x="3325" y="1320"/>
                </a:lnTo>
                <a:lnTo>
                  <a:pt x="3324" y="1360"/>
                </a:lnTo>
                <a:lnTo>
                  <a:pt x="3321" y="1398"/>
                </a:lnTo>
                <a:lnTo>
                  <a:pt x="3319" y="1436"/>
                </a:lnTo>
                <a:lnTo>
                  <a:pt x="3315" y="1474"/>
                </a:lnTo>
                <a:lnTo>
                  <a:pt x="3311" y="1514"/>
                </a:lnTo>
                <a:lnTo>
                  <a:pt x="3306" y="1552"/>
                </a:lnTo>
                <a:lnTo>
                  <a:pt x="3300" y="1590"/>
                </a:lnTo>
                <a:lnTo>
                  <a:pt x="3294" y="1628"/>
                </a:lnTo>
                <a:lnTo>
                  <a:pt x="3287" y="1667"/>
                </a:lnTo>
                <a:lnTo>
                  <a:pt x="3278" y="1704"/>
                </a:lnTo>
                <a:lnTo>
                  <a:pt x="3269" y="1742"/>
                </a:lnTo>
                <a:lnTo>
                  <a:pt x="3259" y="1780"/>
                </a:lnTo>
                <a:lnTo>
                  <a:pt x="3250" y="1817"/>
                </a:lnTo>
                <a:lnTo>
                  <a:pt x="3239" y="1855"/>
                </a:lnTo>
                <a:lnTo>
                  <a:pt x="3227" y="1892"/>
                </a:lnTo>
                <a:lnTo>
                  <a:pt x="3215" y="1929"/>
                </a:lnTo>
                <a:lnTo>
                  <a:pt x="3202" y="1966"/>
                </a:lnTo>
                <a:lnTo>
                  <a:pt x="3188" y="2003"/>
                </a:lnTo>
                <a:lnTo>
                  <a:pt x="3173" y="2039"/>
                </a:lnTo>
                <a:lnTo>
                  <a:pt x="3157" y="2076"/>
                </a:lnTo>
                <a:lnTo>
                  <a:pt x="3141" y="2112"/>
                </a:lnTo>
                <a:lnTo>
                  <a:pt x="3125" y="2147"/>
                </a:lnTo>
                <a:lnTo>
                  <a:pt x="3107" y="2183"/>
                </a:lnTo>
                <a:lnTo>
                  <a:pt x="3089" y="2219"/>
                </a:lnTo>
                <a:lnTo>
                  <a:pt x="3070" y="2253"/>
                </a:lnTo>
                <a:lnTo>
                  <a:pt x="3050" y="2288"/>
                </a:lnTo>
                <a:lnTo>
                  <a:pt x="3029" y="2322"/>
                </a:lnTo>
                <a:lnTo>
                  <a:pt x="3008" y="2357"/>
                </a:lnTo>
                <a:lnTo>
                  <a:pt x="2986" y="2390"/>
                </a:lnTo>
                <a:lnTo>
                  <a:pt x="2964" y="2423"/>
                </a:lnTo>
                <a:lnTo>
                  <a:pt x="2940" y="2457"/>
                </a:lnTo>
                <a:lnTo>
                  <a:pt x="3264" y="2798"/>
                </a:lnTo>
                <a:lnTo>
                  <a:pt x="3269" y="2804"/>
                </a:lnTo>
                <a:lnTo>
                  <a:pt x="3274" y="2812"/>
                </a:lnTo>
                <a:lnTo>
                  <a:pt x="3278" y="2819"/>
                </a:lnTo>
                <a:lnTo>
                  <a:pt x="3280" y="2826"/>
                </a:lnTo>
                <a:lnTo>
                  <a:pt x="3280" y="2835"/>
                </a:lnTo>
                <a:lnTo>
                  <a:pt x="3279" y="2844"/>
                </a:lnTo>
                <a:lnTo>
                  <a:pt x="3277" y="2854"/>
                </a:lnTo>
                <a:lnTo>
                  <a:pt x="3272" y="2863"/>
                </a:lnTo>
                <a:lnTo>
                  <a:pt x="2744" y="3765"/>
                </a:lnTo>
                <a:lnTo>
                  <a:pt x="3272" y="4689"/>
                </a:lnTo>
                <a:lnTo>
                  <a:pt x="3275" y="4696"/>
                </a:lnTo>
                <a:lnTo>
                  <a:pt x="3279" y="4704"/>
                </a:lnTo>
                <a:lnTo>
                  <a:pt x="3280" y="4710"/>
                </a:lnTo>
                <a:lnTo>
                  <a:pt x="3282" y="4717"/>
                </a:lnTo>
                <a:lnTo>
                  <a:pt x="3282" y="4724"/>
                </a:lnTo>
                <a:lnTo>
                  <a:pt x="3280" y="4730"/>
                </a:lnTo>
                <a:lnTo>
                  <a:pt x="3279" y="4735"/>
                </a:lnTo>
                <a:lnTo>
                  <a:pt x="3277" y="4741"/>
                </a:lnTo>
                <a:lnTo>
                  <a:pt x="3273" y="4746"/>
                </a:lnTo>
                <a:lnTo>
                  <a:pt x="3269" y="4749"/>
                </a:lnTo>
                <a:lnTo>
                  <a:pt x="3264" y="4753"/>
                </a:lnTo>
                <a:lnTo>
                  <a:pt x="3258" y="4757"/>
                </a:lnTo>
                <a:lnTo>
                  <a:pt x="3252" y="4759"/>
                </a:lnTo>
                <a:lnTo>
                  <a:pt x="3245" y="4761"/>
                </a:lnTo>
                <a:lnTo>
                  <a:pt x="3237" y="4762"/>
                </a:lnTo>
                <a:lnTo>
                  <a:pt x="3230" y="4763"/>
                </a:lnTo>
                <a:lnTo>
                  <a:pt x="1429" y="4763"/>
                </a:lnTo>
                <a:lnTo>
                  <a:pt x="1422" y="4762"/>
                </a:lnTo>
                <a:lnTo>
                  <a:pt x="1415" y="4761"/>
                </a:lnTo>
                <a:lnTo>
                  <a:pt x="1407" y="4759"/>
                </a:lnTo>
                <a:lnTo>
                  <a:pt x="1401" y="4757"/>
                </a:lnTo>
                <a:lnTo>
                  <a:pt x="1395" y="4753"/>
                </a:lnTo>
                <a:lnTo>
                  <a:pt x="1390" y="4749"/>
                </a:lnTo>
                <a:lnTo>
                  <a:pt x="1386" y="4746"/>
                </a:lnTo>
                <a:lnTo>
                  <a:pt x="1383" y="4741"/>
                </a:lnTo>
                <a:lnTo>
                  <a:pt x="1380" y="4735"/>
                </a:lnTo>
                <a:lnTo>
                  <a:pt x="1379" y="4730"/>
                </a:lnTo>
                <a:lnTo>
                  <a:pt x="1378" y="4724"/>
                </a:lnTo>
                <a:lnTo>
                  <a:pt x="1378" y="4717"/>
                </a:lnTo>
                <a:lnTo>
                  <a:pt x="1379" y="4710"/>
                </a:lnTo>
                <a:lnTo>
                  <a:pt x="1380" y="4704"/>
                </a:lnTo>
                <a:lnTo>
                  <a:pt x="1384" y="4696"/>
                </a:lnTo>
                <a:lnTo>
                  <a:pt x="1388" y="4689"/>
                </a:lnTo>
                <a:lnTo>
                  <a:pt x="1915" y="3765"/>
                </a:lnTo>
                <a:lnTo>
                  <a:pt x="1686" y="3374"/>
                </a:lnTo>
                <a:lnTo>
                  <a:pt x="1735" y="3361"/>
                </a:lnTo>
                <a:lnTo>
                  <a:pt x="1786" y="3348"/>
                </a:lnTo>
                <a:lnTo>
                  <a:pt x="2000" y="3714"/>
                </a:lnTo>
                <a:lnTo>
                  <a:pt x="2659" y="3714"/>
                </a:lnTo>
                <a:lnTo>
                  <a:pt x="3144" y="2888"/>
                </a:lnTo>
                <a:lnTo>
                  <a:pt x="2859" y="2888"/>
                </a:lnTo>
                <a:lnTo>
                  <a:pt x="2590" y="3308"/>
                </a:lnTo>
                <a:lnTo>
                  <a:pt x="2585" y="3315"/>
                </a:lnTo>
                <a:lnTo>
                  <a:pt x="2577" y="3322"/>
                </a:lnTo>
                <a:lnTo>
                  <a:pt x="2572" y="3326"/>
                </a:lnTo>
                <a:lnTo>
                  <a:pt x="2564" y="3328"/>
                </a:lnTo>
                <a:lnTo>
                  <a:pt x="2557" y="3329"/>
                </a:lnTo>
                <a:lnTo>
                  <a:pt x="2548" y="3331"/>
                </a:lnTo>
                <a:lnTo>
                  <a:pt x="2111" y="3331"/>
                </a:lnTo>
                <a:lnTo>
                  <a:pt x="2104" y="3331"/>
                </a:lnTo>
                <a:lnTo>
                  <a:pt x="2097" y="3329"/>
                </a:lnTo>
                <a:lnTo>
                  <a:pt x="2091" y="3327"/>
                </a:lnTo>
                <a:lnTo>
                  <a:pt x="2086" y="3324"/>
                </a:lnTo>
                <a:lnTo>
                  <a:pt x="2081" y="3321"/>
                </a:lnTo>
                <a:lnTo>
                  <a:pt x="2076" y="3317"/>
                </a:lnTo>
                <a:lnTo>
                  <a:pt x="2069" y="3308"/>
                </a:lnTo>
                <a:lnTo>
                  <a:pt x="2041" y="3264"/>
                </a:lnTo>
                <a:lnTo>
                  <a:pt x="2091" y="3249"/>
                </a:lnTo>
                <a:lnTo>
                  <a:pt x="2116" y="3241"/>
                </a:lnTo>
                <a:lnTo>
                  <a:pt x="2138" y="3232"/>
                </a:lnTo>
                <a:lnTo>
                  <a:pt x="2521" y="3232"/>
                </a:lnTo>
                <a:lnTo>
                  <a:pt x="2790" y="2812"/>
                </a:lnTo>
                <a:lnTo>
                  <a:pt x="2794" y="2807"/>
                </a:lnTo>
                <a:lnTo>
                  <a:pt x="2799" y="2803"/>
                </a:lnTo>
                <a:lnTo>
                  <a:pt x="2808" y="2796"/>
                </a:lnTo>
                <a:lnTo>
                  <a:pt x="2813" y="2793"/>
                </a:lnTo>
                <a:lnTo>
                  <a:pt x="2820" y="2791"/>
                </a:lnTo>
                <a:lnTo>
                  <a:pt x="2826" y="2790"/>
                </a:lnTo>
                <a:lnTo>
                  <a:pt x="2832" y="2790"/>
                </a:lnTo>
                <a:lnTo>
                  <a:pt x="3119" y="2790"/>
                </a:lnTo>
                <a:lnTo>
                  <a:pt x="2880" y="2537"/>
                </a:lnTo>
                <a:lnTo>
                  <a:pt x="2842" y="2582"/>
                </a:lnTo>
                <a:lnTo>
                  <a:pt x="2804" y="2627"/>
                </a:lnTo>
                <a:lnTo>
                  <a:pt x="2763" y="2671"/>
                </a:lnTo>
                <a:lnTo>
                  <a:pt x="2721" y="2714"/>
                </a:lnTo>
                <a:lnTo>
                  <a:pt x="2686" y="2748"/>
                </a:lnTo>
                <a:lnTo>
                  <a:pt x="2652" y="2781"/>
                </a:lnTo>
                <a:lnTo>
                  <a:pt x="2616" y="2812"/>
                </a:lnTo>
                <a:lnTo>
                  <a:pt x="2580" y="2843"/>
                </a:lnTo>
                <a:lnTo>
                  <a:pt x="2543" y="2872"/>
                </a:lnTo>
                <a:lnTo>
                  <a:pt x="2507" y="2902"/>
                </a:lnTo>
                <a:lnTo>
                  <a:pt x="2470" y="2929"/>
                </a:lnTo>
                <a:lnTo>
                  <a:pt x="2431" y="2956"/>
                </a:lnTo>
                <a:lnTo>
                  <a:pt x="2393" y="2982"/>
                </a:lnTo>
                <a:lnTo>
                  <a:pt x="2354" y="3006"/>
                </a:lnTo>
                <a:lnTo>
                  <a:pt x="2314" y="3031"/>
                </a:lnTo>
                <a:lnTo>
                  <a:pt x="2275" y="3053"/>
                </a:lnTo>
                <a:lnTo>
                  <a:pt x="2234" y="3075"/>
                </a:lnTo>
                <a:lnTo>
                  <a:pt x="2194" y="3096"/>
                </a:lnTo>
                <a:lnTo>
                  <a:pt x="2153" y="3116"/>
                </a:lnTo>
                <a:lnTo>
                  <a:pt x="2112" y="3136"/>
                </a:lnTo>
                <a:lnTo>
                  <a:pt x="2070" y="3154"/>
                </a:lnTo>
                <a:lnTo>
                  <a:pt x="2028" y="3172"/>
                </a:lnTo>
                <a:lnTo>
                  <a:pt x="1986" y="3188"/>
                </a:lnTo>
                <a:lnTo>
                  <a:pt x="1945" y="3202"/>
                </a:lnTo>
                <a:lnTo>
                  <a:pt x="1901" y="3217"/>
                </a:lnTo>
                <a:lnTo>
                  <a:pt x="1858" y="3231"/>
                </a:lnTo>
                <a:lnTo>
                  <a:pt x="1815" y="3243"/>
                </a:lnTo>
                <a:lnTo>
                  <a:pt x="1772" y="3254"/>
                </a:lnTo>
                <a:lnTo>
                  <a:pt x="1729" y="3265"/>
                </a:lnTo>
                <a:lnTo>
                  <a:pt x="1685" y="3275"/>
                </a:lnTo>
                <a:lnTo>
                  <a:pt x="1641" y="3284"/>
                </a:lnTo>
                <a:lnTo>
                  <a:pt x="1597" y="3291"/>
                </a:lnTo>
                <a:lnTo>
                  <a:pt x="1553" y="3297"/>
                </a:lnTo>
                <a:lnTo>
                  <a:pt x="1508" y="3304"/>
                </a:lnTo>
                <a:lnTo>
                  <a:pt x="1464" y="3308"/>
                </a:lnTo>
                <a:lnTo>
                  <a:pt x="1420" y="3312"/>
                </a:lnTo>
                <a:lnTo>
                  <a:pt x="1375" y="3315"/>
                </a:lnTo>
                <a:lnTo>
                  <a:pt x="1331" y="3317"/>
                </a:lnTo>
                <a:lnTo>
                  <a:pt x="1287" y="3317"/>
                </a:lnTo>
                <a:lnTo>
                  <a:pt x="1242" y="3317"/>
                </a:lnTo>
                <a:lnTo>
                  <a:pt x="1197" y="3317"/>
                </a:lnTo>
                <a:lnTo>
                  <a:pt x="1152" y="3315"/>
                </a:lnTo>
                <a:lnTo>
                  <a:pt x="1108" y="3312"/>
                </a:lnTo>
                <a:lnTo>
                  <a:pt x="1063" y="3308"/>
                </a:lnTo>
                <a:lnTo>
                  <a:pt x="1019" y="3304"/>
                </a:lnTo>
                <a:lnTo>
                  <a:pt x="975" y="3297"/>
                </a:lnTo>
                <a:lnTo>
                  <a:pt x="930" y="3291"/>
                </a:lnTo>
                <a:lnTo>
                  <a:pt x="887" y="3283"/>
                </a:lnTo>
                <a:lnTo>
                  <a:pt x="843" y="3274"/>
                </a:lnTo>
                <a:lnTo>
                  <a:pt x="800" y="3265"/>
                </a:lnTo>
                <a:lnTo>
                  <a:pt x="755" y="3254"/>
                </a:lnTo>
                <a:lnTo>
                  <a:pt x="712" y="3243"/>
                </a:lnTo>
                <a:lnTo>
                  <a:pt x="669" y="3230"/>
                </a:lnTo>
                <a:lnTo>
                  <a:pt x="626" y="3217"/>
                </a:lnTo>
                <a:lnTo>
                  <a:pt x="584" y="3202"/>
                </a:lnTo>
                <a:lnTo>
                  <a:pt x="541" y="3186"/>
                </a:lnTo>
                <a:lnTo>
                  <a:pt x="499" y="3170"/>
                </a:lnTo>
                <a:lnTo>
                  <a:pt x="457" y="3153"/>
                </a:lnTo>
                <a:lnTo>
                  <a:pt x="417" y="3135"/>
                </a:lnTo>
                <a:lnTo>
                  <a:pt x="375" y="3116"/>
                </a:lnTo>
                <a:lnTo>
                  <a:pt x="334" y="3096"/>
                </a:lnTo>
                <a:lnTo>
                  <a:pt x="293" y="3074"/>
                </a:lnTo>
                <a:lnTo>
                  <a:pt x="254" y="3053"/>
                </a:lnTo>
                <a:lnTo>
                  <a:pt x="213" y="3030"/>
                </a:lnTo>
                <a:lnTo>
                  <a:pt x="174" y="3005"/>
                </a:lnTo>
                <a:lnTo>
                  <a:pt x="136" y="2981"/>
                </a:lnTo>
                <a:lnTo>
                  <a:pt x="97" y="2955"/>
                </a:lnTo>
                <a:lnTo>
                  <a:pt x="59" y="2928"/>
                </a:lnTo>
                <a:lnTo>
                  <a:pt x="62" y="2925"/>
                </a:lnTo>
                <a:lnTo>
                  <a:pt x="49" y="2912"/>
                </a:lnTo>
                <a:lnTo>
                  <a:pt x="39" y="2898"/>
                </a:lnTo>
                <a:lnTo>
                  <a:pt x="30" y="2883"/>
                </a:lnTo>
                <a:lnTo>
                  <a:pt x="22" y="2867"/>
                </a:lnTo>
                <a:lnTo>
                  <a:pt x="15" y="2851"/>
                </a:lnTo>
                <a:lnTo>
                  <a:pt x="10" y="2833"/>
                </a:lnTo>
                <a:lnTo>
                  <a:pt x="5" y="2813"/>
                </a:lnTo>
                <a:lnTo>
                  <a:pt x="2" y="2793"/>
                </a:lnTo>
                <a:lnTo>
                  <a:pt x="0" y="2772"/>
                </a:lnTo>
                <a:lnTo>
                  <a:pt x="0" y="2750"/>
                </a:lnTo>
                <a:lnTo>
                  <a:pt x="1" y="2728"/>
                </a:lnTo>
                <a:lnTo>
                  <a:pt x="2" y="2703"/>
                </a:lnTo>
                <a:lnTo>
                  <a:pt x="6" y="2679"/>
                </a:lnTo>
                <a:lnTo>
                  <a:pt x="11" y="2654"/>
                </a:lnTo>
                <a:lnTo>
                  <a:pt x="18" y="2627"/>
                </a:lnTo>
                <a:lnTo>
                  <a:pt x="26" y="2600"/>
                </a:lnTo>
                <a:lnTo>
                  <a:pt x="35" y="2574"/>
                </a:lnTo>
                <a:lnTo>
                  <a:pt x="44" y="2548"/>
                </a:lnTo>
                <a:lnTo>
                  <a:pt x="65" y="2492"/>
                </a:lnTo>
                <a:lnTo>
                  <a:pt x="91" y="2436"/>
                </a:lnTo>
                <a:lnTo>
                  <a:pt x="122" y="2377"/>
                </a:lnTo>
                <a:lnTo>
                  <a:pt x="155" y="2316"/>
                </a:lnTo>
                <a:lnTo>
                  <a:pt x="191" y="2253"/>
                </a:lnTo>
                <a:lnTo>
                  <a:pt x="232" y="2188"/>
                </a:lnTo>
                <a:lnTo>
                  <a:pt x="275" y="2121"/>
                </a:lnTo>
                <a:lnTo>
                  <a:pt x="320" y="2054"/>
                </a:lnTo>
                <a:lnTo>
                  <a:pt x="370" y="1985"/>
                </a:lnTo>
                <a:lnTo>
                  <a:pt x="421" y="1916"/>
                </a:lnTo>
                <a:lnTo>
                  <a:pt x="476" y="1844"/>
                </a:lnTo>
                <a:lnTo>
                  <a:pt x="532" y="1773"/>
                </a:lnTo>
                <a:lnTo>
                  <a:pt x="590" y="1700"/>
                </a:lnTo>
                <a:lnTo>
                  <a:pt x="652" y="1627"/>
                </a:lnTo>
                <a:lnTo>
                  <a:pt x="714" y="1554"/>
                </a:lnTo>
                <a:lnTo>
                  <a:pt x="651" y="862"/>
                </a:lnTo>
                <a:lnTo>
                  <a:pt x="635" y="859"/>
                </a:lnTo>
                <a:lnTo>
                  <a:pt x="619" y="855"/>
                </a:lnTo>
                <a:lnTo>
                  <a:pt x="603" y="849"/>
                </a:lnTo>
                <a:lnTo>
                  <a:pt x="587" y="843"/>
                </a:lnTo>
                <a:lnTo>
                  <a:pt x="572" y="836"/>
                </a:lnTo>
                <a:lnTo>
                  <a:pt x="558" y="826"/>
                </a:lnTo>
                <a:lnTo>
                  <a:pt x="543" y="816"/>
                </a:lnTo>
                <a:lnTo>
                  <a:pt x="531" y="804"/>
                </a:lnTo>
                <a:lnTo>
                  <a:pt x="518" y="789"/>
                </a:lnTo>
                <a:lnTo>
                  <a:pt x="505" y="773"/>
                </a:lnTo>
                <a:lnTo>
                  <a:pt x="495" y="756"/>
                </a:lnTo>
                <a:lnTo>
                  <a:pt x="487" y="738"/>
                </a:lnTo>
                <a:lnTo>
                  <a:pt x="481" y="720"/>
                </a:lnTo>
                <a:lnTo>
                  <a:pt x="477" y="701"/>
                </a:lnTo>
                <a:lnTo>
                  <a:pt x="473" y="683"/>
                </a:lnTo>
                <a:lnTo>
                  <a:pt x="473" y="663"/>
                </a:lnTo>
                <a:lnTo>
                  <a:pt x="473" y="645"/>
                </a:lnTo>
                <a:lnTo>
                  <a:pt x="477" y="625"/>
                </a:lnTo>
                <a:lnTo>
                  <a:pt x="481" y="606"/>
                </a:lnTo>
                <a:lnTo>
                  <a:pt x="487" y="589"/>
                </a:lnTo>
                <a:lnTo>
                  <a:pt x="495" y="571"/>
                </a:lnTo>
                <a:lnTo>
                  <a:pt x="505" y="553"/>
                </a:lnTo>
                <a:lnTo>
                  <a:pt x="518" y="537"/>
                </a:lnTo>
                <a:lnTo>
                  <a:pt x="531" y="523"/>
                </a:lnTo>
                <a:lnTo>
                  <a:pt x="546" y="509"/>
                </a:lnTo>
                <a:lnTo>
                  <a:pt x="562" y="498"/>
                </a:lnTo>
                <a:lnTo>
                  <a:pt x="579" y="487"/>
                </a:lnTo>
                <a:lnTo>
                  <a:pt x="596" y="480"/>
                </a:lnTo>
                <a:lnTo>
                  <a:pt x="615" y="473"/>
                </a:lnTo>
                <a:lnTo>
                  <a:pt x="633" y="468"/>
                </a:lnTo>
                <a:lnTo>
                  <a:pt x="652" y="466"/>
                </a:lnTo>
                <a:lnTo>
                  <a:pt x="672" y="465"/>
                </a:lnTo>
                <a:lnTo>
                  <a:pt x="690" y="466"/>
                </a:lnTo>
                <a:lnTo>
                  <a:pt x="710" y="468"/>
                </a:lnTo>
                <a:lnTo>
                  <a:pt x="728" y="473"/>
                </a:lnTo>
                <a:lnTo>
                  <a:pt x="747" y="480"/>
                </a:lnTo>
                <a:lnTo>
                  <a:pt x="764" y="487"/>
                </a:lnTo>
                <a:lnTo>
                  <a:pt x="781" y="498"/>
                </a:lnTo>
                <a:lnTo>
                  <a:pt x="797" y="509"/>
                </a:lnTo>
                <a:lnTo>
                  <a:pt x="812" y="523"/>
                </a:lnTo>
                <a:lnTo>
                  <a:pt x="823" y="535"/>
                </a:lnTo>
                <a:lnTo>
                  <a:pt x="834" y="549"/>
                </a:lnTo>
                <a:lnTo>
                  <a:pt x="843" y="562"/>
                </a:lnTo>
                <a:lnTo>
                  <a:pt x="850" y="577"/>
                </a:lnTo>
                <a:lnTo>
                  <a:pt x="856" y="592"/>
                </a:lnTo>
                <a:lnTo>
                  <a:pt x="861" y="606"/>
                </a:lnTo>
                <a:lnTo>
                  <a:pt x="866" y="621"/>
                </a:lnTo>
                <a:lnTo>
                  <a:pt x="869" y="637"/>
                </a:lnTo>
                <a:lnTo>
                  <a:pt x="2296" y="768"/>
                </a:lnTo>
                <a:lnTo>
                  <a:pt x="2227" y="860"/>
                </a:lnTo>
                <a:lnTo>
                  <a:pt x="1746" y="816"/>
                </a:lnTo>
                <a:lnTo>
                  <a:pt x="1655" y="895"/>
                </a:lnTo>
                <a:lnTo>
                  <a:pt x="1563" y="977"/>
                </a:lnTo>
                <a:lnTo>
                  <a:pt x="1469" y="1063"/>
                </a:lnTo>
                <a:lnTo>
                  <a:pt x="1375" y="1151"/>
                </a:lnTo>
                <a:lnTo>
                  <a:pt x="1232" y="1010"/>
                </a:lnTo>
                <a:lnTo>
                  <a:pt x="1291" y="954"/>
                </a:lnTo>
                <a:lnTo>
                  <a:pt x="1349" y="899"/>
                </a:lnTo>
                <a:lnTo>
                  <a:pt x="1409" y="844"/>
                </a:lnTo>
                <a:lnTo>
                  <a:pt x="1468" y="791"/>
                </a:lnTo>
                <a:lnTo>
                  <a:pt x="856" y="735"/>
                </a:lnTo>
                <a:lnTo>
                  <a:pt x="852" y="748"/>
                </a:lnTo>
                <a:lnTo>
                  <a:pt x="845" y="761"/>
                </a:lnTo>
                <a:lnTo>
                  <a:pt x="1628" y="1543"/>
                </a:lnTo>
                <a:lnTo>
                  <a:pt x="1559" y="1612"/>
                </a:lnTo>
                <a:lnTo>
                  <a:pt x="1234" y="1288"/>
                </a:lnTo>
                <a:lnTo>
                  <a:pt x="1153" y="1369"/>
                </a:lnTo>
                <a:lnTo>
                  <a:pt x="1075" y="1451"/>
                </a:lnTo>
                <a:lnTo>
                  <a:pt x="996" y="1533"/>
                </a:lnTo>
                <a:lnTo>
                  <a:pt x="919" y="1616"/>
                </a:lnTo>
                <a:lnTo>
                  <a:pt x="896" y="1352"/>
                </a:lnTo>
                <a:lnTo>
                  <a:pt x="993" y="1250"/>
                </a:lnTo>
                <a:lnTo>
                  <a:pt x="1093" y="1148"/>
                </a:lnTo>
                <a:lnTo>
                  <a:pt x="778" y="832"/>
                </a:lnTo>
                <a:lnTo>
                  <a:pt x="763" y="839"/>
                </a:lnTo>
                <a:lnTo>
                  <a:pt x="748" y="847"/>
                </a:lnTo>
                <a:close/>
                <a:moveTo>
                  <a:pt x="2072" y="3940"/>
                </a:moveTo>
                <a:lnTo>
                  <a:pt x="2298" y="3940"/>
                </a:lnTo>
                <a:lnTo>
                  <a:pt x="1957" y="4537"/>
                </a:lnTo>
                <a:lnTo>
                  <a:pt x="1730" y="4537"/>
                </a:lnTo>
                <a:lnTo>
                  <a:pt x="2072" y="3940"/>
                </a:lnTo>
                <a:close/>
                <a:moveTo>
                  <a:pt x="1650" y="2337"/>
                </a:moveTo>
                <a:lnTo>
                  <a:pt x="1650" y="2337"/>
                </a:lnTo>
                <a:lnTo>
                  <a:pt x="1698" y="2351"/>
                </a:lnTo>
                <a:lnTo>
                  <a:pt x="1749" y="2363"/>
                </a:lnTo>
                <a:lnTo>
                  <a:pt x="1800" y="2372"/>
                </a:lnTo>
                <a:lnTo>
                  <a:pt x="1853" y="2379"/>
                </a:lnTo>
                <a:lnTo>
                  <a:pt x="1908" y="2384"/>
                </a:lnTo>
                <a:lnTo>
                  <a:pt x="1963" y="2388"/>
                </a:lnTo>
                <a:lnTo>
                  <a:pt x="2020" y="2388"/>
                </a:lnTo>
                <a:lnTo>
                  <a:pt x="2078" y="2386"/>
                </a:lnTo>
                <a:lnTo>
                  <a:pt x="2136" y="2383"/>
                </a:lnTo>
                <a:lnTo>
                  <a:pt x="2194" y="2378"/>
                </a:lnTo>
                <a:lnTo>
                  <a:pt x="2253" y="2370"/>
                </a:lnTo>
                <a:lnTo>
                  <a:pt x="2313" y="2359"/>
                </a:lnTo>
                <a:lnTo>
                  <a:pt x="2372" y="2348"/>
                </a:lnTo>
                <a:lnTo>
                  <a:pt x="2433" y="2333"/>
                </a:lnTo>
                <a:lnTo>
                  <a:pt x="2493" y="2317"/>
                </a:lnTo>
                <a:lnTo>
                  <a:pt x="2552" y="2299"/>
                </a:lnTo>
                <a:lnTo>
                  <a:pt x="2518" y="2341"/>
                </a:lnTo>
                <a:lnTo>
                  <a:pt x="2481" y="2382"/>
                </a:lnTo>
                <a:lnTo>
                  <a:pt x="2441" y="2422"/>
                </a:lnTo>
                <a:lnTo>
                  <a:pt x="2402" y="2460"/>
                </a:lnTo>
                <a:lnTo>
                  <a:pt x="2365" y="2495"/>
                </a:lnTo>
                <a:lnTo>
                  <a:pt x="2327" y="2527"/>
                </a:lnTo>
                <a:lnTo>
                  <a:pt x="2288" y="2557"/>
                </a:lnTo>
                <a:lnTo>
                  <a:pt x="2249" y="2586"/>
                </a:lnTo>
                <a:lnTo>
                  <a:pt x="2210" y="2614"/>
                </a:lnTo>
                <a:lnTo>
                  <a:pt x="2169" y="2640"/>
                </a:lnTo>
                <a:lnTo>
                  <a:pt x="2128" y="2666"/>
                </a:lnTo>
                <a:lnTo>
                  <a:pt x="2086" y="2690"/>
                </a:lnTo>
                <a:lnTo>
                  <a:pt x="2044" y="2712"/>
                </a:lnTo>
                <a:lnTo>
                  <a:pt x="2001" y="2733"/>
                </a:lnTo>
                <a:lnTo>
                  <a:pt x="1958" y="2753"/>
                </a:lnTo>
                <a:lnTo>
                  <a:pt x="1915" y="2771"/>
                </a:lnTo>
                <a:lnTo>
                  <a:pt x="1871" y="2788"/>
                </a:lnTo>
                <a:lnTo>
                  <a:pt x="1826" y="2804"/>
                </a:lnTo>
                <a:lnTo>
                  <a:pt x="1782" y="2818"/>
                </a:lnTo>
                <a:lnTo>
                  <a:pt x="1736" y="2830"/>
                </a:lnTo>
                <a:lnTo>
                  <a:pt x="1692" y="2843"/>
                </a:lnTo>
                <a:lnTo>
                  <a:pt x="1646" y="2852"/>
                </a:lnTo>
                <a:lnTo>
                  <a:pt x="1600" y="2861"/>
                </a:lnTo>
                <a:lnTo>
                  <a:pt x="1554" y="2868"/>
                </a:lnTo>
                <a:lnTo>
                  <a:pt x="1508" y="2875"/>
                </a:lnTo>
                <a:lnTo>
                  <a:pt x="1462" y="2879"/>
                </a:lnTo>
                <a:lnTo>
                  <a:pt x="1416" y="2883"/>
                </a:lnTo>
                <a:lnTo>
                  <a:pt x="1369" y="2884"/>
                </a:lnTo>
                <a:lnTo>
                  <a:pt x="1323" y="2886"/>
                </a:lnTo>
                <a:lnTo>
                  <a:pt x="1277" y="2884"/>
                </a:lnTo>
                <a:lnTo>
                  <a:pt x="1230" y="2882"/>
                </a:lnTo>
                <a:lnTo>
                  <a:pt x="1184" y="2879"/>
                </a:lnTo>
                <a:lnTo>
                  <a:pt x="1137" y="2875"/>
                </a:lnTo>
                <a:lnTo>
                  <a:pt x="1092" y="2868"/>
                </a:lnTo>
                <a:lnTo>
                  <a:pt x="1046" y="2861"/>
                </a:lnTo>
                <a:lnTo>
                  <a:pt x="1001" y="2851"/>
                </a:lnTo>
                <a:lnTo>
                  <a:pt x="1077" y="2799"/>
                </a:lnTo>
                <a:lnTo>
                  <a:pt x="1155" y="2743"/>
                </a:lnTo>
                <a:lnTo>
                  <a:pt x="1234" y="2682"/>
                </a:lnTo>
                <a:lnTo>
                  <a:pt x="1315" y="2619"/>
                </a:lnTo>
                <a:lnTo>
                  <a:pt x="1397" y="2553"/>
                </a:lnTo>
                <a:lnTo>
                  <a:pt x="1480" y="2484"/>
                </a:lnTo>
                <a:lnTo>
                  <a:pt x="1565" y="2411"/>
                </a:lnTo>
                <a:lnTo>
                  <a:pt x="1650" y="2337"/>
                </a:lnTo>
                <a:close/>
              </a:path>
            </a:pathLst>
          </a:custGeom>
          <a:solidFill>
            <a:schemeClr val="bg1"/>
          </a:solidFill>
          <a:ln w="9525">
            <a:noFill/>
            <a:round/>
            <a:headEnd/>
            <a:tailEnd/>
          </a:ln>
        </p:spPr>
        <p:txBody>
          <a:bodyPr/>
          <a:lstStyle/>
          <a:p>
            <a:endParaRPr lang="de-DE">
              <a:solidFill>
                <a:srgbClr val="646464">
                  <a:lumMod val="50000"/>
                </a:srgbClr>
              </a:solidFill>
            </a:endParaRPr>
          </a:p>
        </p:txBody>
      </p:sp>
    </p:spTree>
    <p:extLst>
      <p:ext uri="{BB962C8B-B14F-4D97-AF65-F5344CB8AC3E}">
        <p14:creationId xmlns:p14="http://schemas.microsoft.com/office/powerpoint/2010/main" val="8274998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xmlns="" id="{5B411F5A-D448-49A4-8976-C7591651B70E}"/>
              </a:ext>
            </a:extLst>
          </p:cNvPr>
          <p:cNvGrpSpPr/>
          <p:nvPr/>
        </p:nvGrpSpPr>
        <p:grpSpPr>
          <a:xfrm>
            <a:off x="2" y="-12701"/>
            <a:ext cx="15080872" cy="7252292"/>
            <a:chOff x="2" y="-12701"/>
            <a:chExt cx="15080872" cy="7252292"/>
          </a:xfrm>
        </p:grpSpPr>
        <p:sp>
          <p:nvSpPr>
            <p:cNvPr id="4" name="object 3">
              <a:extLst>
                <a:ext uri="{FF2B5EF4-FFF2-40B4-BE49-F238E27FC236}">
                  <a16:creationId xmlns:a16="http://schemas.microsoft.com/office/drawing/2014/main" xmlns="" id="{9162F6CB-0D6B-4488-B4E7-5A2B6304CBC1}"/>
                </a:ext>
              </a:extLst>
            </p:cNvPr>
            <p:cNvSpPr/>
            <p:nvPr/>
          </p:nvSpPr>
          <p:spPr>
            <a:xfrm>
              <a:off x="3510116" y="-12701"/>
              <a:ext cx="11570758" cy="6870700"/>
            </a:xfrm>
            <a:custGeom>
              <a:avLst/>
              <a:gdLst/>
              <a:ahLst/>
              <a:cxnLst/>
              <a:rect l="l" t="t" r="r" b="b"/>
              <a:pathLst>
                <a:path w="1742046" h="7772400">
                  <a:moveTo>
                    <a:pt x="0" y="7772400"/>
                  </a:moveTo>
                  <a:lnTo>
                    <a:pt x="1742046" y="7772400"/>
                  </a:lnTo>
                  <a:lnTo>
                    <a:pt x="1742046" y="0"/>
                  </a:lnTo>
                  <a:lnTo>
                    <a:pt x="0" y="0"/>
                  </a:lnTo>
                  <a:lnTo>
                    <a:pt x="0" y="7772400"/>
                  </a:lnTo>
                  <a:close/>
                </a:path>
              </a:pathLst>
            </a:custGeom>
            <a:blipFill>
              <a:blip r:embed="rId2" cstate="print"/>
              <a:srcRect/>
              <a:stretch>
                <a:fillRect t="-3069" b="-3069"/>
              </a:stretch>
            </a:blipFill>
          </p:spPr>
          <p:txBody>
            <a:bodyPr wrap="square" lIns="0" tIns="0" rIns="0" bIns="0" rtlCol="0">
              <a:noAutofit/>
            </a:bodyPr>
            <a:lstStyle/>
            <a:p>
              <a:pPr>
                <a:defRPr/>
              </a:pPr>
              <a:endParaRPr lang="en-US" dirty="0">
                <a:solidFill>
                  <a:srgbClr val="000000"/>
                </a:solidFill>
              </a:endParaRPr>
            </a:p>
          </p:txBody>
        </p:sp>
        <p:sp>
          <p:nvSpPr>
            <p:cNvPr id="5" name="object 3">
              <a:extLst>
                <a:ext uri="{FF2B5EF4-FFF2-40B4-BE49-F238E27FC236}">
                  <a16:creationId xmlns:a16="http://schemas.microsoft.com/office/drawing/2014/main" xmlns="" id="{95E89182-396E-4FF1-A6D8-0D013DD6F8B9}"/>
                </a:ext>
              </a:extLst>
            </p:cNvPr>
            <p:cNvSpPr/>
            <p:nvPr/>
          </p:nvSpPr>
          <p:spPr>
            <a:xfrm>
              <a:off x="2" y="0"/>
              <a:ext cx="12191998" cy="7239591"/>
            </a:xfrm>
            <a:custGeom>
              <a:avLst/>
              <a:gdLst/>
              <a:ahLst/>
              <a:cxnLst/>
              <a:rect l="l" t="t" r="r" b="b"/>
              <a:pathLst>
                <a:path w="1742046" h="7772400">
                  <a:moveTo>
                    <a:pt x="0" y="7772400"/>
                  </a:moveTo>
                  <a:lnTo>
                    <a:pt x="1742046" y="7772400"/>
                  </a:lnTo>
                  <a:lnTo>
                    <a:pt x="1742046" y="0"/>
                  </a:lnTo>
                  <a:lnTo>
                    <a:pt x="0" y="0"/>
                  </a:lnTo>
                  <a:lnTo>
                    <a:pt x="0" y="7772400"/>
                  </a:lnTo>
                  <a:close/>
                </a:path>
              </a:pathLst>
            </a:custGeom>
            <a:gradFill>
              <a:gsLst>
                <a:gs pos="19000">
                  <a:schemeClr val="bg1">
                    <a:alpha val="0"/>
                  </a:schemeClr>
                </a:gs>
                <a:gs pos="68000">
                  <a:schemeClr val="bg1"/>
                </a:gs>
              </a:gsLst>
              <a:lin ang="10800000" scaled="0"/>
            </a:gradFill>
          </p:spPr>
          <p:txBody>
            <a:bodyPr wrap="square" lIns="0" tIns="0" rIns="0" bIns="0" rtlCol="0">
              <a:noAutofit/>
            </a:bodyPr>
            <a:lstStyle/>
            <a:p>
              <a:pPr>
                <a:defRPr/>
              </a:pPr>
              <a:endParaRPr lang="en-US" dirty="0">
                <a:solidFill>
                  <a:srgbClr val="000000"/>
                </a:solidFill>
              </a:endParaRPr>
            </a:p>
          </p:txBody>
        </p:sp>
      </p:grpSp>
      <p:sp>
        <p:nvSpPr>
          <p:cNvPr id="9" name="btm">
            <a:extLst>
              <a:ext uri="{FF2B5EF4-FFF2-40B4-BE49-F238E27FC236}">
                <a16:creationId xmlns:a16="http://schemas.microsoft.com/office/drawing/2014/main" xmlns="" id="{258F4353-69D0-4FCC-A3B6-F02E2535E471}"/>
              </a:ext>
            </a:extLst>
          </p:cNvPr>
          <p:cNvSpPr/>
          <p:nvPr/>
        </p:nvSpPr>
        <p:spPr>
          <a:xfrm>
            <a:off x="126" y="-1"/>
            <a:ext cx="9291358" cy="6870699"/>
          </a:xfrm>
          <a:prstGeom prst="rect">
            <a:avLst/>
          </a:prstGeom>
          <a:solidFill>
            <a:srgbClr val="0091D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 name="mid">
            <a:extLst>
              <a:ext uri="{FF2B5EF4-FFF2-40B4-BE49-F238E27FC236}">
                <a16:creationId xmlns:a16="http://schemas.microsoft.com/office/drawing/2014/main" xmlns="" id="{7E740517-B7D9-4085-B33A-472C8825D633}"/>
              </a:ext>
            </a:extLst>
          </p:cNvPr>
          <p:cNvSpPr/>
          <p:nvPr/>
        </p:nvSpPr>
        <p:spPr>
          <a:xfrm>
            <a:off x="126" y="-1"/>
            <a:ext cx="9291358" cy="6870699"/>
          </a:xfrm>
          <a:prstGeom prst="rect">
            <a:avLst/>
          </a:prstGeom>
          <a:solidFill>
            <a:srgbClr val="005EB8">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 name="top">
            <a:extLst>
              <a:ext uri="{FF2B5EF4-FFF2-40B4-BE49-F238E27FC236}">
                <a16:creationId xmlns:a16="http://schemas.microsoft.com/office/drawing/2014/main" xmlns="" id="{515F1078-0928-48E1-9236-CC5C686E0CA1}"/>
              </a:ext>
            </a:extLst>
          </p:cNvPr>
          <p:cNvSpPr/>
          <p:nvPr/>
        </p:nvSpPr>
        <p:spPr>
          <a:xfrm>
            <a:off x="0" y="-25400"/>
            <a:ext cx="9291358" cy="68706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2" name="Title 1">
            <a:extLst>
              <a:ext uri="{FF2B5EF4-FFF2-40B4-BE49-F238E27FC236}">
                <a16:creationId xmlns:a16="http://schemas.microsoft.com/office/drawing/2014/main" xmlns="" id="{698CFA9A-C2C0-4F2F-8D7B-F871FDCDA71C}"/>
              </a:ext>
            </a:extLst>
          </p:cNvPr>
          <p:cNvSpPr>
            <a:spLocks noGrp="1"/>
          </p:cNvSpPr>
          <p:nvPr>
            <p:ph type="title"/>
          </p:nvPr>
        </p:nvSpPr>
        <p:spPr/>
        <p:txBody>
          <a:bodyPr/>
          <a:lstStyle/>
          <a:p>
            <a:r>
              <a:rPr lang="en-US" dirty="0">
                <a:solidFill>
                  <a:schemeClr val="bg1"/>
                </a:solidFill>
                <a:latin typeface="+mn-lt"/>
              </a:rPr>
              <a:t>Contents</a:t>
            </a:r>
          </a:p>
        </p:txBody>
      </p:sp>
      <p:sp>
        <p:nvSpPr>
          <p:cNvPr id="91" name="behind">
            <a:extLst>
              <a:ext uri="{FF2B5EF4-FFF2-40B4-BE49-F238E27FC236}">
                <a16:creationId xmlns:a16="http://schemas.microsoft.com/office/drawing/2014/main" xmlns="" id="{DF36A78D-E2F6-4B29-A69E-AB0509953754}"/>
              </a:ext>
            </a:extLst>
          </p:cNvPr>
          <p:cNvSpPr/>
          <p:nvPr/>
        </p:nvSpPr>
        <p:spPr>
          <a:xfrm>
            <a:off x="995364" y="3242470"/>
            <a:ext cx="7971170" cy="720000"/>
          </a:xfrm>
          <a:prstGeom prst="rect">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3" name="behind">
            <a:extLst>
              <a:ext uri="{FF2B5EF4-FFF2-40B4-BE49-F238E27FC236}">
                <a16:creationId xmlns:a16="http://schemas.microsoft.com/office/drawing/2014/main" xmlns="" id="{630D6E81-2BE2-47C0-85E8-5D039238C243}"/>
              </a:ext>
            </a:extLst>
          </p:cNvPr>
          <p:cNvSpPr/>
          <p:nvPr/>
        </p:nvSpPr>
        <p:spPr>
          <a:xfrm>
            <a:off x="995364" y="2284810"/>
            <a:ext cx="7971170" cy="72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4" name="behind">
            <a:extLst>
              <a:ext uri="{FF2B5EF4-FFF2-40B4-BE49-F238E27FC236}">
                <a16:creationId xmlns:a16="http://schemas.microsoft.com/office/drawing/2014/main" xmlns="" id="{38A877C1-DFD2-4C65-95CF-7836E459D0F3}"/>
              </a:ext>
            </a:extLst>
          </p:cNvPr>
          <p:cNvSpPr/>
          <p:nvPr/>
        </p:nvSpPr>
        <p:spPr>
          <a:xfrm>
            <a:off x="995364" y="1327151"/>
            <a:ext cx="7971170" cy="720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95" name="btm">
            <a:extLst>
              <a:ext uri="{FF2B5EF4-FFF2-40B4-BE49-F238E27FC236}">
                <a16:creationId xmlns:a16="http://schemas.microsoft.com/office/drawing/2014/main" xmlns="" id="{EFB67B45-E8F5-48C2-A9D1-B9196ADAC9D5}"/>
              </a:ext>
            </a:extLst>
          </p:cNvPr>
          <p:cNvSpPr/>
          <p:nvPr/>
        </p:nvSpPr>
        <p:spPr>
          <a:xfrm>
            <a:off x="1000217" y="132715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08" name="mid">
            <a:extLst>
              <a:ext uri="{FF2B5EF4-FFF2-40B4-BE49-F238E27FC236}">
                <a16:creationId xmlns:a16="http://schemas.microsoft.com/office/drawing/2014/main" xmlns="" id="{875C7394-5D94-494E-9600-D61E780D8E05}"/>
              </a:ext>
            </a:extLst>
          </p:cNvPr>
          <p:cNvSpPr/>
          <p:nvPr/>
        </p:nvSpPr>
        <p:spPr>
          <a:xfrm>
            <a:off x="1000217" y="132715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18" name="top">
            <a:extLst>
              <a:ext uri="{FF2B5EF4-FFF2-40B4-BE49-F238E27FC236}">
                <a16:creationId xmlns:a16="http://schemas.microsoft.com/office/drawing/2014/main" xmlns="" id="{7FAB2439-8C50-40AE-A948-32CCF8113F35}"/>
              </a:ext>
            </a:extLst>
          </p:cNvPr>
          <p:cNvSpPr/>
          <p:nvPr/>
        </p:nvSpPr>
        <p:spPr>
          <a:xfrm>
            <a:off x="1000217" y="132715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36" name="Group 135">
            <a:extLst>
              <a:ext uri="{FF2B5EF4-FFF2-40B4-BE49-F238E27FC236}">
                <a16:creationId xmlns:a16="http://schemas.microsoft.com/office/drawing/2014/main" xmlns="" id="{3E9DE34F-48C0-4B54-97BC-AE313EE9ECA2}"/>
              </a:ext>
            </a:extLst>
          </p:cNvPr>
          <p:cNvGrpSpPr/>
          <p:nvPr/>
        </p:nvGrpSpPr>
        <p:grpSpPr>
          <a:xfrm rot="16200000">
            <a:off x="1822844" y="1509886"/>
            <a:ext cx="139699" cy="354528"/>
            <a:chOff x="2254038" y="2460248"/>
            <a:chExt cx="139699" cy="354528"/>
          </a:xfrm>
        </p:grpSpPr>
        <p:sp>
          <p:nvSpPr>
            <p:cNvPr id="137" name="Oval 136">
              <a:extLst>
                <a:ext uri="{FF2B5EF4-FFF2-40B4-BE49-F238E27FC236}">
                  <a16:creationId xmlns:a16="http://schemas.microsoft.com/office/drawing/2014/main" xmlns="" id="{39A78A29-7B90-4A10-8B9F-54F4F13192E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38" name="Straight Connector 137">
              <a:extLst>
                <a:ext uri="{FF2B5EF4-FFF2-40B4-BE49-F238E27FC236}">
                  <a16:creationId xmlns:a16="http://schemas.microsoft.com/office/drawing/2014/main" xmlns="" id="{DF080A14-F49A-47F6-93FF-6FAF479C74C0}"/>
                </a:ext>
              </a:extLst>
            </p:cNvPr>
            <p:cNvCxnSpPr>
              <a:cxnSpLocks/>
              <a:endCxn id="137"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39" name="btm">
            <a:extLst>
              <a:ext uri="{FF2B5EF4-FFF2-40B4-BE49-F238E27FC236}">
                <a16:creationId xmlns:a16="http://schemas.microsoft.com/office/drawing/2014/main" xmlns="" id="{3D9426FC-7F3A-4AF3-934E-577759843097}"/>
              </a:ext>
            </a:extLst>
          </p:cNvPr>
          <p:cNvSpPr/>
          <p:nvPr/>
        </p:nvSpPr>
        <p:spPr>
          <a:xfrm>
            <a:off x="1000217" y="228481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0" name="mid">
            <a:extLst>
              <a:ext uri="{FF2B5EF4-FFF2-40B4-BE49-F238E27FC236}">
                <a16:creationId xmlns:a16="http://schemas.microsoft.com/office/drawing/2014/main" xmlns="" id="{5D5E5DFE-A053-48A1-930F-F4EA5E1DEA35}"/>
              </a:ext>
            </a:extLst>
          </p:cNvPr>
          <p:cNvSpPr/>
          <p:nvPr/>
        </p:nvSpPr>
        <p:spPr>
          <a:xfrm>
            <a:off x="1000217" y="228481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1" name="top">
            <a:extLst>
              <a:ext uri="{FF2B5EF4-FFF2-40B4-BE49-F238E27FC236}">
                <a16:creationId xmlns:a16="http://schemas.microsoft.com/office/drawing/2014/main" xmlns="" id="{7D64B38E-96B0-4FA6-8FE6-3EE242FF6902}"/>
              </a:ext>
            </a:extLst>
          </p:cNvPr>
          <p:cNvSpPr/>
          <p:nvPr/>
        </p:nvSpPr>
        <p:spPr>
          <a:xfrm>
            <a:off x="1000217" y="228481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2" name="Group 141">
            <a:extLst>
              <a:ext uri="{FF2B5EF4-FFF2-40B4-BE49-F238E27FC236}">
                <a16:creationId xmlns:a16="http://schemas.microsoft.com/office/drawing/2014/main" xmlns="" id="{80283B8D-7AA9-4FC4-B428-85F935C50FD3}"/>
              </a:ext>
            </a:extLst>
          </p:cNvPr>
          <p:cNvGrpSpPr/>
          <p:nvPr/>
        </p:nvGrpSpPr>
        <p:grpSpPr>
          <a:xfrm rot="16200000">
            <a:off x="1822844" y="2467546"/>
            <a:ext cx="139699" cy="354528"/>
            <a:chOff x="2254038" y="2460248"/>
            <a:chExt cx="139699" cy="354528"/>
          </a:xfrm>
        </p:grpSpPr>
        <p:sp>
          <p:nvSpPr>
            <p:cNvPr id="143" name="Oval 142">
              <a:extLst>
                <a:ext uri="{FF2B5EF4-FFF2-40B4-BE49-F238E27FC236}">
                  <a16:creationId xmlns:a16="http://schemas.microsoft.com/office/drawing/2014/main" xmlns="" id="{DED32DDA-649F-4800-8A4F-20D8D3983C8F}"/>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44" name="Straight Connector 143">
              <a:extLst>
                <a:ext uri="{FF2B5EF4-FFF2-40B4-BE49-F238E27FC236}">
                  <a16:creationId xmlns:a16="http://schemas.microsoft.com/office/drawing/2014/main" xmlns="" id="{930369A5-96F7-4B0C-97B6-EB3DA96799F1}"/>
                </a:ext>
              </a:extLst>
            </p:cNvPr>
            <p:cNvCxnSpPr>
              <a:cxnSpLocks/>
              <a:endCxn id="143"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45" name="btm">
            <a:extLst>
              <a:ext uri="{FF2B5EF4-FFF2-40B4-BE49-F238E27FC236}">
                <a16:creationId xmlns:a16="http://schemas.microsoft.com/office/drawing/2014/main" xmlns="" id="{F5EAED76-FE9C-419F-A80B-B8D8C023C299}"/>
              </a:ext>
            </a:extLst>
          </p:cNvPr>
          <p:cNvSpPr/>
          <p:nvPr/>
        </p:nvSpPr>
        <p:spPr>
          <a:xfrm>
            <a:off x="1000217" y="3242471"/>
            <a:ext cx="720000" cy="720000"/>
          </a:xfrm>
          <a:prstGeom prst="rect">
            <a:avLst/>
          </a:prstGeom>
          <a:solidFill>
            <a:srgbClr val="D9D9D9">
              <a:alpha val="3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6" name="mid">
            <a:extLst>
              <a:ext uri="{FF2B5EF4-FFF2-40B4-BE49-F238E27FC236}">
                <a16:creationId xmlns:a16="http://schemas.microsoft.com/office/drawing/2014/main" xmlns="" id="{8F04F46A-88BA-4D80-AD3E-2F82C572D0F5}"/>
              </a:ext>
            </a:extLst>
          </p:cNvPr>
          <p:cNvSpPr/>
          <p:nvPr/>
        </p:nvSpPr>
        <p:spPr>
          <a:xfrm>
            <a:off x="1000217" y="3242471"/>
            <a:ext cx="720000" cy="720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47" name="top">
            <a:extLst>
              <a:ext uri="{FF2B5EF4-FFF2-40B4-BE49-F238E27FC236}">
                <a16:creationId xmlns:a16="http://schemas.microsoft.com/office/drawing/2014/main" xmlns="" id="{30F2623D-EC59-4984-BF79-E3E7A43DC87A}"/>
              </a:ext>
            </a:extLst>
          </p:cNvPr>
          <p:cNvSpPr/>
          <p:nvPr/>
        </p:nvSpPr>
        <p:spPr>
          <a:xfrm>
            <a:off x="1000217" y="3242471"/>
            <a:ext cx="720000" cy="72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nvGrpSpPr>
          <p:cNvPr id="148" name="Group 147">
            <a:extLst>
              <a:ext uri="{FF2B5EF4-FFF2-40B4-BE49-F238E27FC236}">
                <a16:creationId xmlns:a16="http://schemas.microsoft.com/office/drawing/2014/main" xmlns="" id="{D7CD37BE-7D3A-4673-BAB2-01FAECBC50EB}"/>
              </a:ext>
            </a:extLst>
          </p:cNvPr>
          <p:cNvGrpSpPr/>
          <p:nvPr/>
        </p:nvGrpSpPr>
        <p:grpSpPr>
          <a:xfrm rot="16200000">
            <a:off x="1822844" y="3425206"/>
            <a:ext cx="139699" cy="354528"/>
            <a:chOff x="2254038" y="2460248"/>
            <a:chExt cx="139699" cy="354528"/>
          </a:xfrm>
        </p:grpSpPr>
        <p:sp>
          <p:nvSpPr>
            <p:cNvPr id="149" name="Oval 148">
              <a:extLst>
                <a:ext uri="{FF2B5EF4-FFF2-40B4-BE49-F238E27FC236}">
                  <a16:creationId xmlns:a16="http://schemas.microsoft.com/office/drawing/2014/main" xmlns="" id="{7ADA7C6A-3FCD-4C87-9FBC-AE5243DE0DC8}"/>
                </a:ext>
              </a:extLst>
            </p:cNvPr>
            <p:cNvSpPr/>
            <p:nvPr/>
          </p:nvSpPr>
          <p:spPr>
            <a:xfrm>
              <a:off x="2254038" y="2675077"/>
              <a:ext cx="139699" cy="139699"/>
            </a:xfrm>
            <a:prstGeom prst="ellipse">
              <a:avLst/>
            </a:prstGeom>
            <a:no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cxnSp>
          <p:nvCxnSpPr>
            <p:cNvPr id="150" name="Straight Connector 149">
              <a:extLst>
                <a:ext uri="{FF2B5EF4-FFF2-40B4-BE49-F238E27FC236}">
                  <a16:creationId xmlns:a16="http://schemas.microsoft.com/office/drawing/2014/main" xmlns="" id="{6D5C0A6B-69BD-4762-A78A-8329266D123A}"/>
                </a:ext>
              </a:extLst>
            </p:cNvPr>
            <p:cNvCxnSpPr>
              <a:cxnSpLocks/>
              <a:endCxn id="149" idx="0"/>
            </p:cNvCxnSpPr>
            <p:nvPr/>
          </p:nvCxnSpPr>
          <p:spPr>
            <a:xfrm flipH="1">
              <a:off x="2323888" y="2460248"/>
              <a:ext cx="2712" cy="214829"/>
            </a:xfrm>
            <a:prstGeom prst="line">
              <a:avLst/>
            </a:prstGeom>
            <a:solidFill>
              <a:schemeClr val="bg1"/>
            </a:solidFill>
            <a:ln w="190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57" name="Rectangle 156">
            <a:extLst>
              <a:ext uri="{FF2B5EF4-FFF2-40B4-BE49-F238E27FC236}">
                <a16:creationId xmlns:a16="http://schemas.microsoft.com/office/drawing/2014/main" xmlns="" id="{D8F5E8CD-801A-4946-B69C-AEA549227958}"/>
              </a:ext>
            </a:extLst>
          </p:cNvPr>
          <p:cNvSpPr/>
          <p:nvPr/>
        </p:nvSpPr>
        <p:spPr>
          <a:xfrm>
            <a:off x="2346018" y="1337628"/>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Smart Cities: Indian Perspective</a:t>
            </a:r>
          </a:p>
        </p:txBody>
      </p:sp>
      <p:sp>
        <p:nvSpPr>
          <p:cNvPr id="158" name="Rectangle 157">
            <a:extLst>
              <a:ext uri="{FF2B5EF4-FFF2-40B4-BE49-F238E27FC236}">
                <a16:creationId xmlns:a16="http://schemas.microsoft.com/office/drawing/2014/main" xmlns="" id="{315A2CB8-45FD-45C6-B28C-550592367137}"/>
              </a:ext>
            </a:extLst>
          </p:cNvPr>
          <p:cNvSpPr/>
          <p:nvPr/>
        </p:nvSpPr>
        <p:spPr>
          <a:xfrm>
            <a:off x="2346018" y="2295800"/>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BSNL Service Offerings</a:t>
            </a:r>
          </a:p>
        </p:txBody>
      </p:sp>
      <p:sp>
        <p:nvSpPr>
          <p:cNvPr id="159" name="Rectangle 158">
            <a:extLst>
              <a:ext uri="{FF2B5EF4-FFF2-40B4-BE49-F238E27FC236}">
                <a16:creationId xmlns:a16="http://schemas.microsoft.com/office/drawing/2014/main" xmlns="" id="{FCF6569A-3289-4322-BC07-868145723ECC}"/>
              </a:ext>
            </a:extLst>
          </p:cNvPr>
          <p:cNvSpPr/>
          <p:nvPr/>
        </p:nvSpPr>
        <p:spPr>
          <a:xfrm>
            <a:off x="2346018" y="3253972"/>
            <a:ext cx="6653846" cy="720000"/>
          </a:xfrm>
          <a:prstGeom prst="rect">
            <a:avLst/>
          </a:prstGeom>
        </p:spPr>
        <p:txBody>
          <a:bodyPr lIns="0" tIns="0" rIns="0" bIns="0" anchor="ctr" anchorCtr="0">
            <a:noAutofit/>
          </a:bodyPr>
          <a:lstStyle/>
          <a:p>
            <a:pPr>
              <a:lnSpc>
                <a:spcPct val="90000"/>
              </a:lnSpc>
              <a:defRPr/>
            </a:pPr>
            <a:r>
              <a:rPr lang="en-US" sz="1600" b="1" dirty="0">
                <a:solidFill>
                  <a:prstClr val="white"/>
                </a:solidFill>
              </a:rPr>
              <a:t>Our Credentials &amp; Case Studies </a:t>
            </a:r>
          </a:p>
        </p:txBody>
      </p:sp>
      <p:grpSp>
        <p:nvGrpSpPr>
          <p:cNvPr id="161" name="Group 160">
            <a:extLst>
              <a:ext uri="{FF2B5EF4-FFF2-40B4-BE49-F238E27FC236}">
                <a16:creationId xmlns:a16="http://schemas.microsoft.com/office/drawing/2014/main" xmlns="" id="{829CC928-9FEA-4443-BB27-CAB50BE692A7}"/>
              </a:ext>
            </a:extLst>
          </p:cNvPr>
          <p:cNvGrpSpPr/>
          <p:nvPr/>
        </p:nvGrpSpPr>
        <p:grpSpPr>
          <a:xfrm rot="5400000">
            <a:off x="8606279" y="1655153"/>
            <a:ext cx="720000" cy="67170"/>
            <a:chOff x="2073000" y="5843597"/>
            <a:chExt cx="720000" cy="67170"/>
          </a:xfrm>
          <a:solidFill>
            <a:schemeClr val="bg1"/>
          </a:solidFill>
        </p:grpSpPr>
        <p:cxnSp>
          <p:nvCxnSpPr>
            <p:cNvPr id="162" name="Straight Connector 161">
              <a:extLst>
                <a:ext uri="{FF2B5EF4-FFF2-40B4-BE49-F238E27FC236}">
                  <a16:creationId xmlns:a16="http://schemas.microsoft.com/office/drawing/2014/main" xmlns="" id="{03875840-D076-4D9F-B4F2-6ABE5FD23878}"/>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63" name="Oval 162">
              <a:extLst>
                <a:ext uri="{FF2B5EF4-FFF2-40B4-BE49-F238E27FC236}">
                  <a16:creationId xmlns:a16="http://schemas.microsoft.com/office/drawing/2014/main" xmlns="" id="{FA1334BB-F7CA-4719-B94B-AB9FA2BB802B}"/>
                </a:ext>
              </a:extLst>
            </p:cNvPr>
            <p:cNvSpPr/>
            <p:nvPr/>
          </p:nvSpPr>
          <p:spPr>
            <a:xfrm>
              <a:off x="2399415" y="5843597"/>
              <a:ext cx="67170" cy="67170"/>
            </a:xfrm>
            <a:prstGeom prst="ellipse">
              <a:avLst/>
            </a:prstGeom>
            <a:solidFill>
              <a:schemeClr val="accent3"/>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cxnSp>
        <p:nvCxnSpPr>
          <p:cNvPr id="164" name="Straight Connector 163">
            <a:extLst>
              <a:ext uri="{FF2B5EF4-FFF2-40B4-BE49-F238E27FC236}">
                <a16:creationId xmlns:a16="http://schemas.microsoft.com/office/drawing/2014/main" xmlns="" id="{E0D20DF4-9FA3-4757-AC69-FDB4960BDB41}"/>
              </a:ext>
            </a:extLst>
          </p:cNvPr>
          <p:cNvCxnSpPr>
            <a:cxnSpLocks/>
          </p:cNvCxnSpPr>
          <p:nvPr/>
        </p:nvCxnSpPr>
        <p:spPr>
          <a:xfrm>
            <a:off x="5685934" y="1687611"/>
            <a:ext cx="329184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xmlns="" id="{9BC4B4E3-F3EC-42CE-99FA-5C542314531D}"/>
              </a:ext>
            </a:extLst>
          </p:cNvPr>
          <p:cNvCxnSpPr>
            <a:cxnSpLocks/>
          </p:cNvCxnSpPr>
          <p:nvPr/>
        </p:nvCxnSpPr>
        <p:spPr>
          <a:xfrm>
            <a:off x="4863544" y="2642097"/>
            <a:ext cx="4114800" cy="0"/>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xmlns="" id="{EE1D3E24-9608-4242-8194-21C52925F6DF}"/>
              </a:ext>
            </a:extLst>
          </p:cNvPr>
          <p:cNvCxnSpPr>
            <a:cxnSpLocks/>
          </p:cNvCxnSpPr>
          <p:nvPr/>
        </p:nvCxnSpPr>
        <p:spPr>
          <a:xfrm flipV="1">
            <a:off x="5685934" y="3599757"/>
            <a:ext cx="3313930" cy="34189"/>
          </a:xfrm>
          <a:prstGeom prst="line">
            <a:avLst/>
          </a:prstGeom>
          <a:ln w="12700" cap="rnd">
            <a:solidFill>
              <a:schemeClr val="bg2"/>
            </a:solidFill>
            <a:prstDash val="sysDot"/>
            <a:headEnd type="oval" w="sm" len="sm"/>
          </a:ln>
        </p:spPr>
        <p:style>
          <a:lnRef idx="1">
            <a:schemeClr val="accent1"/>
          </a:lnRef>
          <a:fillRef idx="0">
            <a:schemeClr val="accent1"/>
          </a:fillRef>
          <a:effectRef idx="0">
            <a:schemeClr val="accent1"/>
          </a:effectRef>
          <a:fontRef idx="minor">
            <a:schemeClr val="tx1"/>
          </a:fontRef>
        </p:style>
      </p:cxnSp>
      <p:grpSp>
        <p:nvGrpSpPr>
          <p:cNvPr id="168" name="Group 167">
            <a:extLst>
              <a:ext uri="{FF2B5EF4-FFF2-40B4-BE49-F238E27FC236}">
                <a16:creationId xmlns:a16="http://schemas.microsoft.com/office/drawing/2014/main" xmlns="" id="{7DFFBAD5-C376-4AD0-AD15-A924EB750DE5}"/>
              </a:ext>
            </a:extLst>
          </p:cNvPr>
          <p:cNvGrpSpPr/>
          <p:nvPr/>
        </p:nvGrpSpPr>
        <p:grpSpPr>
          <a:xfrm rot="5400000">
            <a:off x="8606279" y="2604304"/>
            <a:ext cx="720000" cy="67170"/>
            <a:chOff x="2073000" y="5843597"/>
            <a:chExt cx="720000" cy="67170"/>
          </a:xfrm>
          <a:solidFill>
            <a:schemeClr val="bg1"/>
          </a:solidFill>
        </p:grpSpPr>
        <p:cxnSp>
          <p:nvCxnSpPr>
            <p:cNvPr id="169" name="Straight Connector 168">
              <a:extLst>
                <a:ext uri="{FF2B5EF4-FFF2-40B4-BE49-F238E27FC236}">
                  <a16:creationId xmlns:a16="http://schemas.microsoft.com/office/drawing/2014/main" xmlns="" id="{2A70E60C-6334-4B49-8901-7B945FAEA8C5}"/>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0" name="Oval 169">
              <a:extLst>
                <a:ext uri="{FF2B5EF4-FFF2-40B4-BE49-F238E27FC236}">
                  <a16:creationId xmlns:a16="http://schemas.microsoft.com/office/drawing/2014/main" xmlns="" id="{BFADD441-F90C-4852-8A81-219CF65592CF}"/>
                </a:ext>
              </a:extLst>
            </p:cNvPr>
            <p:cNvSpPr/>
            <p:nvPr/>
          </p:nvSpPr>
          <p:spPr>
            <a:xfrm>
              <a:off x="2399415" y="5843597"/>
              <a:ext cx="67170" cy="67170"/>
            </a:xfrm>
            <a:prstGeom prst="ellipse">
              <a:avLst/>
            </a:prstGeom>
            <a:solidFill>
              <a:schemeClr val="accent1"/>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1" name="Group 170">
            <a:extLst>
              <a:ext uri="{FF2B5EF4-FFF2-40B4-BE49-F238E27FC236}">
                <a16:creationId xmlns:a16="http://schemas.microsoft.com/office/drawing/2014/main" xmlns="" id="{981316E3-7907-4B81-8669-56743AC9B333}"/>
              </a:ext>
            </a:extLst>
          </p:cNvPr>
          <p:cNvGrpSpPr/>
          <p:nvPr/>
        </p:nvGrpSpPr>
        <p:grpSpPr>
          <a:xfrm rot="5400000">
            <a:off x="8606279" y="3566776"/>
            <a:ext cx="720000" cy="67170"/>
            <a:chOff x="2073000" y="5843597"/>
            <a:chExt cx="720000" cy="67170"/>
          </a:xfrm>
          <a:solidFill>
            <a:schemeClr val="bg1"/>
          </a:solidFill>
        </p:grpSpPr>
        <p:cxnSp>
          <p:nvCxnSpPr>
            <p:cNvPr id="172" name="Straight Connector 171">
              <a:extLst>
                <a:ext uri="{FF2B5EF4-FFF2-40B4-BE49-F238E27FC236}">
                  <a16:creationId xmlns:a16="http://schemas.microsoft.com/office/drawing/2014/main" xmlns="" id="{06A89DDF-C964-4ABA-9991-7BEA66730AC0}"/>
                </a:ext>
              </a:extLst>
            </p:cNvPr>
            <p:cNvCxnSpPr>
              <a:cxnSpLocks/>
            </p:cNvCxnSpPr>
            <p:nvPr/>
          </p:nvCxnSpPr>
          <p:spPr>
            <a:xfrm rot="16200000">
              <a:off x="2433000" y="5516926"/>
              <a:ext cx="0" cy="720000"/>
            </a:xfrm>
            <a:prstGeom prst="line">
              <a:avLst/>
            </a:prstGeom>
            <a:grpFill/>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73" name="Oval 172">
              <a:extLst>
                <a:ext uri="{FF2B5EF4-FFF2-40B4-BE49-F238E27FC236}">
                  <a16:creationId xmlns:a16="http://schemas.microsoft.com/office/drawing/2014/main" xmlns="" id="{15EDEDCD-A744-4DB9-8BC0-DCC431D91B58}"/>
                </a:ext>
              </a:extLst>
            </p:cNvPr>
            <p:cNvSpPr/>
            <p:nvPr/>
          </p:nvSpPr>
          <p:spPr>
            <a:xfrm>
              <a:off x="2399415" y="5843597"/>
              <a:ext cx="67170" cy="67170"/>
            </a:xfrm>
            <a:prstGeom prst="ellipse">
              <a:avLst/>
            </a:prstGeom>
            <a:solidFill>
              <a:srgbClr val="483698"/>
            </a:solidFill>
            <a:ln w="19050">
              <a:solidFill>
                <a:schemeClr val="bg1"/>
              </a:solidFill>
            </a:ln>
          </p:spPr>
          <p:style>
            <a:lnRef idx="1">
              <a:schemeClr val="accent1"/>
            </a:lnRef>
            <a:fillRef idx="0">
              <a:schemeClr val="accent1"/>
            </a:fillRef>
            <a:effectRef idx="0">
              <a:schemeClr val="accent1"/>
            </a:effectRef>
            <a:fontRef idx="minor">
              <a:schemeClr val="tx1"/>
            </a:fontRef>
          </p:style>
          <p:txBody>
            <a:bodyPr lIns="54610" tIns="54610" rIns="54610" bIns="54610" rtlCol="0" anchor="ctr"/>
            <a:lstStyle/>
            <a:p>
              <a:pPr>
                <a:defRPr/>
              </a:pPr>
              <a:endParaRPr lang="en-US" sz="1500" dirty="0">
                <a:solidFill>
                  <a:prstClr val="white"/>
                </a:solidFill>
              </a:endParaRPr>
            </a:p>
          </p:txBody>
        </p:sp>
      </p:grpSp>
      <p:grpSp>
        <p:nvGrpSpPr>
          <p:cNvPr id="177" name="Group 176">
            <a:extLst>
              <a:ext uri="{FF2B5EF4-FFF2-40B4-BE49-F238E27FC236}">
                <a16:creationId xmlns:a16="http://schemas.microsoft.com/office/drawing/2014/main" xmlns="" id="{249F4F14-1C55-44B1-9008-28E62CAE3973}"/>
              </a:ext>
            </a:extLst>
          </p:cNvPr>
          <p:cNvGrpSpPr>
            <a:grpSpLocks noChangeAspect="1"/>
          </p:cNvGrpSpPr>
          <p:nvPr/>
        </p:nvGrpSpPr>
        <p:grpSpPr bwMode="auto">
          <a:xfrm>
            <a:off x="1124490" y="2500345"/>
            <a:ext cx="473809" cy="320433"/>
            <a:chOff x="1418" y="927"/>
            <a:chExt cx="658" cy="445"/>
          </a:xfrm>
          <a:solidFill>
            <a:schemeClr val="accent1"/>
          </a:solidFill>
        </p:grpSpPr>
        <p:sp>
          <p:nvSpPr>
            <p:cNvPr id="178" name="Freeform 6">
              <a:extLst>
                <a:ext uri="{FF2B5EF4-FFF2-40B4-BE49-F238E27FC236}">
                  <a16:creationId xmlns:a16="http://schemas.microsoft.com/office/drawing/2014/main" xmlns="" id="{645D5584-00B1-4D1A-BD43-0EC517DCF760}"/>
                </a:ext>
              </a:extLst>
            </p:cNvPr>
            <p:cNvSpPr>
              <a:spLocks/>
            </p:cNvSpPr>
            <p:nvPr/>
          </p:nvSpPr>
          <p:spPr bwMode="auto">
            <a:xfrm>
              <a:off x="1757" y="976"/>
              <a:ext cx="35" cy="50"/>
            </a:xfrm>
            <a:custGeom>
              <a:avLst/>
              <a:gdLst>
                <a:gd name="T0" fmla="*/ 42 w 42"/>
                <a:gd name="T1" fmla="*/ 0 h 60"/>
                <a:gd name="T2" fmla="*/ 0 w 42"/>
                <a:gd name="T3" fmla="*/ 60 h 60"/>
                <a:gd name="T4" fmla="*/ 7 w 42"/>
                <a:gd name="T5" fmla="*/ 60 h 60"/>
                <a:gd name="T6" fmla="*/ 42 w 42"/>
                <a:gd name="T7" fmla="*/ 0 h 60"/>
              </a:gdLst>
              <a:ahLst/>
              <a:cxnLst>
                <a:cxn ang="0">
                  <a:pos x="T0" y="T1"/>
                </a:cxn>
                <a:cxn ang="0">
                  <a:pos x="T2" y="T3"/>
                </a:cxn>
                <a:cxn ang="0">
                  <a:pos x="T4" y="T5"/>
                </a:cxn>
                <a:cxn ang="0">
                  <a:pos x="T6" y="T7"/>
                </a:cxn>
              </a:cxnLst>
              <a:rect l="0" t="0" r="r" b="b"/>
              <a:pathLst>
                <a:path w="42" h="60">
                  <a:moveTo>
                    <a:pt x="42" y="0"/>
                  </a:moveTo>
                  <a:cubicBezTo>
                    <a:pt x="17" y="8"/>
                    <a:pt x="1" y="32"/>
                    <a:pt x="0" y="60"/>
                  </a:cubicBezTo>
                  <a:cubicBezTo>
                    <a:pt x="3" y="60"/>
                    <a:pt x="5" y="60"/>
                    <a:pt x="7" y="60"/>
                  </a:cubicBezTo>
                  <a:cubicBezTo>
                    <a:pt x="12" y="33"/>
                    <a:pt x="28" y="17"/>
                    <a:pt x="4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79" name="Freeform 7">
              <a:extLst>
                <a:ext uri="{FF2B5EF4-FFF2-40B4-BE49-F238E27FC236}">
                  <a16:creationId xmlns:a16="http://schemas.microsoft.com/office/drawing/2014/main" xmlns="" id="{36CAB7C8-489E-4F59-801C-BF3223CCC386}"/>
                </a:ext>
              </a:extLst>
            </p:cNvPr>
            <p:cNvSpPr>
              <a:spLocks/>
            </p:cNvSpPr>
            <p:nvPr/>
          </p:nvSpPr>
          <p:spPr bwMode="auto">
            <a:xfrm>
              <a:off x="1418" y="927"/>
              <a:ext cx="658" cy="445"/>
            </a:xfrm>
            <a:custGeom>
              <a:avLst/>
              <a:gdLst>
                <a:gd name="T0" fmla="*/ 707 w 789"/>
                <a:gd name="T1" fmla="*/ 4 h 534"/>
                <a:gd name="T2" fmla="*/ 541 w 789"/>
                <a:gd name="T3" fmla="*/ 69 h 534"/>
                <a:gd name="T4" fmla="*/ 434 w 789"/>
                <a:gd name="T5" fmla="*/ 194 h 534"/>
                <a:gd name="T6" fmla="*/ 418 w 789"/>
                <a:gd name="T7" fmla="*/ 165 h 534"/>
                <a:gd name="T8" fmla="*/ 370 w 789"/>
                <a:gd name="T9" fmla="*/ 166 h 534"/>
                <a:gd name="T10" fmla="*/ 352 w 789"/>
                <a:gd name="T11" fmla="*/ 195 h 534"/>
                <a:gd name="T12" fmla="*/ 245 w 789"/>
                <a:gd name="T13" fmla="*/ 69 h 534"/>
                <a:gd name="T14" fmla="*/ 60 w 789"/>
                <a:gd name="T15" fmla="*/ 4 h 534"/>
                <a:gd name="T16" fmla="*/ 55 w 789"/>
                <a:gd name="T17" fmla="*/ 4 h 534"/>
                <a:gd name="T18" fmla="*/ 3 w 789"/>
                <a:gd name="T19" fmla="*/ 59 h 534"/>
                <a:gd name="T20" fmla="*/ 43 w 789"/>
                <a:gd name="T21" fmla="*/ 159 h 534"/>
                <a:gd name="T22" fmla="*/ 57 w 789"/>
                <a:gd name="T23" fmla="*/ 227 h 534"/>
                <a:gd name="T24" fmla="*/ 209 w 789"/>
                <a:gd name="T25" fmla="*/ 278 h 534"/>
                <a:gd name="T26" fmla="*/ 119 w 789"/>
                <a:gd name="T27" fmla="*/ 419 h 534"/>
                <a:gd name="T28" fmla="*/ 250 w 789"/>
                <a:gd name="T29" fmla="*/ 509 h 534"/>
                <a:gd name="T30" fmla="*/ 361 w 789"/>
                <a:gd name="T31" fmla="*/ 370 h 534"/>
                <a:gd name="T32" fmla="*/ 394 w 789"/>
                <a:gd name="T33" fmla="*/ 434 h 534"/>
                <a:gd name="T34" fmla="*/ 427 w 789"/>
                <a:gd name="T35" fmla="*/ 370 h 534"/>
                <a:gd name="T36" fmla="*/ 555 w 789"/>
                <a:gd name="T37" fmla="*/ 513 h 534"/>
                <a:gd name="T38" fmla="*/ 667 w 789"/>
                <a:gd name="T39" fmla="*/ 424 h 534"/>
                <a:gd name="T40" fmla="*/ 580 w 789"/>
                <a:gd name="T41" fmla="*/ 278 h 534"/>
                <a:gd name="T42" fmla="*/ 726 w 789"/>
                <a:gd name="T43" fmla="*/ 234 h 534"/>
                <a:gd name="T44" fmla="*/ 752 w 789"/>
                <a:gd name="T45" fmla="*/ 140 h 534"/>
                <a:gd name="T46" fmla="*/ 784 w 789"/>
                <a:gd name="T47" fmla="*/ 77 h 534"/>
                <a:gd name="T48" fmla="*/ 707 w 789"/>
                <a:gd name="T49" fmla="*/ 4 h 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9" h="534">
                  <a:moveTo>
                    <a:pt x="707" y="4"/>
                  </a:moveTo>
                  <a:cubicBezTo>
                    <a:pt x="645" y="9"/>
                    <a:pt x="588" y="37"/>
                    <a:pt x="541" y="69"/>
                  </a:cubicBezTo>
                  <a:cubicBezTo>
                    <a:pt x="492" y="102"/>
                    <a:pt x="454" y="146"/>
                    <a:pt x="434" y="194"/>
                  </a:cubicBezTo>
                  <a:cubicBezTo>
                    <a:pt x="431" y="182"/>
                    <a:pt x="419" y="173"/>
                    <a:pt x="418" y="165"/>
                  </a:cubicBezTo>
                  <a:cubicBezTo>
                    <a:pt x="437" y="105"/>
                    <a:pt x="346" y="110"/>
                    <a:pt x="370" y="166"/>
                  </a:cubicBezTo>
                  <a:cubicBezTo>
                    <a:pt x="363" y="175"/>
                    <a:pt x="357" y="184"/>
                    <a:pt x="352" y="195"/>
                  </a:cubicBezTo>
                  <a:cubicBezTo>
                    <a:pt x="333" y="142"/>
                    <a:pt x="292" y="101"/>
                    <a:pt x="245" y="69"/>
                  </a:cubicBezTo>
                  <a:cubicBezTo>
                    <a:pt x="198" y="36"/>
                    <a:pt x="134" y="6"/>
                    <a:pt x="60" y="4"/>
                  </a:cubicBezTo>
                  <a:cubicBezTo>
                    <a:pt x="55" y="4"/>
                    <a:pt x="55" y="4"/>
                    <a:pt x="55" y="4"/>
                  </a:cubicBezTo>
                  <a:cubicBezTo>
                    <a:pt x="24" y="5"/>
                    <a:pt x="5" y="28"/>
                    <a:pt x="3" y="59"/>
                  </a:cubicBezTo>
                  <a:cubicBezTo>
                    <a:pt x="0" y="105"/>
                    <a:pt x="32" y="123"/>
                    <a:pt x="43" y="159"/>
                  </a:cubicBezTo>
                  <a:cubicBezTo>
                    <a:pt x="50" y="181"/>
                    <a:pt x="47" y="211"/>
                    <a:pt x="57" y="227"/>
                  </a:cubicBezTo>
                  <a:cubicBezTo>
                    <a:pt x="84" y="272"/>
                    <a:pt x="148" y="277"/>
                    <a:pt x="209" y="278"/>
                  </a:cubicBezTo>
                  <a:cubicBezTo>
                    <a:pt x="160" y="305"/>
                    <a:pt x="114" y="352"/>
                    <a:pt x="119" y="419"/>
                  </a:cubicBezTo>
                  <a:cubicBezTo>
                    <a:pt x="123" y="473"/>
                    <a:pt x="187" y="534"/>
                    <a:pt x="250" y="509"/>
                  </a:cubicBezTo>
                  <a:cubicBezTo>
                    <a:pt x="306" y="486"/>
                    <a:pt x="338" y="427"/>
                    <a:pt x="361" y="370"/>
                  </a:cubicBezTo>
                  <a:cubicBezTo>
                    <a:pt x="371" y="388"/>
                    <a:pt x="372" y="434"/>
                    <a:pt x="394" y="434"/>
                  </a:cubicBezTo>
                  <a:cubicBezTo>
                    <a:pt x="416" y="433"/>
                    <a:pt x="416" y="387"/>
                    <a:pt x="427" y="370"/>
                  </a:cubicBezTo>
                  <a:cubicBezTo>
                    <a:pt x="449" y="430"/>
                    <a:pt x="487" y="500"/>
                    <a:pt x="555" y="513"/>
                  </a:cubicBezTo>
                  <a:cubicBezTo>
                    <a:pt x="611" y="523"/>
                    <a:pt x="663" y="469"/>
                    <a:pt x="667" y="424"/>
                  </a:cubicBezTo>
                  <a:cubicBezTo>
                    <a:pt x="676" y="343"/>
                    <a:pt x="622" y="307"/>
                    <a:pt x="580" y="278"/>
                  </a:cubicBezTo>
                  <a:cubicBezTo>
                    <a:pt x="642" y="277"/>
                    <a:pt x="695" y="271"/>
                    <a:pt x="726" y="234"/>
                  </a:cubicBezTo>
                  <a:cubicBezTo>
                    <a:pt x="742" y="214"/>
                    <a:pt x="736" y="169"/>
                    <a:pt x="752" y="140"/>
                  </a:cubicBezTo>
                  <a:cubicBezTo>
                    <a:pt x="764" y="117"/>
                    <a:pt x="781" y="106"/>
                    <a:pt x="784" y="77"/>
                  </a:cubicBezTo>
                  <a:cubicBezTo>
                    <a:pt x="789" y="22"/>
                    <a:pt x="760" y="0"/>
                    <a:pt x="70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80" name="Freeform 8">
              <a:extLst>
                <a:ext uri="{FF2B5EF4-FFF2-40B4-BE49-F238E27FC236}">
                  <a16:creationId xmlns:a16="http://schemas.microsoft.com/office/drawing/2014/main" xmlns="" id="{50FFDC68-F737-4AB3-8BD6-B90CA9000A8C}"/>
                </a:ext>
              </a:extLst>
            </p:cNvPr>
            <p:cNvSpPr>
              <a:spLocks/>
            </p:cNvSpPr>
            <p:nvPr/>
          </p:nvSpPr>
          <p:spPr bwMode="auto">
            <a:xfrm>
              <a:off x="1703" y="976"/>
              <a:ext cx="34" cy="50"/>
            </a:xfrm>
            <a:custGeom>
              <a:avLst/>
              <a:gdLst>
                <a:gd name="T0" fmla="*/ 41 w 41"/>
                <a:gd name="T1" fmla="*/ 60 h 60"/>
                <a:gd name="T2" fmla="*/ 0 w 41"/>
                <a:gd name="T3" fmla="*/ 0 h 60"/>
                <a:gd name="T4" fmla="*/ 34 w 41"/>
                <a:gd name="T5" fmla="*/ 60 h 60"/>
                <a:gd name="T6" fmla="*/ 41 w 41"/>
                <a:gd name="T7" fmla="*/ 60 h 60"/>
              </a:gdLst>
              <a:ahLst/>
              <a:cxnLst>
                <a:cxn ang="0">
                  <a:pos x="T0" y="T1"/>
                </a:cxn>
                <a:cxn ang="0">
                  <a:pos x="T2" y="T3"/>
                </a:cxn>
                <a:cxn ang="0">
                  <a:pos x="T4" y="T5"/>
                </a:cxn>
                <a:cxn ang="0">
                  <a:pos x="T6" y="T7"/>
                </a:cxn>
              </a:cxnLst>
              <a:rect l="0" t="0" r="r" b="b"/>
              <a:pathLst>
                <a:path w="41" h="60">
                  <a:moveTo>
                    <a:pt x="41" y="60"/>
                  </a:moveTo>
                  <a:cubicBezTo>
                    <a:pt x="41" y="32"/>
                    <a:pt x="25" y="8"/>
                    <a:pt x="0" y="0"/>
                  </a:cubicBezTo>
                  <a:cubicBezTo>
                    <a:pt x="14" y="17"/>
                    <a:pt x="29" y="33"/>
                    <a:pt x="34" y="60"/>
                  </a:cubicBezTo>
                  <a:cubicBezTo>
                    <a:pt x="37" y="60"/>
                    <a:pt x="39" y="60"/>
                    <a:pt x="41"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grpSp>
        <p:nvGrpSpPr>
          <p:cNvPr id="181" name="Group 180">
            <a:extLst>
              <a:ext uri="{FF2B5EF4-FFF2-40B4-BE49-F238E27FC236}">
                <a16:creationId xmlns:a16="http://schemas.microsoft.com/office/drawing/2014/main" xmlns="" id="{741BD422-2647-4291-A6F9-DD8B015F3B38}"/>
              </a:ext>
            </a:extLst>
          </p:cNvPr>
          <p:cNvGrpSpPr/>
          <p:nvPr/>
        </p:nvGrpSpPr>
        <p:grpSpPr>
          <a:xfrm>
            <a:off x="1139994" y="3386140"/>
            <a:ext cx="438150" cy="438150"/>
            <a:chOff x="1149520" y="3362325"/>
            <a:chExt cx="438150" cy="438150"/>
          </a:xfrm>
        </p:grpSpPr>
        <p:cxnSp>
          <p:nvCxnSpPr>
            <p:cNvPr id="182" name="Straight Connector 181">
              <a:extLst>
                <a:ext uri="{FF2B5EF4-FFF2-40B4-BE49-F238E27FC236}">
                  <a16:creationId xmlns:a16="http://schemas.microsoft.com/office/drawing/2014/main" xmlns="" id="{4821E2B8-3B0B-4D2C-8C2F-87AE8688AEAD}"/>
                </a:ext>
              </a:extLst>
            </p:cNvPr>
            <p:cNvCxnSpPr/>
            <p:nvPr/>
          </p:nvCxnSpPr>
          <p:spPr>
            <a:xfrm>
              <a:off x="13685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xmlns="" id="{6D979932-1E63-402B-861A-F714A59306CB}"/>
                </a:ext>
              </a:extLst>
            </p:cNvPr>
            <p:cNvCxnSpPr>
              <a:cxnSpLocks/>
            </p:cNvCxnSpPr>
            <p:nvPr/>
          </p:nvCxnSpPr>
          <p:spPr>
            <a:xfrm rot="5400000">
              <a:off x="1368595" y="3289730"/>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xmlns="" id="{80AB9693-C1ED-4510-A5E5-FFA83CFA1584}"/>
                </a:ext>
              </a:extLst>
            </p:cNvPr>
            <p:cNvCxnSpPr/>
            <p:nvPr/>
          </p:nvCxnSpPr>
          <p:spPr>
            <a:xfrm>
              <a:off x="14828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xmlns="" id="{5F2CD458-5302-41DE-ABC8-8B18018BEDE3}"/>
                </a:ext>
              </a:extLst>
            </p:cNvPr>
            <p:cNvCxnSpPr/>
            <p:nvPr/>
          </p:nvCxnSpPr>
          <p:spPr>
            <a:xfrm>
              <a:off x="1254295" y="3362325"/>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xmlns="" id="{A642F7CB-5EF0-4E0A-B6CB-6CF4E8AB18F8}"/>
                </a:ext>
              </a:extLst>
            </p:cNvPr>
            <p:cNvCxnSpPr>
              <a:cxnSpLocks/>
            </p:cNvCxnSpPr>
            <p:nvPr/>
          </p:nvCxnSpPr>
          <p:spPr>
            <a:xfrm rot="5400000">
              <a:off x="1368595" y="3434986"/>
              <a:ext cx="0" cy="438150"/>
            </a:xfrm>
            <a:prstGeom prst="line">
              <a:avLst/>
            </a:prstGeom>
            <a:ln w="19050">
              <a:solidFill>
                <a:srgbClr val="483698"/>
              </a:solidFill>
            </a:ln>
          </p:spPr>
          <p:style>
            <a:lnRef idx="1">
              <a:schemeClr val="accent1"/>
            </a:lnRef>
            <a:fillRef idx="0">
              <a:schemeClr val="accent1"/>
            </a:fillRef>
            <a:effectRef idx="0">
              <a:schemeClr val="accent1"/>
            </a:effectRef>
            <a:fontRef idx="minor">
              <a:schemeClr val="tx1"/>
            </a:fontRef>
          </p:style>
        </p:cxnSp>
      </p:grpSp>
      <p:grpSp>
        <p:nvGrpSpPr>
          <p:cNvPr id="187" name="Group 186">
            <a:extLst>
              <a:ext uri="{FF2B5EF4-FFF2-40B4-BE49-F238E27FC236}">
                <a16:creationId xmlns:a16="http://schemas.microsoft.com/office/drawing/2014/main" xmlns="" id="{B7B4A6EB-D886-4262-8B2D-4CDDE70665D6}"/>
              </a:ext>
            </a:extLst>
          </p:cNvPr>
          <p:cNvGrpSpPr/>
          <p:nvPr/>
        </p:nvGrpSpPr>
        <p:grpSpPr>
          <a:xfrm>
            <a:off x="1132188" y="1439265"/>
            <a:ext cx="438634" cy="485741"/>
            <a:chOff x="1132188" y="1439265"/>
            <a:chExt cx="438634" cy="485741"/>
          </a:xfrm>
        </p:grpSpPr>
        <p:grpSp>
          <p:nvGrpSpPr>
            <p:cNvPr id="188" name="Group 5">
              <a:extLst>
                <a:ext uri="{FF2B5EF4-FFF2-40B4-BE49-F238E27FC236}">
                  <a16:creationId xmlns:a16="http://schemas.microsoft.com/office/drawing/2014/main" xmlns="" id="{98E5C3AB-9B68-47AB-A425-B4881C614CAC}"/>
                </a:ext>
              </a:extLst>
            </p:cNvPr>
            <p:cNvGrpSpPr>
              <a:grpSpLocks noChangeAspect="1"/>
            </p:cNvGrpSpPr>
            <p:nvPr/>
          </p:nvGrpSpPr>
          <p:grpSpPr bwMode="auto">
            <a:xfrm>
              <a:off x="1132188" y="1542536"/>
              <a:ext cx="438634" cy="382470"/>
              <a:chOff x="4696" y="1057"/>
              <a:chExt cx="945" cy="824"/>
            </a:xfrm>
            <a:solidFill>
              <a:schemeClr val="accent3"/>
            </a:solidFill>
          </p:grpSpPr>
          <p:sp>
            <p:nvSpPr>
              <p:cNvPr id="192" name="Freeform 6">
                <a:extLst>
                  <a:ext uri="{FF2B5EF4-FFF2-40B4-BE49-F238E27FC236}">
                    <a16:creationId xmlns:a16="http://schemas.microsoft.com/office/drawing/2014/main" xmlns="" id="{798346F7-6DF3-4372-AA21-0A77BBFC76B9}"/>
                  </a:ext>
                </a:extLst>
              </p:cNvPr>
              <p:cNvSpPr>
                <a:spLocks/>
              </p:cNvSpPr>
              <p:nvPr/>
            </p:nvSpPr>
            <p:spPr bwMode="auto">
              <a:xfrm>
                <a:off x="4696" y="1057"/>
                <a:ext cx="373" cy="824"/>
              </a:xfrm>
              <a:custGeom>
                <a:avLst/>
                <a:gdLst>
                  <a:gd name="T0" fmla="*/ 66 w 158"/>
                  <a:gd name="T1" fmla="*/ 126 h 349"/>
                  <a:gd name="T2" fmla="*/ 158 w 158"/>
                  <a:gd name="T3" fmla="*/ 220 h 349"/>
                  <a:gd name="T4" fmla="*/ 158 w 158"/>
                  <a:gd name="T5" fmla="*/ 349 h 349"/>
                  <a:gd name="T6" fmla="*/ 157 w 158"/>
                  <a:gd name="T7" fmla="*/ 349 h 349"/>
                  <a:gd name="T8" fmla="*/ 157 w 158"/>
                  <a:gd name="T9" fmla="*/ 349 h 349"/>
                  <a:gd name="T10" fmla="*/ 82 w 158"/>
                  <a:gd name="T11" fmla="*/ 349 h 349"/>
                  <a:gd name="T12" fmla="*/ 82 w 158"/>
                  <a:gd name="T13" fmla="*/ 294 h 349"/>
                  <a:gd name="T14" fmla="*/ 5 w 158"/>
                  <a:gd name="T15" fmla="*/ 192 h 349"/>
                  <a:gd name="T16" fmla="*/ 0 w 158"/>
                  <a:gd name="T17" fmla="*/ 178 h 349"/>
                  <a:gd name="T18" fmla="*/ 0 w 158"/>
                  <a:gd name="T19" fmla="*/ 22 h 349"/>
                  <a:gd name="T20" fmla="*/ 22 w 158"/>
                  <a:gd name="T21" fmla="*/ 0 h 349"/>
                  <a:gd name="T22" fmla="*/ 44 w 158"/>
                  <a:gd name="T23" fmla="*/ 22 h 349"/>
                  <a:gd name="T24" fmla="*/ 44 w 158"/>
                  <a:gd name="T25" fmla="*/ 112 h 349"/>
                  <a:gd name="T26" fmla="*/ 30 w 158"/>
                  <a:gd name="T27" fmla="*/ 120 h 349"/>
                  <a:gd name="T28" fmla="*/ 29 w 158"/>
                  <a:gd name="T29" fmla="*/ 162 h 349"/>
                  <a:gd name="T30" fmla="*/ 71 w 158"/>
                  <a:gd name="T31" fmla="*/ 205 h 349"/>
                  <a:gd name="T32" fmla="*/ 77 w 158"/>
                  <a:gd name="T33" fmla="*/ 200 h 349"/>
                  <a:gd name="T34" fmla="*/ 35 w 158"/>
                  <a:gd name="T35" fmla="*/ 157 h 349"/>
                  <a:gd name="T36" fmla="*/ 35 w 158"/>
                  <a:gd name="T37" fmla="*/ 126 h 349"/>
                  <a:gd name="T38" fmla="*/ 45 w 158"/>
                  <a:gd name="T39" fmla="*/ 120 h 349"/>
                  <a:gd name="T40" fmla="*/ 56 w 158"/>
                  <a:gd name="T41" fmla="*/ 120 h 349"/>
                  <a:gd name="T42" fmla="*/ 66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66" y="126"/>
                    </a:moveTo>
                    <a:cubicBezTo>
                      <a:pt x="158" y="220"/>
                      <a:pt x="158" y="220"/>
                      <a:pt x="158" y="220"/>
                    </a:cubicBezTo>
                    <a:cubicBezTo>
                      <a:pt x="158" y="349"/>
                      <a:pt x="158" y="349"/>
                      <a:pt x="158" y="349"/>
                    </a:cubicBezTo>
                    <a:cubicBezTo>
                      <a:pt x="157" y="349"/>
                      <a:pt x="157" y="349"/>
                      <a:pt x="157" y="349"/>
                    </a:cubicBezTo>
                    <a:cubicBezTo>
                      <a:pt x="157" y="349"/>
                      <a:pt x="157" y="349"/>
                      <a:pt x="157" y="349"/>
                    </a:cubicBezTo>
                    <a:cubicBezTo>
                      <a:pt x="82" y="349"/>
                      <a:pt x="82" y="349"/>
                      <a:pt x="82" y="349"/>
                    </a:cubicBezTo>
                    <a:cubicBezTo>
                      <a:pt x="82" y="294"/>
                      <a:pt x="82" y="294"/>
                      <a:pt x="82" y="294"/>
                    </a:cubicBezTo>
                    <a:cubicBezTo>
                      <a:pt x="5" y="192"/>
                      <a:pt x="5" y="192"/>
                      <a:pt x="5" y="192"/>
                    </a:cubicBezTo>
                    <a:cubicBezTo>
                      <a:pt x="2" y="188"/>
                      <a:pt x="0" y="184"/>
                      <a:pt x="0" y="178"/>
                    </a:cubicBezTo>
                    <a:cubicBezTo>
                      <a:pt x="0" y="22"/>
                      <a:pt x="0" y="22"/>
                      <a:pt x="0" y="22"/>
                    </a:cubicBezTo>
                    <a:cubicBezTo>
                      <a:pt x="0" y="10"/>
                      <a:pt x="10" y="0"/>
                      <a:pt x="22" y="0"/>
                    </a:cubicBezTo>
                    <a:cubicBezTo>
                      <a:pt x="34" y="0"/>
                      <a:pt x="44" y="10"/>
                      <a:pt x="44" y="22"/>
                    </a:cubicBezTo>
                    <a:cubicBezTo>
                      <a:pt x="44" y="112"/>
                      <a:pt x="44" y="112"/>
                      <a:pt x="44" y="112"/>
                    </a:cubicBezTo>
                    <a:cubicBezTo>
                      <a:pt x="39" y="114"/>
                      <a:pt x="34" y="116"/>
                      <a:pt x="30" y="120"/>
                    </a:cubicBezTo>
                    <a:cubicBezTo>
                      <a:pt x="18" y="131"/>
                      <a:pt x="18" y="150"/>
                      <a:pt x="29" y="162"/>
                    </a:cubicBezTo>
                    <a:cubicBezTo>
                      <a:pt x="71" y="205"/>
                      <a:pt x="71" y="205"/>
                      <a:pt x="71" y="205"/>
                    </a:cubicBezTo>
                    <a:cubicBezTo>
                      <a:pt x="77" y="200"/>
                      <a:pt x="77" y="200"/>
                      <a:pt x="77" y="200"/>
                    </a:cubicBezTo>
                    <a:cubicBezTo>
                      <a:pt x="35" y="157"/>
                      <a:pt x="35" y="157"/>
                      <a:pt x="35" y="157"/>
                    </a:cubicBezTo>
                    <a:cubicBezTo>
                      <a:pt x="26" y="148"/>
                      <a:pt x="27" y="134"/>
                      <a:pt x="35" y="126"/>
                    </a:cubicBezTo>
                    <a:cubicBezTo>
                      <a:pt x="38" y="123"/>
                      <a:pt x="41" y="121"/>
                      <a:pt x="45" y="120"/>
                    </a:cubicBezTo>
                    <a:cubicBezTo>
                      <a:pt x="48" y="119"/>
                      <a:pt x="52" y="119"/>
                      <a:pt x="56" y="120"/>
                    </a:cubicBezTo>
                    <a:cubicBezTo>
                      <a:pt x="60" y="121"/>
                      <a:pt x="63" y="123"/>
                      <a:pt x="66"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sp>
            <p:nvSpPr>
              <p:cNvPr id="193" name="Freeform 7">
                <a:extLst>
                  <a:ext uri="{FF2B5EF4-FFF2-40B4-BE49-F238E27FC236}">
                    <a16:creationId xmlns:a16="http://schemas.microsoft.com/office/drawing/2014/main" xmlns="" id="{5A01BCFA-ED6D-4CD3-917B-CC77009009EC}"/>
                  </a:ext>
                </a:extLst>
              </p:cNvPr>
              <p:cNvSpPr>
                <a:spLocks/>
              </p:cNvSpPr>
              <p:nvPr/>
            </p:nvSpPr>
            <p:spPr bwMode="auto">
              <a:xfrm>
                <a:off x="5268" y="1057"/>
                <a:ext cx="373" cy="824"/>
              </a:xfrm>
              <a:custGeom>
                <a:avLst/>
                <a:gdLst>
                  <a:gd name="T0" fmla="*/ 92 w 158"/>
                  <a:gd name="T1" fmla="*/ 126 h 349"/>
                  <a:gd name="T2" fmla="*/ 0 w 158"/>
                  <a:gd name="T3" fmla="*/ 220 h 349"/>
                  <a:gd name="T4" fmla="*/ 0 w 158"/>
                  <a:gd name="T5" fmla="*/ 349 h 349"/>
                  <a:gd name="T6" fmla="*/ 1 w 158"/>
                  <a:gd name="T7" fmla="*/ 349 h 349"/>
                  <a:gd name="T8" fmla="*/ 1 w 158"/>
                  <a:gd name="T9" fmla="*/ 349 h 349"/>
                  <a:gd name="T10" fmla="*/ 76 w 158"/>
                  <a:gd name="T11" fmla="*/ 349 h 349"/>
                  <a:gd name="T12" fmla="*/ 76 w 158"/>
                  <a:gd name="T13" fmla="*/ 294 h 349"/>
                  <a:gd name="T14" fmla="*/ 153 w 158"/>
                  <a:gd name="T15" fmla="*/ 192 h 349"/>
                  <a:gd name="T16" fmla="*/ 158 w 158"/>
                  <a:gd name="T17" fmla="*/ 178 h 349"/>
                  <a:gd name="T18" fmla="*/ 158 w 158"/>
                  <a:gd name="T19" fmla="*/ 22 h 349"/>
                  <a:gd name="T20" fmla="*/ 136 w 158"/>
                  <a:gd name="T21" fmla="*/ 0 h 349"/>
                  <a:gd name="T22" fmla="*/ 114 w 158"/>
                  <a:gd name="T23" fmla="*/ 22 h 349"/>
                  <a:gd name="T24" fmla="*/ 114 w 158"/>
                  <a:gd name="T25" fmla="*/ 112 h 349"/>
                  <a:gd name="T26" fmla="*/ 128 w 158"/>
                  <a:gd name="T27" fmla="*/ 120 h 349"/>
                  <a:gd name="T28" fmla="*/ 129 w 158"/>
                  <a:gd name="T29" fmla="*/ 162 h 349"/>
                  <a:gd name="T30" fmla="*/ 87 w 158"/>
                  <a:gd name="T31" fmla="*/ 205 h 349"/>
                  <a:gd name="T32" fmla="*/ 81 w 158"/>
                  <a:gd name="T33" fmla="*/ 200 h 349"/>
                  <a:gd name="T34" fmla="*/ 123 w 158"/>
                  <a:gd name="T35" fmla="*/ 157 h 349"/>
                  <a:gd name="T36" fmla="*/ 123 w 158"/>
                  <a:gd name="T37" fmla="*/ 126 h 349"/>
                  <a:gd name="T38" fmla="*/ 113 w 158"/>
                  <a:gd name="T39" fmla="*/ 120 h 349"/>
                  <a:gd name="T40" fmla="*/ 102 w 158"/>
                  <a:gd name="T41" fmla="*/ 120 h 349"/>
                  <a:gd name="T42" fmla="*/ 92 w 158"/>
                  <a:gd name="T43" fmla="*/ 126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8" h="349">
                    <a:moveTo>
                      <a:pt x="92" y="126"/>
                    </a:moveTo>
                    <a:cubicBezTo>
                      <a:pt x="0" y="220"/>
                      <a:pt x="0" y="220"/>
                      <a:pt x="0" y="220"/>
                    </a:cubicBezTo>
                    <a:cubicBezTo>
                      <a:pt x="0" y="349"/>
                      <a:pt x="0" y="349"/>
                      <a:pt x="0" y="349"/>
                    </a:cubicBezTo>
                    <a:cubicBezTo>
                      <a:pt x="1" y="349"/>
                      <a:pt x="1" y="349"/>
                      <a:pt x="1" y="349"/>
                    </a:cubicBezTo>
                    <a:cubicBezTo>
                      <a:pt x="1" y="349"/>
                      <a:pt x="1" y="349"/>
                      <a:pt x="1" y="349"/>
                    </a:cubicBezTo>
                    <a:cubicBezTo>
                      <a:pt x="76" y="349"/>
                      <a:pt x="76" y="349"/>
                      <a:pt x="76" y="349"/>
                    </a:cubicBezTo>
                    <a:cubicBezTo>
                      <a:pt x="76" y="294"/>
                      <a:pt x="76" y="294"/>
                      <a:pt x="76" y="294"/>
                    </a:cubicBezTo>
                    <a:cubicBezTo>
                      <a:pt x="153" y="192"/>
                      <a:pt x="153" y="192"/>
                      <a:pt x="153" y="192"/>
                    </a:cubicBezTo>
                    <a:cubicBezTo>
                      <a:pt x="156" y="188"/>
                      <a:pt x="158" y="184"/>
                      <a:pt x="158" y="178"/>
                    </a:cubicBezTo>
                    <a:cubicBezTo>
                      <a:pt x="158" y="22"/>
                      <a:pt x="158" y="22"/>
                      <a:pt x="158" y="22"/>
                    </a:cubicBezTo>
                    <a:cubicBezTo>
                      <a:pt x="158" y="10"/>
                      <a:pt x="148" y="0"/>
                      <a:pt x="136" y="0"/>
                    </a:cubicBezTo>
                    <a:cubicBezTo>
                      <a:pt x="124" y="0"/>
                      <a:pt x="114" y="10"/>
                      <a:pt x="114" y="22"/>
                    </a:cubicBezTo>
                    <a:cubicBezTo>
                      <a:pt x="114" y="112"/>
                      <a:pt x="114" y="112"/>
                      <a:pt x="114" y="112"/>
                    </a:cubicBezTo>
                    <a:cubicBezTo>
                      <a:pt x="119" y="114"/>
                      <a:pt x="124" y="116"/>
                      <a:pt x="128" y="120"/>
                    </a:cubicBezTo>
                    <a:cubicBezTo>
                      <a:pt x="140" y="131"/>
                      <a:pt x="140" y="150"/>
                      <a:pt x="129" y="162"/>
                    </a:cubicBezTo>
                    <a:cubicBezTo>
                      <a:pt x="87" y="205"/>
                      <a:pt x="87" y="205"/>
                      <a:pt x="87" y="205"/>
                    </a:cubicBezTo>
                    <a:cubicBezTo>
                      <a:pt x="81" y="200"/>
                      <a:pt x="81" y="200"/>
                      <a:pt x="81" y="200"/>
                    </a:cubicBezTo>
                    <a:cubicBezTo>
                      <a:pt x="123" y="157"/>
                      <a:pt x="123" y="157"/>
                      <a:pt x="123" y="157"/>
                    </a:cubicBezTo>
                    <a:cubicBezTo>
                      <a:pt x="132" y="148"/>
                      <a:pt x="131" y="134"/>
                      <a:pt x="123" y="126"/>
                    </a:cubicBezTo>
                    <a:cubicBezTo>
                      <a:pt x="120" y="123"/>
                      <a:pt x="117" y="121"/>
                      <a:pt x="113" y="120"/>
                    </a:cubicBezTo>
                    <a:cubicBezTo>
                      <a:pt x="110" y="119"/>
                      <a:pt x="106" y="119"/>
                      <a:pt x="102" y="120"/>
                    </a:cubicBezTo>
                    <a:cubicBezTo>
                      <a:pt x="98" y="121"/>
                      <a:pt x="95" y="123"/>
                      <a:pt x="92"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dirty="0">
                  <a:solidFill>
                    <a:srgbClr val="000000"/>
                  </a:solidFill>
                </a:endParaRPr>
              </a:p>
            </p:txBody>
          </p:sp>
        </p:grpSp>
        <p:sp>
          <p:nvSpPr>
            <p:cNvPr id="189" name="Cross 188">
              <a:extLst>
                <a:ext uri="{FF2B5EF4-FFF2-40B4-BE49-F238E27FC236}">
                  <a16:creationId xmlns:a16="http://schemas.microsoft.com/office/drawing/2014/main" xmlns="" id="{D1299AF4-2631-4DBC-900D-B3E1E4EF93AD}"/>
                </a:ext>
              </a:extLst>
            </p:cNvPr>
            <p:cNvSpPr/>
            <p:nvPr/>
          </p:nvSpPr>
          <p:spPr>
            <a:xfrm>
              <a:off x="1230812" y="1439265"/>
              <a:ext cx="90745" cy="90745"/>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0" name="Cross 189">
              <a:extLst>
                <a:ext uri="{FF2B5EF4-FFF2-40B4-BE49-F238E27FC236}">
                  <a16:creationId xmlns:a16="http://schemas.microsoft.com/office/drawing/2014/main" xmlns="" id="{E8DA3D61-0FBF-4AEF-8F44-0C77341AC539}"/>
                </a:ext>
              </a:extLst>
            </p:cNvPr>
            <p:cNvSpPr/>
            <p:nvPr/>
          </p:nvSpPr>
          <p:spPr>
            <a:xfrm>
              <a:off x="1310850" y="1557658"/>
              <a:ext cx="123596" cy="123596"/>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sp>
          <p:nvSpPr>
            <p:cNvPr id="191" name="Cross 190">
              <a:extLst>
                <a:ext uri="{FF2B5EF4-FFF2-40B4-BE49-F238E27FC236}">
                  <a16:creationId xmlns:a16="http://schemas.microsoft.com/office/drawing/2014/main" xmlns="" id="{D3846638-A997-4AAA-8CCD-A50F0C28B647}"/>
                </a:ext>
              </a:extLst>
            </p:cNvPr>
            <p:cNvSpPr/>
            <p:nvPr/>
          </p:nvSpPr>
          <p:spPr>
            <a:xfrm>
              <a:off x="1419666" y="1466445"/>
              <a:ext cx="64589" cy="64589"/>
            </a:xfrm>
            <a:prstGeom prst="plus">
              <a:avLst>
                <a:gd name="adj" fmla="val 3488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defRPr/>
              </a:pPr>
              <a:endParaRPr lang="en-US" sz="1500" dirty="0">
                <a:solidFill>
                  <a:prstClr val="white"/>
                </a:solidFill>
              </a:endParaRPr>
            </a:p>
          </p:txBody>
        </p:sp>
      </p:grpSp>
      <p:sp>
        <p:nvSpPr>
          <p:cNvPr id="6" name="Rectangle 5"/>
          <p:cNvSpPr/>
          <p:nvPr/>
        </p:nvSpPr>
        <p:spPr>
          <a:xfrm>
            <a:off x="843210" y="2140391"/>
            <a:ext cx="8275478" cy="97776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algn="l"/>
            <a:endParaRPr lang="en-US" sz="1500" dirty="0" err="1">
              <a:solidFill>
                <a:schemeClr val="bg1"/>
              </a:solidFill>
            </a:endParaRPr>
          </a:p>
        </p:txBody>
      </p:sp>
    </p:spTree>
    <p:extLst>
      <p:ext uri="{BB962C8B-B14F-4D97-AF65-F5344CB8AC3E}">
        <p14:creationId xmlns:p14="http://schemas.microsoft.com/office/powerpoint/2010/main" val="40448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decel="100000" fill="hold" nodeType="withEffect">
                                  <p:stCondLst>
                                    <p:cond delay="0"/>
                                  </p:stCondLst>
                                  <p:childTnLst>
                                    <p:animMotion origin="layout" path="M 4.16667E-7 -1.85185E-6 L -0.11849 -1.85185E-6 " pathEditMode="relative" rAng="0" ptsTypes="AA">
                                      <p:cBhvr>
                                        <p:cTn id="6" dur="1000" fill="hold"/>
                                        <p:tgtEl>
                                          <p:spTgt spid="3"/>
                                        </p:tgtEl>
                                        <p:attrNameLst>
                                          <p:attrName>ppt_x</p:attrName>
                                          <p:attrName>ppt_y</p:attrName>
                                        </p:attrNameLst>
                                      </p:cBhvr>
                                      <p:rCtr x="-5924" y="0"/>
                                    </p:animMotion>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500"/>
                                        <p:tgtEl>
                                          <p:spTgt spid="9"/>
                                        </p:tgtEl>
                                      </p:cBhvr>
                                    </p:animEffect>
                                  </p:childTnLst>
                                </p:cTn>
                              </p:par>
                              <p:par>
                                <p:cTn id="10" presetID="42" presetClass="path" presetSubtype="0" decel="50000" fill="hold" grpId="1" nodeType="withEffect">
                                  <p:stCondLst>
                                    <p:cond delay="0"/>
                                  </p:stCondLst>
                                  <p:childTnLst>
                                    <p:animMotion origin="layout" path="M 4.16667E-7 4.07407E-6 L 4.16667E-7 -0.08959 " pathEditMode="relative" rAng="0" ptsTypes="AA">
                                      <p:cBhvr>
                                        <p:cTn id="11" dur="750" spd="-100000" fill="hold"/>
                                        <p:tgtEl>
                                          <p:spTgt spid="9"/>
                                        </p:tgtEl>
                                        <p:attrNameLst>
                                          <p:attrName>ppt_x</p:attrName>
                                          <p:attrName>ppt_y</p:attrName>
                                        </p:attrNameLst>
                                      </p:cBhvr>
                                      <p:rCtr x="0" y="-4491"/>
                                    </p:animMotion>
                                  </p:childTnLst>
                                </p:cTn>
                              </p:par>
                              <p:par>
                                <p:cTn id="12" presetID="10" presetClass="entr" presetSubtype="0" fill="hold" grpId="0" nodeType="withEffect">
                                  <p:stCondLst>
                                    <p:cond delay="25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decel="50000" fill="hold" grpId="1" nodeType="withEffect">
                                  <p:stCondLst>
                                    <p:cond delay="250"/>
                                  </p:stCondLst>
                                  <p:childTnLst>
                                    <p:animMotion origin="layout" path="M 4.16667E-7 4.07407E-6 L 4.16667E-7 -0.08959 " pathEditMode="relative" rAng="0" ptsTypes="AA">
                                      <p:cBhvr>
                                        <p:cTn id="16" dur="750" spd="-100000" fill="hold"/>
                                        <p:tgtEl>
                                          <p:spTgt spid="10"/>
                                        </p:tgtEl>
                                        <p:attrNameLst>
                                          <p:attrName>ppt_x</p:attrName>
                                          <p:attrName>ppt_y</p:attrName>
                                        </p:attrNameLst>
                                      </p:cBhvr>
                                      <p:rCtr x="0" y="-4491"/>
                                    </p:animMotion>
                                  </p:childTnLst>
                                </p:cTn>
                              </p:par>
                              <p:par>
                                <p:cTn id="17" presetID="10" presetClass="entr" presetSubtype="0" fill="hold" grpId="0" nodeType="withEffect">
                                  <p:stCondLst>
                                    <p:cond delay="50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500"/>
                                        <p:tgtEl>
                                          <p:spTgt spid="11"/>
                                        </p:tgtEl>
                                      </p:cBhvr>
                                    </p:animEffect>
                                  </p:childTnLst>
                                </p:cTn>
                              </p:par>
                              <p:par>
                                <p:cTn id="20" presetID="42" presetClass="path" presetSubtype="0" decel="50000" fill="hold" grpId="1" nodeType="withEffect">
                                  <p:stCondLst>
                                    <p:cond delay="500"/>
                                  </p:stCondLst>
                                  <p:childTnLst>
                                    <p:animMotion origin="layout" path="M 4.16667E-7 4.07407E-6 L 4.16667E-7 -0.08959 " pathEditMode="relative" rAng="0" ptsTypes="AA">
                                      <p:cBhvr>
                                        <p:cTn id="21" dur="750" spd="-100000" fill="hold"/>
                                        <p:tgtEl>
                                          <p:spTgt spid="11"/>
                                        </p:tgtEl>
                                        <p:attrNameLst>
                                          <p:attrName>ppt_x</p:attrName>
                                          <p:attrName>ppt_y</p:attrName>
                                        </p:attrNameLst>
                                      </p:cBhvr>
                                      <p:rCtr x="0" y="-4491"/>
                                    </p:animMotion>
                                  </p:childTnLst>
                                </p:cTn>
                              </p:par>
                              <p:par>
                                <p:cTn id="22" presetID="10" presetClass="entr" presetSubtype="0" fill="hold" grpId="0" nodeType="withEffect">
                                  <p:stCondLst>
                                    <p:cond delay="25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par>
                                <p:cTn id="25" presetID="35" presetClass="path" presetSubtype="0" decel="100000" fill="hold" grpId="1" nodeType="withEffect">
                                  <p:stCondLst>
                                    <p:cond delay="250"/>
                                  </p:stCondLst>
                                  <p:childTnLst>
                                    <p:animMotion origin="layout" path="M 0 -1.85185E-6 L 0 -0.0743 " pathEditMode="relative" rAng="0" ptsTypes="AA">
                                      <p:cBhvr>
                                        <p:cTn id="26" dur="750" spd="-100000" fill="hold"/>
                                        <p:tgtEl>
                                          <p:spTgt spid="2"/>
                                        </p:tgtEl>
                                        <p:attrNameLst>
                                          <p:attrName>ppt_x</p:attrName>
                                          <p:attrName>ppt_y</p:attrName>
                                        </p:attrNameLst>
                                      </p:cBhvr>
                                      <p:rCtr x="0" y="-3727"/>
                                    </p:animMotion>
                                  </p:childTnLst>
                                </p:cTn>
                              </p:par>
                              <p:par>
                                <p:cTn id="27" presetID="10" presetClass="entr" presetSubtype="0" fill="hold" grpId="0" nodeType="withEffect">
                                  <p:stCondLst>
                                    <p:cond delay="1000"/>
                                  </p:stCondLst>
                                  <p:childTnLst>
                                    <p:set>
                                      <p:cBhvr>
                                        <p:cTn id="28" dur="1" fill="hold">
                                          <p:stCondLst>
                                            <p:cond delay="0"/>
                                          </p:stCondLst>
                                        </p:cTn>
                                        <p:tgtEl>
                                          <p:spTgt spid="95"/>
                                        </p:tgtEl>
                                        <p:attrNameLst>
                                          <p:attrName>style.visibility</p:attrName>
                                        </p:attrNameLst>
                                      </p:cBhvr>
                                      <p:to>
                                        <p:strVal val="visible"/>
                                      </p:to>
                                    </p:set>
                                    <p:animEffect transition="in" filter="fade">
                                      <p:cBhvr>
                                        <p:cTn id="29" dur="500"/>
                                        <p:tgtEl>
                                          <p:spTgt spid="95"/>
                                        </p:tgtEl>
                                      </p:cBhvr>
                                    </p:animEffect>
                                  </p:childTnLst>
                                </p:cTn>
                              </p:par>
                              <p:par>
                                <p:cTn id="30" presetID="42" presetClass="path" presetSubtype="0" decel="50000" fill="hold" grpId="1" nodeType="withEffect">
                                  <p:stCondLst>
                                    <p:cond delay="1000"/>
                                  </p:stCondLst>
                                  <p:childTnLst>
                                    <p:animMotion origin="layout" path="M 1.45833E-6 -4.81481E-6 L -0.03112 -4.81481E-6 " pathEditMode="relative" rAng="0" ptsTypes="AA">
                                      <p:cBhvr>
                                        <p:cTn id="31" dur="750" spd="-100000" fill="hold"/>
                                        <p:tgtEl>
                                          <p:spTgt spid="95"/>
                                        </p:tgtEl>
                                        <p:attrNameLst>
                                          <p:attrName>ppt_x</p:attrName>
                                          <p:attrName>ppt_y</p:attrName>
                                        </p:attrNameLst>
                                      </p:cBhvr>
                                      <p:rCtr x="-1563" y="0"/>
                                    </p:animMotion>
                                  </p:childTnLst>
                                </p:cTn>
                              </p:par>
                              <p:par>
                                <p:cTn id="32" presetID="10" presetClass="entr" presetSubtype="0" fill="hold" grpId="0" nodeType="withEffect">
                                  <p:stCondLst>
                                    <p:cond delay="1100"/>
                                  </p:stCondLst>
                                  <p:childTnLst>
                                    <p:set>
                                      <p:cBhvr>
                                        <p:cTn id="33" dur="1" fill="hold">
                                          <p:stCondLst>
                                            <p:cond delay="0"/>
                                          </p:stCondLst>
                                        </p:cTn>
                                        <p:tgtEl>
                                          <p:spTgt spid="108"/>
                                        </p:tgtEl>
                                        <p:attrNameLst>
                                          <p:attrName>style.visibility</p:attrName>
                                        </p:attrNameLst>
                                      </p:cBhvr>
                                      <p:to>
                                        <p:strVal val="visible"/>
                                      </p:to>
                                    </p:set>
                                    <p:animEffect transition="in" filter="fade">
                                      <p:cBhvr>
                                        <p:cTn id="34" dur="500"/>
                                        <p:tgtEl>
                                          <p:spTgt spid="108"/>
                                        </p:tgtEl>
                                      </p:cBhvr>
                                    </p:animEffect>
                                  </p:childTnLst>
                                </p:cTn>
                              </p:par>
                              <p:par>
                                <p:cTn id="35" presetID="42" presetClass="path" presetSubtype="0" decel="50000" fill="hold" grpId="1" nodeType="withEffect">
                                  <p:stCondLst>
                                    <p:cond delay="1100"/>
                                  </p:stCondLst>
                                  <p:childTnLst>
                                    <p:animMotion origin="layout" path="M 1.45833E-6 -4.81481E-6 L -0.03216 -4.81481E-6 " pathEditMode="relative" rAng="0" ptsTypes="AA">
                                      <p:cBhvr>
                                        <p:cTn id="36" dur="750" spd="-100000" fill="hold"/>
                                        <p:tgtEl>
                                          <p:spTgt spid="108"/>
                                        </p:tgtEl>
                                        <p:attrNameLst>
                                          <p:attrName>ppt_x</p:attrName>
                                          <p:attrName>ppt_y</p:attrName>
                                        </p:attrNameLst>
                                      </p:cBhvr>
                                      <p:rCtr x="-1615" y="0"/>
                                    </p:animMotion>
                                  </p:childTnLst>
                                </p:cTn>
                              </p:par>
                              <p:par>
                                <p:cTn id="37" presetID="10" presetClass="entr" presetSubtype="0" fill="hold" grpId="0" nodeType="withEffect">
                                  <p:stCondLst>
                                    <p:cond delay="1200"/>
                                  </p:stCondLst>
                                  <p:childTnLst>
                                    <p:set>
                                      <p:cBhvr>
                                        <p:cTn id="38" dur="1" fill="hold">
                                          <p:stCondLst>
                                            <p:cond delay="0"/>
                                          </p:stCondLst>
                                        </p:cTn>
                                        <p:tgtEl>
                                          <p:spTgt spid="118"/>
                                        </p:tgtEl>
                                        <p:attrNameLst>
                                          <p:attrName>style.visibility</p:attrName>
                                        </p:attrNameLst>
                                      </p:cBhvr>
                                      <p:to>
                                        <p:strVal val="visible"/>
                                      </p:to>
                                    </p:set>
                                    <p:animEffect transition="in" filter="fade">
                                      <p:cBhvr>
                                        <p:cTn id="39" dur="500"/>
                                        <p:tgtEl>
                                          <p:spTgt spid="118"/>
                                        </p:tgtEl>
                                      </p:cBhvr>
                                    </p:animEffect>
                                  </p:childTnLst>
                                </p:cTn>
                              </p:par>
                              <p:par>
                                <p:cTn id="40" presetID="42" presetClass="path" presetSubtype="0" decel="50000" fill="hold" grpId="1" nodeType="withEffect">
                                  <p:stCondLst>
                                    <p:cond delay="1200"/>
                                  </p:stCondLst>
                                  <p:childTnLst>
                                    <p:animMotion origin="layout" path="M 1.45833E-6 -4.81481E-6 L -0.0306 -4.81481E-6 " pathEditMode="relative" rAng="0" ptsTypes="AA">
                                      <p:cBhvr>
                                        <p:cTn id="41" dur="750" spd="-100000" fill="hold"/>
                                        <p:tgtEl>
                                          <p:spTgt spid="118"/>
                                        </p:tgtEl>
                                        <p:attrNameLst>
                                          <p:attrName>ppt_x</p:attrName>
                                          <p:attrName>ppt_y</p:attrName>
                                        </p:attrNameLst>
                                      </p:cBhvr>
                                      <p:rCtr x="-1536" y="0"/>
                                    </p:animMotion>
                                  </p:childTnLst>
                                </p:cTn>
                              </p:par>
                              <p:par>
                                <p:cTn id="42" presetID="10" presetClass="entr" presetSubtype="0" fill="hold" nodeType="withEffect">
                                  <p:stCondLst>
                                    <p:cond delay="1500"/>
                                  </p:stCondLst>
                                  <p:childTnLst>
                                    <p:set>
                                      <p:cBhvr>
                                        <p:cTn id="43" dur="1" fill="hold">
                                          <p:stCondLst>
                                            <p:cond delay="0"/>
                                          </p:stCondLst>
                                        </p:cTn>
                                        <p:tgtEl>
                                          <p:spTgt spid="136"/>
                                        </p:tgtEl>
                                        <p:attrNameLst>
                                          <p:attrName>style.visibility</p:attrName>
                                        </p:attrNameLst>
                                      </p:cBhvr>
                                      <p:to>
                                        <p:strVal val="visible"/>
                                      </p:to>
                                    </p:set>
                                    <p:animEffect transition="in" filter="fade">
                                      <p:cBhvr>
                                        <p:cTn id="44" dur="500"/>
                                        <p:tgtEl>
                                          <p:spTgt spid="136"/>
                                        </p:tgtEl>
                                      </p:cBhvr>
                                    </p:animEffect>
                                  </p:childTnLst>
                                </p:cTn>
                              </p:par>
                              <p:par>
                                <p:cTn id="45" presetID="42" presetClass="path" presetSubtype="0" decel="50000" fill="hold" nodeType="withEffect">
                                  <p:stCondLst>
                                    <p:cond delay="1500"/>
                                  </p:stCondLst>
                                  <p:childTnLst>
                                    <p:animMotion origin="layout" path="M 1.66667E-6 -3.33333E-6 L -0.03008 -3.33333E-6 " pathEditMode="relative" rAng="0" ptsTypes="AA">
                                      <p:cBhvr>
                                        <p:cTn id="46" dur="750" spd="-100000" fill="hold"/>
                                        <p:tgtEl>
                                          <p:spTgt spid="136"/>
                                        </p:tgtEl>
                                        <p:attrNameLst>
                                          <p:attrName>ppt_x</p:attrName>
                                          <p:attrName>ppt_y</p:attrName>
                                        </p:attrNameLst>
                                      </p:cBhvr>
                                      <p:rCtr x="-1510" y="0"/>
                                    </p:animMotion>
                                  </p:childTnLst>
                                </p:cTn>
                              </p:par>
                              <p:par>
                                <p:cTn id="47" presetID="10" presetClass="entr" presetSubtype="0" fill="hold" grpId="0" nodeType="withEffect">
                                  <p:stCondLst>
                                    <p:cond delay="1000"/>
                                  </p:stCondLst>
                                  <p:childTnLst>
                                    <p:set>
                                      <p:cBhvr>
                                        <p:cTn id="48" dur="1" fill="hold">
                                          <p:stCondLst>
                                            <p:cond delay="0"/>
                                          </p:stCondLst>
                                        </p:cTn>
                                        <p:tgtEl>
                                          <p:spTgt spid="139"/>
                                        </p:tgtEl>
                                        <p:attrNameLst>
                                          <p:attrName>style.visibility</p:attrName>
                                        </p:attrNameLst>
                                      </p:cBhvr>
                                      <p:to>
                                        <p:strVal val="visible"/>
                                      </p:to>
                                    </p:set>
                                    <p:animEffect transition="in" filter="fade">
                                      <p:cBhvr>
                                        <p:cTn id="49" dur="500"/>
                                        <p:tgtEl>
                                          <p:spTgt spid="139"/>
                                        </p:tgtEl>
                                      </p:cBhvr>
                                    </p:animEffect>
                                  </p:childTnLst>
                                </p:cTn>
                              </p:par>
                              <p:par>
                                <p:cTn id="50" presetID="42" presetClass="path" presetSubtype="0" decel="50000" fill="hold" grpId="1" nodeType="withEffect">
                                  <p:stCondLst>
                                    <p:cond delay="1000"/>
                                  </p:stCondLst>
                                  <p:childTnLst>
                                    <p:animMotion origin="layout" path="M 1.45833E-6 1.85185E-6 L -0.03112 1.85185E-6 " pathEditMode="relative" rAng="0" ptsTypes="AA">
                                      <p:cBhvr>
                                        <p:cTn id="51" dur="750" spd="-100000" fill="hold"/>
                                        <p:tgtEl>
                                          <p:spTgt spid="139"/>
                                        </p:tgtEl>
                                        <p:attrNameLst>
                                          <p:attrName>ppt_x</p:attrName>
                                          <p:attrName>ppt_y</p:attrName>
                                        </p:attrNameLst>
                                      </p:cBhvr>
                                      <p:rCtr x="-1563" y="0"/>
                                    </p:animMotion>
                                  </p:childTnLst>
                                </p:cTn>
                              </p:par>
                              <p:par>
                                <p:cTn id="52" presetID="10" presetClass="entr" presetSubtype="0" fill="hold" grpId="0" nodeType="withEffect">
                                  <p:stCondLst>
                                    <p:cond delay="1100"/>
                                  </p:stCondLst>
                                  <p:childTnLst>
                                    <p:set>
                                      <p:cBhvr>
                                        <p:cTn id="53" dur="1" fill="hold">
                                          <p:stCondLst>
                                            <p:cond delay="0"/>
                                          </p:stCondLst>
                                        </p:cTn>
                                        <p:tgtEl>
                                          <p:spTgt spid="140"/>
                                        </p:tgtEl>
                                        <p:attrNameLst>
                                          <p:attrName>style.visibility</p:attrName>
                                        </p:attrNameLst>
                                      </p:cBhvr>
                                      <p:to>
                                        <p:strVal val="visible"/>
                                      </p:to>
                                    </p:set>
                                    <p:animEffect transition="in" filter="fade">
                                      <p:cBhvr>
                                        <p:cTn id="54" dur="500"/>
                                        <p:tgtEl>
                                          <p:spTgt spid="140"/>
                                        </p:tgtEl>
                                      </p:cBhvr>
                                    </p:animEffect>
                                  </p:childTnLst>
                                </p:cTn>
                              </p:par>
                              <p:par>
                                <p:cTn id="55" presetID="42" presetClass="path" presetSubtype="0" decel="50000" fill="hold" grpId="1" nodeType="withEffect">
                                  <p:stCondLst>
                                    <p:cond delay="1100"/>
                                  </p:stCondLst>
                                  <p:childTnLst>
                                    <p:animMotion origin="layout" path="M 1.45833E-6 1.85185E-6 L -0.03216 1.85185E-6 " pathEditMode="relative" rAng="0" ptsTypes="AA">
                                      <p:cBhvr>
                                        <p:cTn id="56" dur="750" spd="-100000" fill="hold"/>
                                        <p:tgtEl>
                                          <p:spTgt spid="140"/>
                                        </p:tgtEl>
                                        <p:attrNameLst>
                                          <p:attrName>ppt_x</p:attrName>
                                          <p:attrName>ppt_y</p:attrName>
                                        </p:attrNameLst>
                                      </p:cBhvr>
                                      <p:rCtr x="-1615" y="0"/>
                                    </p:animMotion>
                                  </p:childTnLst>
                                </p:cTn>
                              </p:par>
                              <p:par>
                                <p:cTn id="57" presetID="10" presetClass="entr" presetSubtype="0" fill="hold" grpId="0" nodeType="withEffect">
                                  <p:stCondLst>
                                    <p:cond delay="1200"/>
                                  </p:stCondLst>
                                  <p:childTnLst>
                                    <p:set>
                                      <p:cBhvr>
                                        <p:cTn id="58" dur="1" fill="hold">
                                          <p:stCondLst>
                                            <p:cond delay="0"/>
                                          </p:stCondLst>
                                        </p:cTn>
                                        <p:tgtEl>
                                          <p:spTgt spid="141"/>
                                        </p:tgtEl>
                                        <p:attrNameLst>
                                          <p:attrName>style.visibility</p:attrName>
                                        </p:attrNameLst>
                                      </p:cBhvr>
                                      <p:to>
                                        <p:strVal val="visible"/>
                                      </p:to>
                                    </p:set>
                                    <p:animEffect transition="in" filter="fade">
                                      <p:cBhvr>
                                        <p:cTn id="59" dur="500"/>
                                        <p:tgtEl>
                                          <p:spTgt spid="141"/>
                                        </p:tgtEl>
                                      </p:cBhvr>
                                    </p:animEffect>
                                  </p:childTnLst>
                                </p:cTn>
                              </p:par>
                              <p:par>
                                <p:cTn id="60" presetID="42" presetClass="path" presetSubtype="0" decel="50000" fill="hold" grpId="1" nodeType="withEffect">
                                  <p:stCondLst>
                                    <p:cond delay="1200"/>
                                  </p:stCondLst>
                                  <p:childTnLst>
                                    <p:animMotion origin="layout" path="M 1.45833E-6 1.85185E-6 L -0.0306 1.85185E-6 " pathEditMode="relative" rAng="0" ptsTypes="AA">
                                      <p:cBhvr>
                                        <p:cTn id="61" dur="750" spd="-100000" fill="hold"/>
                                        <p:tgtEl>
                                          <p:spTgt spid="141"/>
                                        </p:tgtEl>
                                        <p:attrNameLst>
                                          <p:attrName>ppt_x</p:attrName>
                                          <p:attrName>ppt_y</p:attrName>
                                        </p:attrNameLst>
                                      </p:cBhvr>
                                      <p:rCtr x="-1536" y="0"/>
                                    </p:animMotion>
                                  </p:childTnLst>
                                </p:cTn>
                              </p:par>
                              <p:par>
                                <p:cTn id="62" presetID="10" presetClass="entr" presetSubtype="0" fill="hold" nodeType="withEffect">
                                  <p:stCondLst>
                                    <p:cond delay="1500"/>
                                  </p:stCondLst>
                                  <p:childTnLst>
                                    <p:set>
                                      <p:cBhvr>
                                        <p:cTn id="63" dur="1" fill="hold">
                                          <p:stCondLst>
                                            <p:cond delay="0"/>
                                          </p:stCondLst>
                                        </p:cTn>
                                        <p:tgtEl>
                                          <p:spTgt spid="142"/>
                                        </p:tgtEl>
                                        <p:attrNameLst>
                                          <p:attrName>style.visibility</p:attrName>
                                        </p:attrNameLst>
                                      </p:cBhvr>
                                      <p:to>
                                        <p:strVal val="visible"/>
                                      </p:to>
                                    </p:set>
                                    <p:animEffect transition="in" filter="fade">
                                      <p:cBhvr>
                                        <p:cTn id="64" dur="500"/>
                                        <p:tgtEl>
                                          <p:spTgt spid="142"/>
                                        </p:tgtEl>
                                      </p:cBhvr>
                                    </p:animEffect>
                                  </p:childTnLst>
                                </p:cTn>
                              </p:par>
                              <p:par>
                                <p:cTn id="65" presetID="42" presetClass="path" presetSubtype="0" decel="50000" fill="hold" nodeType="withEffect">
                                  <p:stCondLst>
                                    <p:cond delay="1500"/>
                                  </p:stCondLst>
                                  <p:childTnLst>
                                    <p:animMotion origin="layout" path="M 1.66667E-6 1.85185E-6 L -0.03008 1.85185E-6 " pathEditMode="relative" rAng="0" ptsTypes="AA">
                                      <p:cBhvr>
                                        <p:cTn id="66" dur="750" spd="-100000" fill="hold"/>
                                        <p:tgtEl>
                                          <p:spTgt spid="142"/>
                                        </p:tgtEl>
                                        <p:attrNameLst>
                                          <p:attrName>ppt_x</p:attrName>
                                          <p:attrName>ppt_y</p:attrName>
                                        </p:attrNameLst>
                                      </p:cBhvr>
                                      <p:rCtr x="-1510" y="0"/>
                                    </p:animMotion>
                                  </p:childTnLst>
                                </p:cTn>
                              </p:par>
                              <p:par>
                                <p:cTn id="67" presetID="10" presetClass="entr" presetSubtype="0" fill="hold" grpId="0" nodeType="withEffect">
                                  <p:stCondLst>
                                    <p:cond delay="1000"/>
                                  </p:stCondLst>
                                  <p:childTnLst>
                                    <p:set>
                                      <p:cBhvr>
                                        <p:cTn id="68" dur="1" fill="hold">
                                          <p:stCondLst>
                                            <p:cond delay="0"/>
                                          </p:stCondLst>
                                        </p:cTn>
                                        <p:tgtEl>
                                          <p:spTgt spid="145"/>
                                        </p:tgtEl>
                                        <p:attrNameLst>
                                          <p:attrName>style.visibility</p:attrName>
                                        </p:attrNameLst>
                                      </p:cBhvr>
                                      <p:to>
                                        <p:strVal val="visible"/>
                                      </p:to>
                                    </p:set>
                                    <p:animEffect transition="in" filter="fade">
                                      <p:cBhvr>
                                        <p:cTn id="69" dur="500"/>
                                        <p:tgtEl>
                                          <p:spTgt spid="145"/>
                                        </p:tgtEl>
                                      </p:cBhvr>
                                    </p:animEffect>
                                  </p:childTnLst>
                                </p:cTn>
                              </p:par>
                              <p:par>
                                <p:cTn id="70" presetID="42" presetClass="path" presetSubtype="0" decel="50000" fill="hold" grpId="1" nodeType="withEffect">
                                  <p:stCondLst>
                                    <p:cond delay="1000"/>
                                  </p:stCondLst>
                                  <p:childTnLst>
                                    <p:animMotion origin="layout" path="M 1.45833E-6 -1.48148E-6 L -0.03112 -1.48148E-6 " pathEditMode="relative" rAng="0" ptsTypes="AA">
                                      <p:cBhvr>
                                        <p:cTn id="71" dur="750" spd="-100000" fill="hold"/>
                                        <p:tgtEl>
                                          <p:spTgt spid="145"/>
                                        </p:tgtEl>
                                        <p:attrNameLst>
                                          <p:attrName>ppt_x</p:attrName>
                                          <p:attrName>ppt_y</p:attrName>
                                        </p:attrNameLst>
                                      </p:cBhvr>
                                      <p:rCtr x="-1563" y="0"/>
                                    </p:animMotion>
                                  </p:childTnLst>
                                </p:cTn>
                              </p:par>
                              <p:par>
                                <p:cTn id="72" presetID="10" presetClass="entr" presetSubtype="0" fill="hold" grpId="0" nodeType="withEffect">
                                  <p:stCondLst>
                                    <p:cond delay="1100"/>
                                  </p:stCondLst>
                                  <p:childTnLst>
                                    <p:set>
                                      <p:cBhvr>
                                        <p:cTn id="73" dur="1" fill="hold">
                                          <p:stCondLst>
                                            <p:cond delay="0"/>
                                          </p:stCondLst>
                                        </p:cTn>
                                        <p:tgtEl>
                                          <p:spTgt spid="146"/>
                                        </p:tgtEl>
                                        <p:attrNameLst>
                                          <p:attrName>style.visibility</p:attrName>
                                        </p:attrNameLst>
                                      </p:cBhvr>
                                      <p:to>
                                        <p:strVal val="visible"/>
                                      </p:to>
                                    </p:set>
                                    <p:animEffect transition="in" filter="fade">
                                      <p:cBhvr>
                                        <p:cTn id="74" dur="500"/>
                                        <p:tgtEl>
                                          <p:spTgt spid="146"/>
                                        </p:tgtEl>
                                      </p:cBhvr>
                                    </p:animEffect>
                                  </p:childTnLst>
                                </p:cTn>
                              </p:par>
                              <p:par>
                                <p:cTn id="75" presetID="42" presetClass="path" presetSubtype="0" decel="50000" fill="hold" grpId="1" nodeType="withEffect">
                                  <p:stCondLst>
                                    <p:cond delay="1100"/>
                                  </p:stCondLst>
                                  <p:childTnLst>
                                    <p:animMotion origin="layout" path="M 1.45833E-6 -1.48148E-6 L -0.03216 -1.48148E-6 " pathEditMode="relative" rAng="0" ptsTypes="AA">
                                      <p:cBhvr>
                                        <p:cTn id="76" dur="750" spd="-100000" fill="hold"/>
                                        <p:tgtEl>
                                          <p:spTgt spid="146"/>
                                        </p:tgtEl>
                                        <p:attrNameLst>
                                          <p:attrName>ppt_x</p:attrName>
                                          <p:attrName>ppt_y</p:attrName>
                                        </p:attrNameLst>
                                      </p:cBhvr>
                                      <p:rCtr x="-1615" y="0"/>
                                    </p:animMotion>
                                  </p:childTnLst>
                                </p:cTn>
                              </p:par>
                              <p:par>
                                <p:cTn id="77" presetID="10" presetClass="entr" presetSubtype="0" fill="hold" grpId="0" nodeType="withEffect">
                                  <p:stCondLst>
                                    <p:cond delay="1200"/>
                                  </p:stCondLst>
                                  <p:childTnLst>
                                    <p:set>
                                      <p:cBhvr>
                                        <p:cTn id="78" dur="1" fill="hold">
                                          <p:stCondLst>
                                            <p:cond delay="0"/>
                                          </p:stCondLst>
                                        </p:cTn>
                                        <p:tgtEl>
                                          <p:spTgt spid="147"/>
                                        </p:tgtEl>
                                        <p:attrNameLst>
                                          <p:attrName>style.visibility</p:attrName>
                                        </p:attrNameLst>
                                      </p:cBhvr>
                                      <p:to>
                                        <p:strVal val="visible"/>
                                      </p:to>
                                    </p:set>
                                    <p:animEffect transition="in" filter="fade">
                                      <p:cBhvr>
                                        <p:cTn id="79" dur="500"/>
                                        <p:tgtEl>
                                          <p:spTgt spid="147"/>
                                        </p:tgtEl>
                                      </p:cBhvr>
                                    </p:animEffect>
                                  </p:childTnLst>
                                </p:cTn>
                              </p:par>
                              <p:par>
                                <p:cTn id="80" presetID="42" presetClass="path" presetSubtype="0" decel="50000" fill="hold" grpId="1" nodeType="withEffect">
                                  <p:stCondLst>
                                    <p:cond delay="1200"/>
                                  </p:stCondLst>
                                  <p:childTnLst>
                                    <p:animMotion origin="layout" path="M 1.45833E-6 -1.48148E-6 L -0.0306 -1.48148E-6 " pathEditMode="relative" rAng="0" ptsTypes="AA">
                                      <p:cBhvr>
                                        <p:cTn id="81" dur="750" spd="-100000" fill="hold"/>
                                        <p:tgtEl>
                                          <p:spTgt spid="147"/>
                                        </p:tgtEl>
                                        <p:attrNameLst>
                                          <p:attrName>ppt_x</p:attrName>
                                          <p:attrName>ppt_y</p:attrName>
                                        </p:attrNameLst>
                                      </p:cBhvr>
                                      <p:rCtr x="-1536" y="0"/>
                                    </p:animMotion>
                                  </p:childTnLst>
                                </p:cTn>
                              </p:par>
                              <p:par>
                                <p:cTn id="82" presetID="10" presetClass="entr" presetSubtype="0" fill="hold" nodeType="withEffect">
                                  <p:stCondLst>
                                    <p:cond delay="1500"/>
                                  </p:stCondLst>
                                  <p:childTnLst>
                                    <p:set>
                                      <p:cBhvr>
                                        <p:cTn id="83" dur="1" fill="hold">
                                          <p:stCondLst>
                                            <p:cond delay="0"/>
                                          </p:stCondLst>
                                        </p:cTn>
                                        <p:tgtEl>
                                          <p:spTgt spid="148"/>
                                        </p:tgtEl>
                                        <p:attrNameLst>
                                          <p:attrName>style.visibility</p:attrName>
                                        </p:attrNameLst>
                                      </p:cBhvr>
                                      <p:to>
                                        <p:strVal val="visible"/>
                                      </p:to>
                                    </p:set>
                                    <p:animEffect transition="in" filter="fade">
                                      <p:cBhvr>
                                        <p:cTn id="84" dur="500"/>
                                        <p:tgtEl>
                                          <p:spTgt spid="148"/>
                                        </p:tgtEl>
                                      </p:cBhvr>
                                    </p:animEffect>
                                  </p:childTnLst>
                                </p:cTn>
                              </p:par>
                              <p:par>
                                <p:cTn id="85" presetID="42" presetClass="path" presetSubtype="0" decel="50000" fill="hold" nodeType="withEffect">
                                  <p:stCondLst>
                                    <p:cond delay="1500"/>
                                  </p:stCondLst>
                                  <p:childTnLst>
                                    <p:animMotion origin="layout" path="M 1.66667E-6 -1.48148E-6 L -0.03008 -1.48148E-6 " pathEditMode="relative" rAng="0" ptsTypes="AA">
                                      <p:cBhvr>
                                        <p:cTn id="86" dur="750" spd="-100000" fill="hold"/>
                                        <p:tgtEl>
                                          <p:spTgt spid="148"/>
                                        </p:tgtEl>
                                        <p:attrNameLst>
                                          <p:attrName>ppt_x</p:attrName>
                                          <p:attrName>ppt_y</p:attrName>
                                        </p:attrNameLst>
                                      </p:cBhvr>
                                      <p:rCtr x="-1510" y="0"/>
                                    </p:animMotion>
                                  </p:childTnLst>
                                </p:cTn>
                              </p:par>
                              <p:par>
                                <p:cTn id="87" presetID="10" presetClass="entr" presetSubtype="0" fill="hold" grpId="0" nodeType="withEffect">
                                  <p:stCondLst>
                                    <p:cond delay="1750"/>
                                  </p:stCondLst>
                                  <p:childTnLst>
                                    <p:set>
                                      <p:cBhvr>
                                        <p:cTn id="88" dur="1" fill="hold">
                                          <p:stCondLst>
                                            <p:cond delay="0"/>
                                          </p:stCondLst>
                                        </p:cTn>
                                        <p:tgtEl>
                                          <p:spTgt spid="157"/>
                                        </p:tgtEl>
                                        <p:attrNameLst>
                                          <p:attrName>style.visibility</p:attrName>
                                        </p:attrNameLst>
                                      </p:cBhvr>
                                      <p:to>
                                        <p:strVal val="visible"/>
                                      </p:to>
                                    </p:set>
                                    <p:animEffect transition="in" filter="fade">
                                      <p:cBhvr>
                                        <p:cTn id="89" dur="500"/>
                                        <p:tgtEl>
                                          <p:spTgt spid="157"/>
                                        </p:tgtEl>
                                      </p:cBhvr>
                                    </p:animEffect>
                                  </p:childTnLst>
                                </p:cTn>
                              </p:par>
                              <p:par>
                                <p:cTn id="90" presetID="42" presetClass="path" presetSubtype="0" decel="50000" fill="hold" grpId="1" nodeType="withEffect">
                                  <p:stCondLst>
                                    <p:cond delay="1750"/>
                                  </p:stCondLst>
                                  <p:childTnLst>
                                    <p:animMotion origin="layout" path="M -4.375E-6 -3.7037E-6 L 0.01276 -3.7037E-6 " pathEditMode="relative" rAng="0" ptsTypes="AA">
                                      <p:cBhvr>
                                        <p:cTn id="91" dur="750" spd="-100000" fill="hold"/>
                                        <p:tgtEl>
                                          <p:spTgt spid="157"/>
                                        </p:tgtEl>
                                        <p:attrNameLst>
                                          <p:attrName>ppt_x</p:attrName>
                                          <p:attrName>ppt_y</p:attrName>
                                        </p:attrNameLst>
                                      </p:cBhvr>
                                      <p:rCtr x="638" y="0"/>
                                    </p:animMotion>
                                  </p:childTnLst>
                                </p:cTn>
                              </p:par>
                              <p:par>
                                <p:cTn id="92" presetID="10" presetClass="entr" presetSubtype="0" fill="hold" grpId="0" nodeType="withEffect">
                                  <p:stCondLst>
                                    <p:cond delay="1750"/>
                                  </p:stCondLst>
                                  <p:childTnLst>
                                    <p:set>
                                      <p:cBhvr>
                                        <p:cTn id="93" dur="1" fill="hold">
                                          <p:stCondLst>
                                            <p:cond delay="0"/>
                                          </p:stCondLst>
                                        </p:cTn>
                                        <p:tgtEl>
                                          <p:spTgt spid="158"/>
                                        </p:tgtEl>
                                        <p:attrNameLst>
                                          <p:attrName>style.visibility</p:attrName>
                                        </p:attrNameLst>
                                      </p:cBhvr>
                                      <p:to>
                                        <p:strVal val="visible"/>
                                      </p:to>
                                    </p:set>
                                    <p:animEffect transition="in" filter="fade">
                                      <p:cBhvr>
                                        <p:cTn id="94" dur="500"/>
                                        <p:tgtEl>
                                          <p:spTgt spid="158"/>
                                        </p:tgtEl>
                                      </p:cBhvr>
                                    </p:animEffect>
                                  </p:childTnLst>
                                </p:cTn>
                              </p:par>
                              <p:par>
                                <p:cTn id="95" presetID="42" presetClass="path" presetSubtype="0" decel="50000" fill="hold" grpId="1" nodeType="withEffect">
                                  <p:stCondLst>
                                    <p:cond delay="1750"/>
                                  </p:stCondLst>
                                  <p:childTnLst>
                                    <p:animMotion origin="layout" path="M -4.375E-6 1.48148E-6 L 0.01276 1.48148E-6 " pathEditMode="relative" rAng="0" ptsTypes="AA">
                                      <p:cBhvr>
                                        <p:cTn id="96" dur="750" spd="-100000" fill="hold"/>
                                        <p:tgtEl>
                                          <p:spTgt spid="158"/>
                                        </p:tgtEl>
                                        <p:attrNameLst>
                                          <p:attrName>ppt_x</p:attrName>
                                          <p:attrName>ppt_y</p:attrName>
                                        </p:attrNameLst>
                                      </p:cBhvr>
                                      <p:rCtr x="638" y="0"/>
                                    </p:animMotion>
                                  </p:childTnLst>
                                </p:cTn>
                              </p:par>
                              <p:par>
                                <p:cTn id="97" presetID="10" presetClass="entr" presetSubtype="0" fill="hold" grpId="0" nodeType="withEffect">
                                  <p:stCondLst>
                                    <p:cond delay="1750"/>
                                  </p:stCondLst>
                                  <p:childTnLst>
                                    <p:set>
                                      <p:cBhvr>
                                        <p:cTn id="98" dur="1" fill="hold">
                                          <p:stCondLst>
                                            <p:cond delay="0"/>
                                          </p:stCondLst>
                                        </p:cTn>
                                        <p:tgtEl>
                                          <p:spTgt spid="159"/>
                                        </p:tgtEl>
                                        <p:attrNameLst>
                                          <p:attrName>style.visibility</p:attrName>
                                        </p:attrNameLst>
                                      </p:cBhvr>
                                      <p:to>
                                        <p:strVal val="visible"/>
                                      </p:to>
                                    </p:set>
                                    <p:animEffect transition="in" filter="fade">
                                      <p:cBhvr>
                                        <p:cTn id="99" dur="500"/>
                                        <p:tgtEl>
                                          <p:spTgt spid="159"/>
                                        </p:tgtEl>
                                      </p:cBhvr>
                                    </p:animEffect>
                                  </p:childTnLst>
                                </p:cTn>
                              </p:par>
                              <p:par>
                                <p:cTn id="100" presetID="42" presetClass="path" presetSubtype="0" decel="50000" fill="hold" grpId="1" nodeType="withEffect">
                                  <p:stCondLst>
                                    <p:cond delay="1750"/>
                                  </p:stCondLst>
                                  <p:childTnLst>
                                    <p:animMotion origin="layout" path="M -4.375E-6 -1.85185E-6 L 0.01276 -1.85185E-6 " pathEditMode="relative" rAng="0" ptsTypes="AA">
                                      <p:cBhvr>
                                        <p:cTn id="101" dur="750" spd="-100000" fill="hold"/>
                                        <p:tgtEl>
                                          <p:spTgt spid="159"/>
                                        </p:tgtEl>
                                        <p:attrNameLst>
                                          <p:attrName>ppt_x</p:attrName>
                                          <p:attrName>ppt_y</p:attrName>
                                        </p:attrNameLst>
                                      </p:cBhvr>
                                      <p:rCtr x="638" y="0"/>
                                    </p:animMotion>
                                  </p:childTnLst>
                                </p:cTn>
                              </p:par>
                              <p:par>
                                <p:cTn id="102" presetID="10" presetClass="entr" presetSubtype="0" fill="hold" nodeType="withEffect">
                                  <p:stCondLst>
                                    <p:cond delay="1750"/>
                                  </p:stCondLst>
                                  <p:childTnLst>
                                    <p:set>
                                      <p:cBhvr>
                                        <p:cTn id="103" dur="1" fill="hold">
                                          <p:stCondLst>
                                            <p:cond delay="0"/>
                                          </p:stCondLst>
                                        </p:cTn>
                                        <p:tgtEl>
                                          <p:spTgt spid="161"/>
                                        </p:tgtEl>
                                        <p:attrNameLst>
                                          <p:attrName>style.visibility</p:attrName>
                                        </p:attrNameLst>
                                      </p:cBhvr>
                                      <p:to>
                                        <p:strVal val="visible"/>
                                      </p:to>
                                    </p:set>
                                    <p:animEffect transition="in" filter="fade">
                                      <p:cBhvr>
                                        <p:cTn id="104" dur="500"/>
                                        <p:tgtEl>
                                          <p:spTgt spid="161"/>
                                        </p:tgtEl>
                                      </p:cBhvr>
                                    </p:animEffect>
                                  </p:childTnLst>
                                </p:cTn>
                              </p:par>
                              <p:par>
                                <p:cTn id="105" presetID="42" presetClass="path" presetSubtype="0" decel="50000" fill="hold" nodeType="withEffect">
                                  <p:stCondLst>
                                    <p:cond delay="1750"/>
                                  </p:stCondLst>
                                  <p:childTnLst>
                                    <p:animMotion origin="layout" path="M 3.33333E-6 3.7037E-6 L -0.03711 3.7037E-6 " pathEditMode="relative" rAng="0" ptsTypes="AA">
                                      <p:cBhvr>
                                        <p:cTn id="106" dur="750" spd="-100000" fill="hold"/>
                                        <p:tgtEl>
                                          <p:spTgt spid="161"/>
                                        </p:tgtEl>
                                        <p:attrNameLst>
                                          <p:attrName>ppt_x</p:attrName>
                                          <p:attrName>ppt_y</p:attrName>
                                        </p:attrNameLst>
                                      </p:cBhvr>
                                      <p:rCtr x="-1862" y="0"/>
                                    </p:animMotion>
                                  </p:childTnLst>
                                </p:cTn>
                              </p:par>
                              <p:par>
                                <p:cTn id="107" presetID="22" presetClass="entr" presetSubtype="8" fill="hold" nodeType="withEffect">
                                  <p:stCondLst>
                                    <p:cond delay="1750"/>
                                  </p:stCondLst>
                                  <p:childTnLst>
                                    <p:set>
                                      <p:cBhvr>
                                        <p:cTn id="108" dur="1" fill="hold">
                                          <p:stCondLst>
                                            <p:cond delay="0"/>
                                          </p:stCondLst>
                                        </p:cTn>
                                        <p:tgtEl>
                                          <p:spTgt spid="164"/>
                                        </p:tgtEl>
                                        <p:attrNameLst>
                                          <p:attrName>style.visibility</p:attrName>
                                        </p:attrNameLst>
                                      </p:cBhvr>
                                      <p:to>
                                        <p:strVal val="visible"/>
                                      </p:to>
                                    </p:set>
                                    <p:animEffect transition="in" filter="wipe(left)">
                                      <p:cBhvr>
                                        <p:cTn id="109" dur="750"/>
                                        <p:tgtEl>
                                          <p:spTgt spid="164"/>
                                        </p:tgtEl>
                                      </p:cBhvr>
                                    </p:animEffect>
                                  </p:childTnLst>
                                </p:cTn>
                              </p:par>
                              <p:par>
                                <p:cTn id="110" presetID="42" presetClass="path" presetSubtype="0" decel="50000" fill="hold" nodeType="withEffect">
                                  <p:stCondLst>
                                    <p:cond delay="1750"/>
                                  </p:stCondLst>
                                  <p:childTnLst>
                                    <p:animMotion origin="layout" path="M -4.16667E-7 -4.81481E-6 L 0.04727 -0.00115 " pathEditMode="relative" rAng="0" ptsTypes="AA">
                                      <p:cBhvr>
                                        <p:cTn id="111" dur="750" spd="-100000" fill="hold"/>
                                        <p:tgtEl>
                                          <p:spTgt spid="164"/>
                                        </p:tgtEl>
                                        <p:attrNameLst>
                                          <p:attrName>ppt_x</p:attrName>
                                          <p:attrName>ppt_y</p:attrName>
                                        </p:attrNameLst>
                                      </p:cBhvr>
                                      <p:rCtr x="2357" y="-69"/>
                                    </p:animMotion>
                                  </p:childTnLst>
                                </p:cTn>
                              </p:par>
                              <p:par>
                                <p:cTn id="112" presetID="22" presetClass="entr" presetSubtype="8" fill="hold" nodeType="withEffect">
                                  <p:stCondLst>
                                    <p:cond delay="1750"/>
                                  </p:stCondLst>
                                  <p:childTnLst>
                                    <p:set>
                                      <p:cBhvr>
                                        <p:cTn id="113" dur="1" fill="hold">
                                          <p:stCondLst>
                                            <p:cond delay="0"/>
                                          </p:stCondLst>
                                        </p:cTn>
                                        <p:tgtEl>
                                          <p:spTgt spid="165"/>
                                        </p:tgtEl>
                                        <p:attrNameLst>
                                          <p:attrName>style.visibility</p:attrName>
                                        </p:attrNameLst>
                                      </p:cBhvr>
                                      <p:to>
                                        <p:strVal val="visible"/>
                                      </p:to>
                                    </p:set>
                                    <p:animEffect transition="in" filter="wipe(left)">
                                      <p:cBhvr>
                                        <p:cTn id="114" dur="750"/>
                                        <p:tgtEl>
                                          <p:spTgt spid="165"/>
                                        </p:tgtEl>
                                      </p:cBhvr>
                                    </p:animEffect>
                                  </p:childTnLst>
                                </p:cTn>
                              </p:par>
                              <p:par>
                                <p:cTn id="115" presetID="42" presetClass="path" presetSubtype="0" decel="50000" fill="hold" nodeType="withEffect">
                                  <p:stCondLst>
                                    <p:cond delay="1750"/>
                                  </p:stCondLst>
                                  <p:childTnLst>
                                    <p:animMotion origin="layout" path="M -4.16667E-7 4.81481E-6 L 0.04727 -0.00116 " pathEditMode="relative" rAng="0" ptsTypes="AA">
                                      <p:cBhvr>
                                        <p:cTn id="116" dur="750" spd="-100000" fill="hold"/>
                                        <p:tgtEl>
                                          <p:spTgt spid="165"/>
                                        </p:tgtEl>
                                        <p:attrNameLst>
                                          <p:attrName>ppt_x</p:attrName>
                                          <p:attrName>ppt_y</p:attrName>
                                        </p:attrNameLst>
                                      </p:cBhvr>
                                      <p:rCtr x="2357" y="-69"/>
                                    </p:animMotion>
                                  </p:childTnLst>
                                </p:cTn>
                              </p:par>
                              <p:par>
                                <p:cTn id="117" presetID="22" presetClass="entr" presetSubtype="8" fill="hold" nodeType="withEffect">
                                  <p:stCondLst>
                                    <p:cond delay="1750"/>
                                  </p:stCondLst>
                                  <p:childTnLst>
                                    <p:set>
                                      <p:cBhvr>
                                        <p:cTn id="118" dur="1" fill="hold">
                                          <p:stCondLst>
                                            <p:cond delay="0"/>
                                          </p:stCondLst>
                                        </p:cTn>
                                        <p:tgtEl>
                                          <p:spTgt spid="166"/>
                                        </p:tgtEl>
                                        <p:attrNameLst>
                                          <p:attrName>style.visibility</p:attrName>
                                        </p:attrNameLst>
                                      </p:cBhvr>
                                      <p:to>
                                        <p:strVal val="visible"/>
                                      </p:to>
                                    </p:set>
                                    <p:animEffect transition="in" filter="wipe(left)">
                                      <p:cBhvr>
                                        <p:cTn id="119" dur="750"/>
                                        <p:tgtEl>
                                          <p:spTgt spid="166"/>
                                        </p:tgtEl>
                                      </p:cBhvr>
                                    </p:animEffect>
                                  </p:childTnLst>
                                </p:cTn>
                              </p:par>
                              <p:par>
                                <p:cTn id="120" presetID="42" presetClass="path" presetSubtype="0" decel="50000" fill="hold" nodeType="withEffect">
                                  <p:stCondLst>
                                    <p:cond delay="1750"/>
                                  </p:stCondLst>
                                  <p:childTnLst>
                                    <p:animMotion origin="layout" path="M 6.25E-7 0 L 0.04727 -0.00116 " pathEditMode="relative" rAng="0" ptsTypes="AA">
                                      <p:cBhvr>
                                        <p:cTn id="121" dur="750" spd="-100000" fill="hold"/>
                                        <p:tgtEl>
                                          <p:spTgt spid="166"/>
                                        </p:tgtEl>
                                        <p:attrNameLst>
                                          <p:attrName>ppt_x</p:attrName>
                                          <p:attrName>ppt_y</p:attrName>
                                        </p:attrNameLst>
                                      </p:cBhvr>
                                      <p:rCtr x="2357" y="-69"/>
                                    </p:animMotion>
                                  </p:childTnLst>
                                </p:cTn>
                              </p:par>
                              <p:par>
                                <p:cTn id="122" presetID="10" presetClass="entr" presetSubtype="0" fill="hold" nodeType="withEffect">
                                  <p:stCondLst>
                                    <p:cond delay="1750"/>
                                  </p:stCondLst>
                                  <p:childTnLst>
                                    <p:set>
                                      <p:cBhvr>
                                        <p:cTn id="123" dur="1" fill="hold">
                                          <p:stCondLst>
                                            <p:cond delay="0"/>
                                          </p:stCondLst>
                                        </p:cTn>
                                        <p:tgtEl>
                                          <p:spTgt spid="168"/>
                                        </p:tgtEl>
                                        <p:attrNameLst>
                                          <p:attrName>style.visibility</p:attrName>
                                        </p:attrNameLst>
                                      </p:cBhvr>
                                      <p:to>
                                        <p:strVal val="visible"/>
                                      </p:to>
                                    </p:set>
                                    <p:animEffect transition="in" filter="fade">
                                      <p:cBhvr>
                                        <p:cTn id="124" dur="500"/>
                                        <p:tgtEl>
                                          <p:spTgt spid="168"/>
                                        </p:tgtEl>
                                      </p:cBhvr>
                                    </p:animEffect>
                                  </p:childTnLst>
                                </p:cTn>
                              </p:par>
                              <p:par>
                                <p:cTn id="125" presetID="42" presetClass="path" presetSubtype="0" decel="50000" fill="hold" nodeType="withEffect">
                                  <p:stCondLst>
                                    <p:cond delay="1750"/>
                                  </p:stCondLst>
                                  <p:childTnLst>
                                    <p:animMotion origin="layout" path="M 3.33333E-6 -2.22222E-6 L -0.03711 -2.22222E-6 " pathEditMode="relative" rAng="0" ptsTypes="AA">
                                      <p:cBhvr>
                                        <p:cTn id="126" dur="750" spd="-100000" fill="hold"/>
                                        <p:tgtEl>
                                          <p:spTgt spid="168"/>
                                        </p:tgtEl>
                                        <p:attrNameLst>
                                          <p:attrName>ppt_x</p:attrName>
                                          <p:attrName>ppt_y</p:attrName>
                                        </p:attrNameLst>
                                      </p:cBhvr>
                                      <p:rCtr x="-1862" y="0"/>
                                    </p:animMotion>
                                  </p:childTnLst>
                                </p:cTn>
                              </p:par>
                              <p:par>
                                <p:cTn id="127" presetID="10" presetClass="entr" presetSubtype="0" fill="hold" nodeType="withEffect">
                                  <p:stCondLst>
                                    <p:cond delay="1750"/>
                                  </p:stCondLst>
                                  <p:childTnLst>
                                    <p:set>
                                      <p:cBhvr>
                                        <p:cTn id="128" dur="1" fill="hold">
                                          <p:stCondLst>
                                            <p:cond delay="0"/>
                                          </p:stCondLst>
                                        </p:cTn>
                                        <p:tgtEl>
                                          <p:spTgt spid="171"/>
                                        </p:tgtEl>
                                        <p:attrNameLst>
                                          <p:attrName>style.visibility</p:attrName>
                                        </p:attrNameLst>
                                      </p:cBhvr>
                                      <p:to>
                                        <p:strVal val="visible"/>
                                      </p:to>
                                    </p:set>
                                    <p:animEffect transition="in" filter="fade">
                                      <p:cBhvr>
                                        <p:cTn id="129" dur="500"/>
                                        <p:tgtEl>
                                          <p:spTgt spid="171"/>
                                        </p:tgtEl>
                                      </p:cBhvr>
                                    </p:animEffect>
                                  </p:childTnLst>
                                </p:cTn>
                              </p:par>
                              <p:par>
                                <p:cTn id="130" presetID="42" presetClass="path" presetSubtype="0" decel="50000" fill="hold" nodeType="withEffect">
                                  <p:stCondLst>
                                    <p:cond delay="1750"/>
                                  </p:stCondLst>
                                  <p:childTnLst>
                                    <p:animMotion origin="layout" path="M 3.33333E-6 0 L -0.03711 0 " pathEditMode="relative" rAng="0" ptsTypes="AA">
                                      <p:cBhvr>
                                        <p:cTn id="131" dur="750" spd="-100000" fill="hold"/>
                                        <p:tgtEl>
                                          <p:spTgt spid="171"/>
                                        </p:tgtEl>
                                        <p:attrNameLst>
                                          <p:attrName>ppt_x</p:attrName>
                                          <p:attrName>ppt_y</p:attrName>
                                        </p:attrNameLst>
                                      </p:cBhvr>
                                      <p:rCtr x="-1862" y="0"/>
                                    </p:animMotion>
                                  </p:childTnLst>
                                </p:cTn>
                              </p:par>
                              <p:par>
                                <p:cTn id="132" presetID="10" presetClass="entr" presetSubtype="0" fill="hold" nodeType="withEffect">
                                  <p:stCondLst>
                                    <p:cond delay="1500"/>
                                  </p:stCondLst>
                                  <p:childTnLst>
                                    <p:set>
                                      <p:cBhvr>
                                        <p:cTn id="133" dur="1" fill="hold">
                                          <p:stCondLst>
                                            <p:cond delay="0"/>
                                          </p:stCondLst>
                                        </p:cTn>
                                        <p:tgtEl>
                                          <p:spTgt spid="177"/>
                                        </p:tgtEl>
                                        <p:attrNameLst>
                                          <p:attrName>style.visibility</p:attrName>
                                        </p:attrNameLst>
                                      </p:cBhvr>
                                      <p:to>
                                        <p:strVal val="visible"/>
                                      </p:to>
                                    </p:set>
                                    <p:animEffect transition="in" filter="fade">
                                      <p:cBhvr>
                                        <p:cTn id="134" dur="500"/>
                                        <p:tgtEl>
                                          <p:spTgt spid="177"/>
                                        </p:tgtEl>
                                      </p:cBhvr>
                                    </p:animEffect>
                                  </p:childTnLst>
                                </p:cTn>
                              </p:par>
                              <p:par>
                                <p:cTn id="135" presetID="42" presetClass="path" presetSubtype="0" decel="50000" fill="hold" nodeType="withEffect">
                                  <p:stCondLst>
                                    <p:cond delay="1500"/>
                                  </p:stCondLst>
                                  <p:childTnLst>
                                    <p:animMotion origin="layout" path="M 1.45833E-6 -2.96296E-6 L -0.00873 -2.96296E-6 " pathEditMode="relative" rAng="0" ptsTypes="AA">
                                      <p:cBhvr>
                                        <p:cTn id="136" dur="750" spd="-100000" fill="hold"/>
                                        <p:tgtEl>
                                          <p:spTgt spid="177"/>
                                        </p:tgtEl>
                                        <p:attrNameLst>
                                          <p:attrName>ppt_x</p:attrName>
                                          <p:attrName>ppt_y</p:attrName>
                                        </p:attrNameLst>
                                      </p:cBhvr>
                                      <p:rCtr x="-443" y="0"/>
                                    </p:animMotion>
                                  </p:childTnLst>
                                </p:cTn>
                              </p:par>
                              <p:par>
                                <p:cTn id="137" presetID="17" presetClass="entr" presetSubtype="8" fill="hold" grpId="0" nodeType="withEffect">
                                  <p:stCondLst>
                                    <p:cond delay="1250"/>
                                  </p:stCondLst>
                                  <p:childTnLst>
                                    <p:set>
                                      <p:cBhvr>
                                        <p:cTn id="138" dur="1" fill="hold">
                                          <p:stCondLst>
                                            <p:cond delay="0"/>
                                          </p:stCondLst>
                                        </p:cTn>
                                        <p:tgtEl>
                                          <p:spTgt spid="94"/>
                                        </p:tgtEl>
                                        <p:attrNameLst>
                                          <p:attrName>style.visibility</p:attrName>
                                        </p:attrNameLst>
                                      </p:cBhvr>
                                      <p:to>
                                        <p:strVal val="visible"/>
                                      </p:to>
                                    </p:set>
                                    <p:anim calcmode="lin" valueType="num">
                                      <p:cBhvr>
                                        <p:cTn id="139" dur="1250" fill="hold"/>
                                        <p:tgtEl>
                                          <p:spTgt spid="94"/>
                                        </p:tgtEl>
                                        <p:attrNameLst>
                                          <p:attrName>ppt_x</p:attrName>
                                        </p:attrNameLst>
                                      </p:cBhvr>
                                      <p:tavLst>
                                        <p:tav tm="0">
                                          <p:val>
                                            <p:strVal val="#ppt_x-#ppt_w/2"/>
                                          </p:val>
                                        </p:tav>
                                        <p:tav tm="100000">
                                          <p:val>
                                            <p:strVal val="#ppt_x"/>
                                          </p:val>
                                        </p:tav>
                                      </p:tavLst>
                                    </p:anim>
                                    <p:anim calcmode="lin" valueType="num">
                                      <p:cBhvr>
                                        <p:cTn id="140" dur="1250" fill="hold"/>
                                        <p:tgtEl>
                                          <p:spTgt spid="94"/>
                                        </p:tgtEl>
                                        <p:attrNameLst>
                                          <p:attrName>ppt_y</p:attrName>
                                        </p:attrNameLst>
                                      </p:cBhvr>
                                      <p:tavLst>
                                        <p:tav tm="0">
                                          <p:val>
                                            <p:strVal val="#ppt_y"/>
                                          </p:val>
                                        </p:tav>
                                        <p:tav tm="100000">
                                          <p:val>
                                            <p:strVal val="#ppt_y"/>
                                          </p:val>
                                        </p:tav>
                                      </p:tavLst>
                                    </p:anim>
                                    <p:anim calcmode="lin" valueType="num">
                                      <p:cBhvr>
                                        <p:cTn id="141" dur="1250" fill="hold"/>
                                        <p:tgtEl>
                                          <p:spTgt spid="94"/>
                                        </p:tgtEl>
                                        <p:attrNameLst>
                                          <p:attrName>ppt_w</p:attrName>
                                        </p:attrNameLst>
                                      </p:cBhvr>
                                      <p:tavLst>
                                        <p:tav tm="0">
                                          <p:val>
                                            <p:fltVal val="0"/>
                                          </p:val>
                                        </p:tav>
                                        <p:tav tm="100000">
                                          <p:val>
                                            <p:strVal val="#ppt_w"/>
                                          </p:val>
                                        </p:tav>
                                      </p:tavLst>
                                    </p:anim>
                                    <p:anim calcmode="lin" valueType="num">
                                      <p:cBhvr>
                                        <p:cTn id="142" dur="1250" fill="hold"/>
                                        <p:tgtEl>
                                          <p:spTgt spid="94"/>
                                        </p:tgtEl>
                                        <p:attrNameLst>
                                          <p:attrName>ppt_h</p:attrName>
                                        </p:attrNameLst>
                                      </p:cBhvr>
                                      <p:tavLst>
                                        <p:tav tm="0">
                                          <p:val>
                                            <p:strVal val="#ppt_h"/>
                                          </p:val>
                                        </p:tav>
                                        <p:tav tm="100000">
                                          <p:val>
                                            <p:strVal val="#ppt_h"/>
                                          </p:val>
                                        </p:tav>
                                      </p:tavLst>
                                    </p:anim>
                                  </p:childTnLst>
                                </p:cTn>
                              </p:par>
                              <p:par>
                                <p:cTn id="143" presetID="17" presetClass="entr" presetSubtype="8" fill="hold" grpId="0" nodeType="withEffect">
                                  <p:stCondLst>
                                    <p:cond delay="1250"/>
                                  </p:stCondLst>
                                  <p:childTnLst>
                                    <p:set>
                                      <p:cBhvr>
                                        <p:cTn id="144" dur="1" fill="hold">
                                          <p:stCondLst>
                                            <p:cond delay="0"/>
                                          </p:stCondLst>
                                        </p:cTn>
                                        <p:tgtEl>
                                          <p:spTgt spid="93"/>
                                        </p:tgtEl>
                                        <p:attrNameLst>
                                          <p:attrName>style.visibility</p:attrName>
                                        </p:attrNameLst>
                                      </p:cBhvr>
                                      <p:to>
                                        <p:strVal val="visible"/>
                                      </p:to>
                                    </p:set>
                                    <p:anim calcmode="lin" valueType="num">
                                      <p:cBhvr>
                                        <p:cTn id="145" dur="1250" fill="hold"/>
                                        <p:tgtEl>
                                          <p:spTgt spid="93"/>
                                        </p:tgtEl>
                                        <p:attrNameLst>
                                          <p:attrName>ppt_x</p:attrName>
                                        </p:attrNameLst>
                                      </p:cBhvr>
                                      <p:tavLst>
                                        <p:tav tm="0">
                                          <p:val>
                                            <p:strVal val="#ppt_x-#ppt_w/2"/>
                                          </p:val>
                                        </p:tav>
                                        <p:tav tm="100000">
                                          <p:val>
                                            <p:strVal val="#ppt_x"/>
                                          </p:val>
                                        </p:tav>
                                      </p:tavLst>
                                    </p:anim>
                                    <p:anim calcmode="lin" valueType="num">
                                      <p:cBhvr>
                                        <p:cTn id="146" dur="1250" fill="hold"/>
                                        <p:tgtEl>
                                          <p:spTgt spid="93"/>
                                        </p:tgtEl>
                                        <p:attrNameLst>
                                          <p:attrName>ppt_y</p:attrName>
                                        </p:attrNameLst>
                                      </p:cBhvr>
                                      <p:tavLst>
                                        <p:tav tm="0">
                                          <p:val>
                                            <p:strVal val="#ppt_y"/>
                                          </p:val>
                                        </p:tav>
                                        <p:tav tm="100000">
                                          <p:val>
                                            <p:strVal val="#ppt_y"/>
                                          </p:val>
                                        </p:tav>
                                      </p:tavLst>
                                    </p:anim>
                                    <p:anim calcmode="lin" valueType="num">
                                      <p:cBhvr>
                                        <p:cTn id="147" dur="1250" fill="hold"/>
                                        <p:tgtEl>
                                          <p:spTgt spid="93"/>
                                        </p:tgtEl>
                                        <p:attrNameLst>
                                          <p:attrName>ppt_w</p:attrName>
                                        </p:attrNameLst>
                                      </p:cBhvr>
                                      <p:tavLst>
                                        <p:tav tm="0">
                                          <p:val>
                                            <p:fltVal val="0"/>
                                          </p:val>
                                        </p:tav>
                                        <p:tav tm="100000">
                                          <p:val>
                                            <p:strVal val="#ppt_w"/>
                                          </p:val>
                                        </p:tav>
                                      </p:tavLst>
                                    </p:anim>
                                    <p:anim calcmode="lin" valueType="num">
                                      <p:cBhvr>
                                        <p:cTn id="148" dur="1250" fill="hold"/>
                                        <p:tgtEl>
                                          <p:spTgt spid="93"/>
                                        </p:tgtEl>
                                        <p:attrNameLst>
                                          <p:attrName>ppt_h</p:attrName>
                                        </p:attrNameLst>
                                      </p:cBhvr>
                                      <p:tavLst>
                                        <p:tav tm="0">
                                          <p:val>
                                            <p:strVal val="#ppt_h"/>
                                          </p:val>
                                        </p:tav>
                                        <p:tav tm="100000">
                                          <p:val>
                                            <p:strVal val="#ppt_h"/>
                                          </p:val>
                                        </p:tav>
                                      </p:tavLst>
                                    </p:anim>
                                  </p:childTnLst>
                                </p:cTn>
                              </p:par>
                              <p:par>
                                <p:cTn id="149" presetID="17" presetClass="entr" presetSubtype="8" fill="hold" grpId="0" nodeType="withEffect">
                                  <p:stCondLst>
                                    <p:cond delay="1250"/>
                                  </p:stCondLst>
                                  <p:childTnLst>
                                    <p:set>
                                      <p:cBhvr>
                                        <p:cTn id="150" dur="1" fill="hold">
                                          <p:stCondLst>
                                            <p:cond delay="0"/>
                                          </p:stCondLst>
                                        </p:cTn>
                                        <p:tgtEl>
                                          <p:spTgt spid="91"/>
                                        </p:tgtEl>
                                        <p:attrNameLst>
                                          <p:attrName>style.visibility</p:attrName>
                                        </p:attrNameLst>
                                      </p:cBhvr>
                                      <p:to>
                                        <p:strVal val="visible"/>
                                      </p:to>
                                    </p:set>
                                    <p:anim calcmode="lin" valueType="num">
                                      <p:cBhvr>
                                        <p:cTn id="151" dur="1250" fill="hold"/>
                                        <p:tgtEl>
                                          <p:spTgt spid="91"/>
                                        </p:tgtEl>
                                        <p:attrNameLst>
                                          <p:attrName>ppt_x</p:attrName>
                                        </p:attrNameLst>
                                      </p:cBhvr>
                                      <p:tavLst>
                                        <p:tav tm="0">
                                          <p:val>
                                            <p:strVal val="#ppt_x-#ppt_w/2"/>
                                          </p:val>
                                        </p:tav>
                                        <p:tav tm="100000">
                                          <p:val>
                                            <p:strVal val="#ppt_x"/>
                                          </p:val>
                                        </p:tav>
                                      </p:tavLst>
                                    </p:anim>
                                    <p:anim calcmode="lin" valueType="num">
                                      <p:cBhvr>
                                        <p:cTn id="152" dur="1250" fill="hold"/>
                                        <p:tgtEl>
                                          <p:spTgt spid="91"/>
                                        </p:tgtEl>
                                        <p:attrNameLst>
                                          <p:attrName>ppt_y</p:attrName>
                                        </p:attrNameLst>
                                      </p:cBhvr>
                                      <p:tavLst>
                                        <p:tav tm="0">
                                          <p:val>
                                            <p:strVal val="#ppt_y"/>
                                          </p:val>
                                        </p:tav>
                                        <p:tav tm="100000">
                                          <p:val>
                                            <p:strVal val="#ppt_y"/>
                                          </p:val>
                                        </p:tav>
                                      </p:tavLst>
                                    </p:anim>
                                    <p:anim calcmode="lin" valueType="num">
                                      <p:cBhvr>
                                        <p:cTn id="153" dur="1250" fill="hold"/>
                                        <p:tgtEl>
                                          <p:spTgt spid="91"/>
                                        </p:tgtEl>
                                        <p:attrNameLst>
                                          <p:attrName>ppt_w</p:attrName>
                                        </p:attrNameLst>
                                      </p:cBhvr>
                                      <p:tavLst>
                                        <p:tav tm="0">
                                          <p:val>
                                            <p:fltVal val="0"/>
                                          </p:val>
                                        </p:tav>
                                        <p:tav tm="100000">
                                          <p:val>
                                            <p:strVal val="#ppt_w"/>
                                          </p:val>
                                        </p:tav>
                                      </p:tavLst>
                                    </p:anim>
                                    <p:anim calcmode="lin" valueType="num">
                                      <p:cBhvr>
                                        <p:cTn id="154" dur="1250" fill="hold"/>
                                        <p:tgtEl>
                                          <p:spTgt spid="91"/>
                                        </p:tgtEl>
                                        <p:attrNameLst>
                                          <p:attrName>ppt_h</p:attrName>
                                        </p:attrNameLst>
                                      </p:cBhvr>
                                      <p:tavLst>
                                        <p:tav tm="0">
                                          <p:val>
                                            <p:strVal val="#ppt_h"/>
                                          </p:val>
                                        </p:tav>
                                        <p:tav tm="100000">
                                          <p:val>
                                            <p:strVal val="#ppt_h"/>
                                          </p:val>
                                        </p:tav>
                                      </p:tavLst>
                                    </p:anim>
                                  </p:childTnLst>
                                </p:cTn>
                              </p:par>
                              <p:par>
                                <p:cTn id="155" presetID="10" presetClass="entr" presetSubtype="0" fill="hold" nodeType="withEffect">
                                  <p:stCondLst>
                                    <p:cond delay="1500"/>
                                  </p:stCondLst>
                                  <p:childTnLst>
                                    <p:set>
                                      <p:cBhvr>
                                        <p:cTn id="156" dur="1" fill="hold">
                                          <p:stCondLst>
                                            <p:cond delay="0"/>
                                          </p:stCondLst>
                                        </p:cTn>
                                        <p:tgtEl>
                                          <p:spTgt spid="181"/>
                                        </p:tgtEl>
                                        <p:attrNameLst>
                                          <p:attrName>style.visibility</p:attrName>
                                        </p:attrNameLst>
                                      </p:cBhvr>
                                      <p:to>
                                        <p:strVal val="visible"/>
                                      </p:to>
                                    </p:set>
                                    <p:animEffect transition="in" filter="fade">
                                      <p:cBhvr>
                                        <p:cTn id="157" dur="500"/>
                                        <p:tgtEl>
                                          <p:spTgt spid="181"/>
                                        </p:tgtEl>
                                      </p:cBhvr>
                                    </p:animEffect>
                                  </p:childTnLst>
                                </p:cTn>
                              </p:par>
                              <p:par>
                                <p:cTn id="158" presetID="42" presetClass="path" presetSubtype="0" decel="50000" fill="hold" nodeType="withEffect">
                                  <p:stCondLst>
                                    <p:cond delay="1500"/>
                                  </p:stCondLst>
                                  <p:childTnLst>
                                    <p:animMotion origin="layout" path="M 1.66667E-6 -4.44444E-6 L -0.00873 -4.44444E-6 " pathEditMode="relative" rAng="0" ptsTypes="AA">
                                      <p:cBhvr>
                                        <p:cTn id="159" dur="750" spd="-100000" fill="hold"/>
                                        <p:tgtEl>
                                          <p:spTgt spid="181"/>
                                        </p:tgtEl>
                                        <p:attrNameLst>
                                          <p:attrName>ppt_x</p:attrName>
                                          <p:attrName>ppt_y</p:attrName>
                                        </p:attrNameLst>
                                      </p:cBhvr>
                                      <p:rCtr x="-443" y="0"/>
                                    </p:animMotion>
                                  </p:childTnLst>
                                </p:cTn>
                              </p:par>
                              <p:par>
                                <p:cTn id="160" presetID="10" presetClass="entr" presetSubtype="0" fill="hold" nodeType="withEffect">
                                  <p:stCondLst>
                                    <p:cond delay="1500"/>
                                  </p:stCondLst>
                                  <p:childTnLst>
                                    <p:set>
                                      <p:cBhvr>
                                        <p:cTn id="161" dur="1" fill="hold">
                                          <p:stCondLst>
                                            <p:cond delay="0"/>
                                          </p:stCondLst>
                                        </p:cTn>
                                        <p:tgtEl>
                                          <p:spTgt spid="187"/>
                                        </p:tgtEl>
                                        <p:attrNameLst>
                                          <p:attrName>style.visibility</p:attrName>
                                        </p:attrNameLst>
                                      </p:cBhvr>
                                      <p:to>
                                        <p:strVal val="visible"/>
                                      </p:to>
                                    </p:set>
                                    <p:animEffect transition="in" filter="fade">
                                      <p:cBhvr>
                                        <p:cTn id="162" dur="500"/>
                                        <p:tgtEl>
                                          <p:spTgt spid="187"/>
                                        </p:tgtEl>
                                      </p:cBhvr>
                                    </p:animEffect>
                                  </p:childTnLst>
                                </p:cTn>
                              </p:par>
                              <p:par>
                                <p:cTn id="163" presetID="42" presetClass="path" presetSubtype="0" decel="50000" fill="hold" nodeType="withEffect">
                                  <p:stCondLst>
                                    <p:cond delay="1500"/>
                                  </p:stCondLst>
                                  <p:childTnLst>
                                    <p:animMotion origin="layout" path="M 1.45833E-6 -2.96296E-6 L -0.00873 -2.96296E-6 " pathEditMode="relative" rAng="0" ptsTypes="AA">
                                      <p:cBhvr>
                                        <p:cTn id="164" dur="750" spd="-100000" fill="hold"/>
                                        <p:tgtEl>
                                          <p:spTgt spid="187"/>
                                        </p:tgtEl>
                                        <p:attrNameLst>
                                          <p:attrName>ppt_x</p:attrName>
                                          <p:attrName>ppt_y</p:attrName>
                                        </p:attrNameLst>
                                      </p:cBhvr>
                                      <p:rCtr x="-443"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9" grpId="1" animBg="1"/>
      <p:bldP spid="10" grpId="0" animBg="1"/>
      <p:bldP spid="10" grpId="1" animBg="1"/>
      <p:bldP spid="11" grpId="0" animBg="1"/>
      <p:bldP spid="11" grpId="1" animBg="1"/>
      <p:bldP spid="2" grpId="0"/>
      <p:bldP spid="2" grpId="1"/>
      <p:bldP spid="91" grpId="0" animBg="1"/>
      <p:bldP spid="93" grpId="0" animBg="1"/>
      <p:bldP spid="94" grpId="0" animBg="1"/>
      <p:bldP spid="95" grpId="0" animBg="1"/>
      <p:bldP spid="95" grpId="1" animBg="1"/>
      <p:bldP spid="108" grpId="0" animBg="1"/>
      <p:bldP spid="108" grpId="1" animBg="1"/>
      <p:bldP spid="118" grpId="0" animBg="1"/>
      <p:bldP spid="118" grpId="1" animBg="1"/>
      <p:bldP spid="139" grpId="0" animBg="1"/>
      <p:bldP spid="139" grpId="1" animBg="1"/>
      <p:bldP spid="140" grpId="0" animBg="1"/>
      <p:bldP spid="140" grpId="1" animBg="1"/>
      <p:bldP spid="141" grpId="0" animBg="1"/>
      <p:bldP spid="141" grpId="1" animBg="1"/>
      <p:bldP spid="145" grpId="0" animBg="1"/>
      <p:bldP spid="145" grpId="1" animBg="1"/>
      <p:bldP spid="146" grpId="0" animBg="1"/>
      <p:bldP spid="146" grpId="1" animBg="1"/>
      <p:bldP spid="147" grpId="0" animBg="1"/>
      <p:bldP spid="147" grpId="1" animBg="1"/>
      <p:bldP spid="157" grpId="0"/>
      <p:bldP spid="157" grpId="1"/>
      <p:bldP spid="158" grpId="0"/>
      <p:bldP spid="158" grpId="1"/>
      <p:bldP spid="159" grpId="0"/>
      <p:bldP spid="159" grpId="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3938" y="290149"/>
            <a:ext cx="10515600" cy="734804"/>
          </a:xfrm>
        </p:spPr>
        <p:txBody>
          <a:bodyPr/>
          <a:lstStyle/>
          <a:p>
            <a:r>
              <a:rPr lang="en-US" sz="3600" b="1" dirty="0">
                <a:solidFill>
                  <a:schemeClr val="tx2"/>
                </a:solidFill>
              </a:rPr>
              <a:t>BSNL – Key Highlights</a:t>
            </a:r>
            <a:endParaRPr lang="en-GB" sz="3600" b="1" dirty="0">
              <a:solidFill>
                <a:schemeClr val="tx2"/>
              </a:solidFill>
            </a:endParaRPr>
          </a:p>
        </p:txBody>
      </p:sp>
      <p:sp>
        <p:nvSpPr>
          <p:cNvPr id="94" name="Rounded Rectangle 93"/>
          <p:cNvSpPr/>
          <p:nvPr/>
        </p:nvSpPr>
        <p:spPr>
          <a:xfrm>
            <a:off x="8021868" y="5473019"/>
            <a:ext cx="3597188" cy="756000"/>
          </a:xfrm>
          <a:prstGeom prst="roundRect">
            <a:avLst>
              <a:gd name="adj" fmla="val 4692"/>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8" name="TextBox 2"/>
          <p:cNvSpPr txBox="1"/>
          <p:nvPr/>
        </p:nvSpPr>
        <p:spPr>
          <a:xfrm>
            <a:off x="8697596" y="5618919"/>
            <a:ext cx="2707399"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Launched E-Governance Portals &amp; Applications</a:t>
            </a:r>
          </a:p>
        </p:txBody>
      </p:sp>
      <p:grpSp>
        <p:nvGrpSpPr>
          <p:cNvPr id="2" name="Group 1"/>
          <p:cNvGrpSpPr/>
          <p:nvPr/>
        </p:nvGrpSpPr>
        <p:grpSpPr>
          <a:xfrm>
            <a:off x="833937" y="1268413"/>
            <a:ext cx="3626681" cy="4940515"/>
            <a:chOff x="833938" y="1268413"/>
            <a:chExt cx="3032766" cy="4940515"/>
          </a:xfrm>
        </p:grpSpPr>
        <p:sp>
          <p:nvSpPr>
            <p:cNvPr id="30" name="Rounded Rectangle 29"/>
            <p:cNvSpPr/>
            <p:nvPr/>
          </p:nvSpPr>
          <p:spPr>
            <a:xfrm>
              <a:off x="926502" y="1268413"/>
              <a:ext cx="2923150" cy="756000"/>
            </a:xfrm>
            <a:prstGeom prst="roundRect">
              <a:avLst>
                <a:gd name="adj" fmla="val 5889"/>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2" name="Rounded Rectangle 31"/>
            <p:cNvSpPr/>
            <p:nvPr/>
          </p:nvSpPr>
          <p:spPr>
            <a:xfrm>
              <a:off x="951435" y="2105316"/>
              <a:ext cx="2898217" cy="756000"/>
            </a:xfrm>
            <a:prstGeom prst="roundRect">
              <a:avLst>
                <a:gd name="adj" fmla="val 5889"/>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4" name="TextBox 2"/>
            <p:cNvSpPr txBox="1"/>
            <p:nvPr/>
          </p:nvSpPr>
          <p:spPr>
            <a:xfrm>
              <a:off x="1415240" y="1428898"/>
              <a:ext cx="2254313" cy="553998"/>
            </a:xfrm>
            <a:prstGeom prst="rect">
              <a:avLst/>
            </a:prstGeom>
            <a:noFill/>
          </p:spPr>
          <p:txBody>
            <a:bodyPr wrap="square" lIns="0" tIns="0" rIns="0" bIns="0" rtlCol="0">
              <a:spAutoFit/>
            </a:bodyPr>
            <a:lstStyle/>
            <a:p>
              <a:pPr algn="ctr">
                <a:spcAft>
                  <a:spcPts val="600"/>
                </a:spcAft>
              </a:pPr>
              <a:r>
                <a:rPr lang="en-US" b="1" dirty="0" err="1">
                  <a:solidFill>
                    <a:prstClr val="white"/>
                  </a:solidFill>
                  <a:latin typeface="Calibri" panose="020F0502020204030204" pitchFamily="34" charset="0"/>
                  <a:cs typeface="Calibri" panose="020F0502020204030204" pitchFamily="34" charset="0"/>
                </a:rPr>
                <a:t>MeitY</a:t>
              </a:r>
              <a:r>
                <a:rPr lang="en-US" b="1" dirty="0">
                  <a:solidFill>
                    <a:prstClr val="white"/>
                  </a:solidFill>
                  <a:latin typeface="Calibri" panose="020F0502020204030204" pitchFamily="34" charset="0"/>
                  <a:cs typeface="Calibri" panose="020F0502020204030204" pitchFamily="34" charset="0"/>
                </a:rPr>
                <a:t> Empaneled Cloud Service Provider</a:t>
              </a:r>
            </a:p>
          </p:txBody>
        </p:sp>
        <p:sp>
          <p:nvSpPr>
            <p:cNvPr id="35" name="TextBox 2"/>
            <p:cNvSpPr txBox="1"/>
            <p:nvPr/>
          </p:nvSpPr>
          <p:spPr>
            <a:xfrm>
              <a:off x="1395414" y="2248525"/>
              <a:ext cx="2422548"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100+ NOCs across the country</a:t>
              </a:r>
            </a:p>
          </p:txBody>
        </p:sp>
        <p:grpSp>
          <p:nvGrpSpPr>
            <p:cNvPr id="38" name="Group 37"/>
            <p:cNvGrpSpPr/>
            <p:nvPr/>
          </p:nvGrpSpPr>
          <p:grpSpPr>
            <a:xfrm>
              <a:off x="833938" y="1381475"/>
              <a:ext cx="529878" cy="529876"/>
              <a:chOff x="1446837" y="4513612"/>
              <a:chExt cx="529878" cy="529876"/>
            </a:xfrm>
          </p:grpSpPr>
          <p:sp>
            <p:nvSpPr>
              <p:cNvPr id="39" name="Rectangle 38"/>
              <p:cNvSpPr/>
              <p:nvPr/>
            </p:nvSpPr>
            <p:spPr>
              <a:xfrm flipV="1">
                <a:off x="1446837"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0" name="TextBox 2"/>
              <p:cNvSpPr txBox="1"/>
              <p:nvPr/>
            </p:nvSpPr>
            <p:spPr>
              <a:xfrm>
                <a:off x="1570018" y="4624662"/>
                <a:ext cx="283517" cy="307777"/>
              </a:xfrm>
              <a:prstGeom prst="rect">
                <a:avLst/>
              </a:prstGeom>
              <a:noFill/>
            </p:spPr>
            <p:txBody>
              <a:bodyPr wrap="square" lIns="0" tIns="0" rIns="0" bIns="0" rtlCol="0">
                <a:spAutoFit/>
              </a:bodyPr>
              <a:lstStyle/>
              <a:p>
                <a:r>
                  <a:rPr lang="en-US" sz="2000" b="1" dirty="0">
                    <a:solidFill>
                      <a:srgbClr val="005EB8"/>
                    </a:solidFill>
                    <a:ea typeface="Times New Roman"/>
                    <a:cs typeface="Arial" panose="020B0604020202020204" pitchFamily="34" charset="0"/>
                  </a:rPr>
                  <a:t>01</a:t>
                </a:r>
              </a:p>
            </p:txBody>
          </p:sp>
        </p:grpSp>
        <p:grpSp>
          <p:nvGrpSpPr>
            <p:cNvPr id="41" name="Group 40"/>
            <p:cNvGrpSpPr/>
            <p:nvPr/>
          </p:nvGrpSpPr>
          <p:grpSpPr>
            <a:xfrm>
              <a:off x="833938" y="2218378"/>
              <a:ext cx="529878" cy="529876"/>
              <a:chOff x="1446837" y="5350515"/>
              <a:chExt cx="529878" cy="529876"/>
            </a:xfrm>
          </p:grpSpPr>
          <p:sp>
            <p:nvSpPr>
              <p:cNvPr id="42" name="Rectangle 41"/>
              <p:cNvSpPr/>
              <p:nvPr/>
            </p:nvSpPr>
            <p:spPr>
              <a:xfrm flipV="1">
                <a:off x="1446837"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3" name="TextBox 2"/>
              <p:cNvSpPr txBox="1"/>
              <p:nvPr/>
            </p:nvSpPr>
            <p:spPr>
              <a:xfrm>
                <a:off x="1570018" y="5461565"/>
                <a:ext cx="283517" cy="307777"/>
              </a:xfrm>
              <a:prstGeom prst="rect">
                <a:avLst/>
              </a:prstGeom>
              <a:noFill/>
            </p:spPr>
            <p:txBody>
              <a:bodyPr wrap="square" lIns="0" tIns="0" rIns="0" bIns="0" rtlCol="0">
                <a:spAutoFit/>
              </a:bodyPr>
              <a:lstStyle/>
              <a:p>
                <a:r>
                  <a:rPr lang="en-US" sz="2000" b="1" dirty="0">
                    <a:solidFill>
                      <a:srgbClr val="483698"/>
                    </a:solidFill>
                    <a:ea typeface="Times New Roman"/>
                    <a:cs typeface="Arial" panose="020B0604020202020204" pitchFamily="34" charset="0"/>
                  </a:rPr>
                  <a:t>02</a:t>
                </a:r>
              </a:p>
            </p:txBody>
          </p:sp>
        </p:grpSp>
        <p:sp>
          <p:nvSpPr>
            <p:cNvPr id="50" name="Rounded Rectangle 49"/>
            <p:cNvSpPr/>
            <p:nvPr/>
          </p:nvSpPr>
          <p:spPr>
            <a:xfrm>
              <a:off x="951435" y="2942219"/>
              <a:ext cx="2898217" cy="756000"/>
            </a:xfrm>
            <a:prstGeom prst="roundRect">
              <a:avLst>
                <a:gd name="adj" fmla="val 5889"/>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2" name="Rounded Rectangle 51"/>
            <p:cNvSpPr/>
            <p:nvPr/>
          </p:nvSpPr>
          <p:spPr>
            <a:xfrm>
              <a:off x="951435" y="3779122"/>
              <a:ext cx="2898217" cy="756000"/>
            </a:xfrm>
            <a:prstGeom prst="roundRect">
              <a:avLst>
                <a:gd name="adj" fmla="val 5889"/>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0" name="TextBox 2"/>
            <p:cNvSpPr txBox="1"/>
            <p:nvPr/>
          </p:nvSpPr>
          <p:spPr>
            <a:xfrm>
              <a:off x="1400802" y="3039938"/>
              <a:ext cx="2343406"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More than 1 Lakh WI-FI Hotspots</a:t>
              </a:r>
            </a:p>
          </p:txBody>
        </p:sp>
        <p:sp>
          <p:nvSpPr>
            <p:cNvPr id="64" name="TextBox 2"/>
            <p:cNvSpPr txBox="1"/>
            <p:nvPr/>
          </p:nvSpPr>
          <p:spPr>
            <a:xfrm>
              <a:off x="1506378" y="3938917"/>
              <a:ext cx="2254313"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5 Lakh Km+ Optical Fiber Network</a:t>
              </a:r>
            </a:p>
          </p:txBody>
        </p:sp>
        <p:grpSp>
          <p:nvGrpSpPr>
            <p:cNvPr id="75" name="Group 74"/>
            <p:cNvGrpSpPr/>
            <p:nvPr/>
          </p:nvGrpSpPr>
          <p:grpSpPr>
            <a:xfrm>
              <a:off x="833938" y="3055281"/>
              <a:ext cx="529878" cy="529876"/>
              <a:chOff x="1446837" y="4513612"/>
              <a:chExt cx="529878" cy="529876"/>
            </a:xfrm>
          </p:grpSpPr>
          <p:sp>
            <p:nvSpPr>
              <p:cNvPr id="76" name="Rectangle 75"/>
              <p:cNvSpPr/>
              <p:nvPr/>
            </p:nvSpPr>
            <p:spPr>
              <a:xfrm flipV="1">
                <a:off x="1446837"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7" name="TextBox 2"/>
              <p:cNvSpPr txBox="1"/>
              <p:nvPr/>
            </p:nvSpPr>
            <p:spPr>
              <a:xfrm>
                <a:off x="1570018" y="4624662"/>
                <a:ext cx="283517" cy="307777"/>
              </a:xfrm>
              <a:prstGeom prst="rect">
                <a:avLst/>
              </a:prstGeom>
              <a:noFill/>
            </p:spPr>
            <p:txBody>
              <a:bodyPr wrap="square" lIns="0" tIns="0" rIns="0" bIns="0" rtlCol="0">
                <a:spAutoFit/>
              </a:bodyPr>
              <a:lstStyle/>
              <a:p>
                <a:r>
                  <a:rPr lang="en-US" sz="2000" b="1" dirty="0">
                    <a:solidFill>
                      <a:srgbClr val="005EB8"/>
                    </a:solidFill>
                    <a:ea typeface="Times New Roman"/>
                    <a:cs typeface="Arial" panose="020B0604020202020204" pitchFamily="34" charset="0"/>
                  </a:rPr>
                  <a:t>03</a:t>
                </a:r>
              </a:p>
            </p:txBody>
          </p:sp>
        </p:grpSp>
        <p:grpSp>
          <p:nvGrpSpPr>
            <p:cNvPr id="78" name="Group 77"/>
            <p:cNvGrpSpPr/>
            <p:nvPr/>
          </p:nvGrpSpPr>
          <p:grpSpPr>
            <a:xfrm>
              <a:off x="833938" y="3892184"/>
              <a:ext cx="529878" cy="529876"/>
              <a:chOff x="1446837" y="5350515"/>
              <a:chExt cx="529878" cy="529876"/>
            </a:xfrm>
          </p:grpSpPr>
          <p:sp>
            <p:nvSpPr>
              <p:cNvPr id="79" name="Rectangle 78"/>
              <p:cNvSpPr/>
              <p:nvPr/>
            </p:nvSpPr>
            <p:spPr>
              <a:xfrm flipV="1">
                <a:off x="1446837"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0" name="TextBox 2"/>
              <p:cNvSpPr txBox="1"/>
              <p:nvPr/>
            </p:nvSpPr>
            <p:spPr>
              <a:xfrm>
                <a:off x="1570018" y="5461565"/>
                <a:ext cx="283517" cy="307777"/>
              </a:xfrm>
              <a:prstGeom prst="rect">
                <a:avLst/>
              </a:prstGeom>
              <a:noFill/>
            </p:spPr>
            <p:txBody>
              <a:bodyPr wrap="square" lIns="0" tIns="0" rIns="0" bIns="0" rtlCol="0">
                <a:spAutoFit/>
              </a:bodyPr>
              <a:lstStyle/>
              <a:p>
                <a:r>
                  <a:rPr lang="en-US" sz="2000" b="1" dirty="0">
                    <a:solidFill>
                      <a:srgbClr val="483698"/>
                    </a:solidFill>
                    <a:ea typeface="Times New Roman"/>
                    <a:cs typeface="Arial" panose="020B0604020202020204" pitchFamily="34" charset="0"/>
                  </a:rPr>
                  <a:t>04</a:t>
                </a:r>
              </a:p>
            </p:txBody>
          </p:sp>
        </p:grpSp>
        <p:sp>
          <p:nvSpPr>
            <p:cNvPr id="91" name="Rounded Rectangle 90"/>
            <p:cNvSpPr/>
            <p:nvPr/>
          </p:nvSpPr>
          <p:spPr>
            <a:xfrm>
              <a:off x="951435" y="4616025"/>
              <a:ext cx="2898217" cy="756000"/>
            </a:xfrm>
            <a:prstGeom prst="roundRect">
              <a:avLst>
                <a:gd name="adj" fmla="val 5889"/>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3" name="Rounded Rectangle 92"/>
            <p:cNvSpPr/>
            <p:nvPr/>
          </p:nvSpPr>
          <p:spPr>
            <a:xfrm>
              <a:off x="951435" y="5452928"/>
              <a:ext cx="2898217" cy="756000"/>
            </a:xfrm>
            <a:prstGeom prst="roundRect">
              <a:avLst>
                <a:gd name="adj" fmla="val 5889"/>
              </a:avLst>
            </a:prstGeom>
            <a:solidFill>
              <a:srgbClr val="483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5" name="TextBox 2"/>
            <p:cNvSpPr txBox="1"/>
            <p:nvPr/>
          </p:nvSpPr>
          <p:spPr>
            <a:xfrm>
              <a:off x="1378356" y="4778582"/>
              <a:ext cx="2446364"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Multiple Country Wide System Integration Projects</a:t>
              </a:r>
            </a:p>
          </p:txBody>
        </p:sp>
        <p:sp>
          <p:nvSpPr>
            <p:cNvPr id="96" name="TextBox 2"/>
            <p:cNvSpPr txBox="1"/>
            <p:nvPr/>
          </p:nvSpPr>
          <p:spPr>
            <a:xfrm>
              <a:off x="1402171" y="5677040"/>
              <a:ext cx="2464533" cy="276999"/>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10 + Operating Data Centers</a:t>
              </a:r>
            </a:p>
          </p:txBody>
        </p:sp>
        <p:grpSp>
          <p:nvGrpSpPr>
            <p:cNvPr id="99" name="Group 98"/>
            <p:cNvGrpSpPr/>
            <p:nvPr/>
          </p:nvGrpSpPr>
          <p:grpSpPr>
            <a:xfrm>
              <a:off x="833938" y="4729087"/>
              <a:ext cx="529878" cy="529876"/>
              <a:chOff x="1446837" y="4513612"/>
              <a:chExt cx="529878" cy="529876"/>
            </a:xfrm>
          </p:grpSpPr>
          <p:sp>
            <p:nvSpPr>
              <p:cNvPr id="100" name="Rectangle 99"/>
              <p:cNvSpPr/>
              <p:nvPr/>
            </p:nvSpPr>
            <p:spPr>
              <a:xfrm flipV="1">
                <a:off x="1446837"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1" name="TextBox 2"/>
              <p:cNvSpPr txBox="1"/>
              <p:nvPr/>
            </p:nvSpPr>
            <p:spPr>
              <a:xfrm>
                <a:off x="1570018" y="4624662"/>
                <a:ext cx="283517" cy="307777"/>
              </a:xfrm>
              <a:prstGeom prst="rect">
                <a:avLst/>
              </a:prstGeom>
              <a:noFill/>
            </p:spPr>
            <p:txBody>
              <a:bodyPr wrap="square" lIns="0" tIns="0" rIns="0" bIns="0" rtlCol="0">
                <a:spAutoFit/>
              </a:bodyPr>
              <a:lstStyle/>
              <a:p>
                <a:r>
                  <a:rPr lang="en-US" sz="2000" b="1" dirty="0">
                    <a:solidFill>
                      <a:srgbClr val="005EB8"/>
                    </a:solidFill>
                    <a:ea typeface="Times New Roman"/>
                    <a:cs typeface="Arial" panose="020B0604020202020204" pitchFamily="34" charset="0"/>
                  </a:rPr>
                  <a:t>05</a:t>
                </a:r>
              </a:p>
            </p:txBody>
          </p:sp>
        </p:grpSp>
        <p:grpSp>
          <p:nvGrpSpPr>
            <p:cNvPr id="102" name="Group 101"/>
            <p:cNvGrpSpPr/>
            <p:nvPr/>
          </p:nvGrpSpPr>
          <p:grpSpPr>
            <a:xfrm>
              <a:off x="833938" y="5565990"/>
              <a:ext cx="529878" cy="529876"/>
              <a:chOff x="1446837" y="5350515"/>
              <a:chExt cx="529878" cy="529876"/>
            </a:xfrm>
          </p:grpSpPr>
          <p:sp>
            <p:nvSpPr>
              <p:cNvPr id="103" name="Rectangle 102"/>
              <p:cNvSpPr/>
              <p:nvPr/>
            </p:nvSpPr>
            <p:spPr>
              <a:xfrm flipV="1">
                <a:off x="1446837"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4" name="TextBox 2"/>
              <p:cNvSpPr txBox="1"/>
              <p:nvPr/>
            </p:nvSpPr>
            <p:spPr>
              <a:xfrm>
                <a:off x="1570018" y="5461565"/>
                <a:ext cx="283517" cy="307777"/>
              </a:xfrm>
              <a:prstGeom prst="rect">
                <a:avLst/>
              </a:prstGeom>
              <a:noFill/>
            </p:spPr>
            <p:txBody>
              <a:bodyPr wrap="square" lIns="0" tIns="0" rIns="0" bIns="0" rtlCol="0">
                <a:spAutoFit/>
              </a:bodyPr>
              <a:lstStyle/>
              <a:p>
                <a:r>
                  <a:rPr lang="en-US" sz="2000" b="1" dirty="0">
                    <a:solidFill>
                      <a:srgbClr val="483698"/>
                    </a:solidFill>
                    <a:ea typeface="Times New Roman"/>
                    <a:cs typeface="Arial" panose="020B0604020202020204" pitchFamily="34" charset="0"/>
                  </a:rPr>
                  <a:t>06</a:t>
                </a:r>
              </a:p>
            </p:txBody>
          </p:sp>
        </p:grpSp>
      </p:grpSp>
      <p:grpSp>
        <p:nvGrpSpPr>
          <p:cNvPr id="4" name="Group 3"/>
          <p:cNvGrpSpPr/>
          <p:nvPr/>
        </p:nvGrpSpPr>
        <p:grpSpPr>
          <a:xfrm>
            <a:off x="7879648" y="1264143"/>
            <a:ext cx="3741920" cy="4827453"/>
            <a:chOff x="8339454" y="1237415"/>
            <a:chExt cx="2997470" cy="4827453"/>
          </a:xfrm>
        </p:grpSpPr>
        <p:sp>
          <p:nvSpPr>
            <p:cNvPr id="31" name="Rounded Rectangle 30"/>
            <p:cNvSpPr/>
            <p:nvPr/>
          </p:nvSpPr>
          <p:spPr>
            <a:xfrm>
              <a:off x="8436195" y="1237415"/>
              <a:ext cx="2898217" cy="756000"/>
            </a:xfrm>
            <a:prstGeom prst="roundRect">
              <a:avLst>
                <a:gd name="adj" fmla="val 4022"/>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Rounded Rectangle 32"/>
            <p:cNvSpPr/>
            <p:nvPr/>
          </p:nvSpPr>
          <p:spPr>
            <a:xfrm>
              <a:off x="8436195" y="2074318"/>
              <a:ext cx="2898217" cy="756000"/>
            </a:xfrm>
            <a:prstGeom prst="roundRect">
              <a:avLst>
                <a:gd name="adj" fmla="val 4692"/>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TextBox 2"/>
            <p:cNvSpPr txBox="1"/>
            <p:nvPr/>
          </p:nvSpPr>
          <p:spPr>
            <a:xfrm>
              <a:off x="8864701" y="1351217"/>
              <a:ext cx="2254313"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More than 2500 City Surveillance Cameras</a:t>
              </a:r>
            </a:p>
          </p:txBody>
        </p:sp>
        <p:sp>
          <p:nvSpPr>
            <p:cNvPr id="37" name="TextBox 2"/>
            <p:cNvSpPr txBox="1"/>
            <p:nvPr/>
          </p:nvSpPr>
          <p:spPr>
            <a:xfrm>
              <a:off x="8833504" y="2183936"/>
              <a:ext cx="2254313"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More than 1500 Smart Classrooms</a:t>
              </a:r>
            </a:p>
          </p:txBody>
        </p:sp>
        <p:grpSp>
          <p:nvGrpSpPr>
            <p:cNvPr id="44" name="Group 43"/>
            <p:cNvGrpSpPr/>
            <p:nvPr/>
          </p:nvGrpSpPr>
          <p:grpSpPr>
            <a:xfrm>
              <a:off x="8339454" y="1350477"/>
              <a:ext cx="529878" cy="529876"/>
              <a:chOff x="4610364" y="4513612"/>
              <a:chExt cx="529878" cy="529876"/>
            </a:xfrm>
          </p:grpSpPr>
          <p:sp>
            <p:nvSpPr>
              <p:cNvPr id="45" name="Rectangle 44"/>
              <p:cNvSpPr/>
              <p:nvPr/>
            </p:nvSpPr>
            <p:spPr>
              <a:xfrm flipV="1">
                <a:off x="4610364"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6" name="TextBox 2"/>
              <p:cNvSpPr txBox="1"/>
              <p:nvPr/>
            </p:nvSpPr>
            <p:spPr>
              <a:xfrm>
                <a:off x="4724156" y="4624662"/>
                <a:ext cx="283517" cy="307777"/>
              </a:xfrm>
              <a:prstGeom prst="rect">
                <a:avLst/>
              </a:prstGeom>
              <a:noFill/>
            </p:spPr>
            <p:txBody>
              <a:bodyPr wrap="square" lIns="0" tIns="0" rIns="0" bIns="0" rtlCol="0">
                <a:spAutoFit/>
              </a:bodyPr>
              <a:lstStyle/>
              <a:p>
                <a:r>
                  <a:rPr lang="en-US" sz="2000" b="1" dirty="0">
                    <a:solidFill>
                      <a:srgbClr val="6D2077"/>
                    </a:solidFill>
                    <a:ea typeface="Times New Roman"/>
                    <a:cs typeface="Arial" panose="020B0604020202020204" pitchFamily="34" charset="0"/>
                  </a:rPr>
                  <a:t>07</a:t>
                </a:r>
              </a:p>
            </p:txBody>
          </p:sp>
        </p:grpSp>
        <p:grpSp>
          <p:nvGrpSpPr>
            <p:cNvPr id="47" name="Group 46"/>
            <p:cNvGrpSpPr/>
            <p:nvPr/>
          </p:nvGrpSpPr>
          <p:grpSpPr>
            <a:xfrm>
              <a:off x="8339454" y="2187380"/>
              <a:ext cx="529878" cy="529876"/>
              <a:chOff x="4610364" y="5350515"/>
              <a:chExt cx="529878" cy="529876"/>
            </a:xfrm>
          </p:grpSpPr>
          <p:sp>
            <p:nvSpPr>
              <p:cNvPr id="48" name="Rectangle 47"/>
              <p:cNvSpPr/>
              <p:nvPr/>
            </p:nvSpPr>
            <p:spPr>
              <a:xfrm flipV="1">
                <a:off x="4610364"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9" name="TextBox 2"/>
              <p:cNvSpPr txBox="1"/>
              <p:nvPr/>
            </p:nvSpPr>
            <p:spPr>
              <a:xfrm>
                <a:off x="4724156" y="5461565"/>
                <a:ext cx="283517" cy="307777"/>
              </a:xfrm>
              <a:prstGeom prst="rect">
                <a:avLst/>
              </a:prstGeom>
              <a:noFill/>
            </p:spPr>
            <p:txBody>
              <a:bodyPr wrap="square" lIns="0" tIns="0" rIns="0" bIns="0" rtlCol="0">
                <a:spAutoFit/>
              </a:bodyPr>
              <a:lstStyle/>
              <a:p>
                <a:r>
                  <a:rPr lang="en-US" sz="2000" b="1" dirty="0">
                    <a:solidFill>
                      <a:srgbClr val="00A3A1"/>
                    </a:solidFill>
                    <a:ea typeface="Times New Roman"/>
                    <a:cs typeface="Arial" panose="020B0604020202020204" pitchFamily="34" charset="0"/>
                  </a:rPr>
                  <a:t>08</a:t>
                </a:r>
              </a:p>
            </p:txBody>
          </p:sp>
        </p:grpSp>
        <p:sp>
          <p:nvSpPr>
            <p:cNvPr id="51" name="Rounded Rectangle 50"/>
            <p:cNvSpPr/>
            <p:nvPr/>
          </p:nvSpPr>
          <p:spPr>
            <a:xfrm>
              <a:off x="8417816" y="2929327"/>
              <a:ext cx="2898217" cy="756000"/>
            </a:xfrm>
            <a:prstGeom prst="roundRect">
              <a:avLst>
                <a:gd name="adj" fmla="val 4022"/>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9" name="Rounded Rectangle 58"/>
            <p:cNvSpPr/>
            <p:nvPr/>
          </p:nvSpPr>
          <p:spPr>
            <a:xfrm>
              <a:off x="8436195" y="3748124"/>
              <a:ext cx="2898217" cy="756000"/>
            </a:xfrm>
            <a:prstGeom prst="roundRect">
              <a:avLst>
                <a:gd name="adj" fmla="val 4692"/>
              </a:avLst>
            </a:prstGeom>
            <a:solidFill>
              <a:srgbClr val="00A3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5" name="TextBox 2"/>
            <p:cNvSpPr txBox="1"/>
            <p:nvPr/>
          </p:nvSpPr>
          <p:spPr>
            <a:xfrm>
              <a:off x="9022422" y="3042389"/>
              <a:ext cx="2175718"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Implemented Nation Wide Digital Platforms</a:t>
              </a:r>
            </a:p>
          </p:txBody>
        </p:sp>
        <p:sp>
          <p:nvSpPr>
            <p:cNvPr id="66" name="TextBox 2"/>
            <p:cNvSpPr txBox="1"/>
            <p:nvPr/>
          </p:nvSpPr>
          <p:spPr>
            <a:xfrm>
              <a:off x="8974716" y="3861186"/>
              <a:ext cx="2254313"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Traffic Enforcement in more than 10+ Cities</a:t>
              </a:r>
            </a:p>
          </p:txBody>
        </p:sp>
        <p:grpSp>
          <p:nvGrpSpPr>
            <p:cNvPr id="81" name="Group 80"/>
            <p:cNvGrpSpPr/>
            <p:nvPr/>
          </p:nvGrpSpPr>
          <p:grpSpPr>
            <a:xfrm>
              <a:off x="8339454" y="3024283"/>
              <a:ext cx="529878" cy="529876"/>
              <a:chOff x="4610364" y="4513612"/>
              <a:chExt cx="529878" cy="529876"/>
            </a:xfrm>
          </p:grpSpPr>
          <p:sp>
            <p:nvSpPr>
              <p:cNvPr id="83" name="Rectangle 82"/>
              <p:cNvSpPr/>
              <p:nvPr/>
            </p:nvSpPr>
            <p:spPr>
              <a:xfrm flipV="1">
                <a:off x="4610364"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4" name="TextBox 2"/>
              <p:cNvSpPr txBox="1"/>
              <p:nvPr/>
            </p:nvSpPr>
            <p:spPr>
              <a:xfrm>
                <a:off x="4724156" y="4624662"/>
                <a:ext cx="283517" cy="307777"/>
              </a:xfrm>
              <a:prstGeom prst="rect">
                <a:avLst/>
              </a:prstGeom>
              <a:noFill/>
            </p:spPr>
            <p:txBody>
              <a:bodyPr wrap="square" lIns="0" tIns="0" rIns="0" bIns="0" rtlCol="0">
                <a:spAutoFit/>
              </a:bodyPr>
              <a:lstStyle/>
              <a:p>
                <a:r>
                  <a:rPr lang="en-US" sz="2000" b="1" dirty="0">
                    <a:solidFill>
                      <a:srgbClr val="6D2077"/>
                    </a:solidFill>
                    <a:ea typeface="Times New Roman"/>
                    <a:cs typeface="Arial" panose="020B0604020202020204" pitchFamily="34" charset="0"/>
                  </a:rPr>
                  <a:t>09</a:t>
                </a:r>
              </a:p>
            </p:txBody>
          </p:sp>
        </p:grpSp>
        <p:grpSp>
          <p:nvGrpSpPr>
            <p:cNvPr id="85" name="Group 84"/>
            <p:cNvGrpSpPr/>
            <p:nvPr/>
          </p:nvGrpSpPr>
          <p:grpSpPr>
            <a:xfrm>
              <a:off x="8339454" y="3861186"/>
              <a:ext cx="529878" cy="529876"/>
              <a:chOff x="4610364" y="5350515"/>
              <a:chExt cx="529878" cy="529876"/>
            </a:xfrm>
          </p:grpSpPr>
          <p:sp>
            <p:nvSpPr>
              <p:cNvPr id="86" name="Rectangle 85"/>
              <p:cNvSpPr/>
              <p:nvPr/>
            </p:nvSpPr>
            <p:spPr>
              <a:xfrm flipV="1">
                <a:off x="4610364"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0" name="TextBox 2"/>
              <p:cNvSpPr txBox="1"/>
              <p:nvPr/>
            </p:nvSpPr>
            <p:spPr>
              <a:xfrm>
                <a:off x="4724156" y="5461565"/>
                <a:ext cx="283517" cy="307777"/>
              </a:xfrm>
              <a:prstGeom prst="rect">
                <a:avLst/>
              </a:prstGeom>
              <a:noFill/>
            </p:spPr>
            <p:txBody>
              <a:bodyPr wrap="square" lIns="0" tIns="0" rIns="0" bIns="0" rtlCol="0">
                <a:spAutoFit/>
              </a:bodyPr>
              <a:lstStyle/>
              <a:p>
                <a:r>
                  <a:rPr lang="en-US" sz="2000" b="1" dirty="0">
                    <a:solidFill>
                      <a:srgbClr val="00A3A1"/>
                    </a:solidFill>
                    <a:ea typeface="Times New Roman"/>
                    <a:cs typeface="Arial" panose="020B0604020202020204" pitchFamily="34" charset="0"/>
                  </a:rPr>
                  <a:t>10</a:t>
                </a:r>
              </a:p>
            </p:txBody>
          </p:sp>
        </p:grpSp>
        <p:sp>
          <p:nvSpPr>
            <p:cNvPr id="92" name="Rounded Rectangle 91"/>
            <p:cNvSpPr/>
            <p:nvPr/>
          </p:nvSpPr>
          <p:spPr>
            <a:xfrm>
              <a:off x="8438707" y="4585027"/>
              <a:ext cx="2898217" cy="756000"/>
            </a:xfrm>
            <a:prstGeom prst="roundRect">
              <a:avLst>
                <a:gd name="adj" fmla="val 4022"/>
              </a:avLst>
            </a:prstGeom>
            <a:solidFill>
              <a:srgbClr val="6D20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TextBox 2"/>
            <p:cNvSpPr txBox="1"/>
            <p:nvPr/>
          </p:nvSpPr>
          <p:spPr>
            <a:xfrm>
              <a:off x="8983125" y="4729087"/>
              <a:ext cx="2254313" cy="553998"/>
            </a:xfrm>
            <a:prstGeom prst="rect">
              <a:avLst/>
            </a:prstGeom>
            <a:noFill/>
          </p:spPr>
          <p:txBody>
            <a:bodyPr wrap="square" lIns="0" tIns="0" rIns="0" bIns="0" rtlCol="0">
              <a:spAutoFit/>
            </a:bodyPr>
            <a:lstStyle/>
            <a:p>
              <a:pPr algn="ctr">
                <a:spcAft>
                  <a:spcPts val="600"/>
                </a:spcAft>
              </a:pPr>
              <a:r>
                <a:rPr lang="en-US" b="1" dirty="0">
                  <a:solidFill>
                    <a:prstClr val="white"/>
                  </a:solidFill>
                  <a:latin typeface="Calibri" panose="020F0502020204030204" pitchFamily="34" charset="0"/>
                  <a:cs typeface="Calibri" panose="020F0502020204030204" pitchFamily="34" charset="0"/>
                </a:rPr>
                <a:t>ICT Based SWM in more than 300+ ULBs</a:t>
              </a:r>
            </a:p>
          </p:txBody>
        </p:sp>
        <p:grpSp>
          <p:nvGrpSpPr>
            <p:cNvPr id="105" name="Group 104"/>
            <p:cNvGrpSpPr/>
            <p:nvPr/>
          </p:nvGrpSpPr>
          <p:grpSpPr>
            <a:xfrm>
              <a:off x="8339454" y="4698089"/>
              <a:ext cx="529878" cy="529876"/>
              <a:chOff x="4610364" y="4513612"/>
              <a:chExt cx="529878" cy="529876"/>
            </a:xfrm>
          </p:grpSpPr>
          <p:sp>
            <p:nvSpPr>
              <p:cNvPr id="106" name="Rectangle 105"/>
              <p:cNvSpPr/>
              <p:nvPr/>
            </p:nvSpPr>
            <p:spPr>
              <a:xfrm flipV="1">
                <a:off x="4610364" y="4513612"/>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7" name="TextBox 2"/>
              <p:cNvSpPr txBox="1"/>
              <p:nvPr/>
            </p:nvSpPr>
            <p:spPr>
              <a:xfrm>
                <a:off x="4724156" y="4624662"/>
                <a:ext cx="283517" cy="307777"/>
              </a:xfrm>
              <a:prstGeom prst="rect">
                <a:avLst/>
              </a:prstGeom>
              <a:noFill/>
            </p:spPr>
            <p:txBody>
              <a:bodyPr wrap="square" lIns="0" tIns="0" rIns="0" bIns="0" rtlCol="0">
                <a:spAutoFit/>
              </a:bodyPr>
              <a:lstStyle/>
              <a:p>
                <a:r>
                  <a:rPr lang="en-US" sz="2000" b="1" dirty="0">
                    <a:solidFill>
                      <a:srgbClr val="6D2077"/>
                    </a:solidFill>
                    <a:ea typeface="Times New Roman"/>
                    <a:cs typeface="Arial" panose="020B0604020202020204" pitchFamily="34" charset="0"/>
                  </a:rPr>
                  <a:t>11</a:t>
                </a:r>
              </a:p>
            </p:txBody>
          </p:sp>
        </p:grpSp>
        <p:grpSp>
          <p:nvGrpSpPr>
            <p:cNvPr id="108" name="Group 107"/>
            <p:cNvGrpSpPr/>
            <p:nvPr/>
          </p:nvGrpSpPr>
          <p:grpSpPr>
            <a:xfrm>
              <a:off x="8339454" y="5534992"/>
              <a:ext cx="529878" cy="529876"/>
              <a:chOff x="4610364" y="5350515"/>
              <a:chExt cx="529878" cy="529876"/>
            </a:xfrm>
          </p:grpSpPr>
          <p:sp>
            <p:nvSpPr>
              <p:cNvPr id="109" name="Rectangle 108"/>
              <p:cNvSpPr/>
              <p:nvPr/>
            </p:nvSpPr>
            <p:spPr>
              <a:xfrm flipV="1">
                <a:off x="4610364" y="5350515"/>
                <a:ext cx="529878" cy="529876"/>
              </a:xfrm>
              <a:prstGeom prst="rect">
                <a:avLst/>
              </a:prstGeom>
              <a:solidFill>
                <a:schemeClr val="bg1"/>
              </a:solidFill>
              <a:ln>
                <a:noFill/>
              </a:ln>
              <a:effectLst>
                <a:innerShdw blurRad="635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10" name="TextBox 2"/>
              <p:cNvSpPr txBox="1"/>
              <p:nvPr/>
            </p:nvSpPr>
            <p:spPr>
              <a:xfrm>
                <a:off x="4724156" y="5461565"/>
                <a:ext cx="283517" cy="307777"/>
              </a:xfrm>
              <a:prstGeom prst="rect">
                <a:avLst/>
              </a:prstGeom>
              <a:noFill/>
            </p:spPr>
            <p:txBody>
              <a:bodyPr wrap="square" lIns="0" tIns="0" rIns="0" bIns="0" rtlCol="0">
                <a:spAutoFit/>
              </a:bodyPr>
              <a:lstStyle/>
              <a:p>
                <a:r>
                  <a:rPr lang="en-US" sz="2000" b="1" dirty="0">
                    <a:solidFill>
                      <a:srgbClr val="00A3A1"/>
                    </a:solidFill>
                    <a:ea typeface="Times New Roman"/>
                    <a:cs typeface="Arial" panose="020B0604020202020204" pitchFamily="34" charset="0"/>
                  </a:rPr>
                  <a:t>12</a:t>
                </a:r>
              </a:p>
            </p:txBody>
          </p:sp>
        </p:grpSp>
      </p:grpSp>
      <p:grpSp>
        <p:nvGrpSpPr>
          <p:cNvPr id="67" name="Group 66"/>
          <p:cNvGrpSpPr/>
          <p:nvPr/>
        </p:nvGrpSpPr>
        <p:grpSpPr>
          <a:xfrm>
            <a:off x="4567844" y="1264143"/>
            <a:ext cx="3290518" cy="5104573"/>
            <a:chOff x="2871989" y="674520"/>
            <a:chExt cx="3400022" cy="5957513"/>
          </a:xfrm>
        </p:grpSpPr>
        <p:sp>
          <p:nvSpPr>
            <p:cNvPr id="68" name="Oval 67"/>
            <p:cNvSpPr/>
            <p:nvPr/>
          </p:nvSpPr>
          <p:spPr>
            <a:xfrm>
              <a:off x="2871989" y="6116878"/>
              <a:ext cx="3400022" cy="515155"/>
            </a:xfrm>
            <a:prstGeom prst="ellipse">
              <a:avLst/>
            </a:prstGeom>
            <a:solidFill>
              <a:schemeClr val="tx1">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69" name="Group 68"/>
            <p:cNvGrpSpPr/>
            <p:nvPr/>
          </p:nvGrpSpPr>
          <p:grpSpPr>
            <a:xfrm>
              <a:off x="3400023" y="674520"/>
              <a:ext cx="2343954" cy="5775626"/>
              <a:chOff x="3400023" y="674520"/>
              <a:chExt cx="2343954" cy="5775626"/>
            </a:xfrm>
          </p:grpSpPr>
          <p:sp>
            <p:nvSpPr>
              <p:cNvPr id="70" name="Oval 69"/>
              <p:cNvSpPr/>
              <p:nvPr/>
            </p:nvSpPr>
            <p:spPr>
              <a:xfrm>
                <a:off x="4229542" y="674520"/>
                <a:ext cx="745765" cy="745764"/>
              </a:xfrm>
              <a:prstGeom prst="ellipse">
                <a:avLst/>
              </a:prstGeom>
              <a:solidFill>
                <a:srgbClr val="6D2077"/>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71" name="Group 70"/>
              <p:cNvGrpSpPr/>
              <p:nvPr/>
            </p:nvGrpSpPr>
            <p:grpSpPr>
              <a:xfrm>
                <a:off x="3808127" y="2288802"/>
                <a:ext cx="1541704" cy="835102"/>
                <a:chOff x="3808127" y="2288802"/>
                <a:chExt cx="1541704" cy="835102"/>
              </a:xfrm>
            </p:grpSpPr>
            <p:sp>
              <p:nvSpPr>
                <p:cNvPr id="137" name="Freeform 136"/>
                <p:cNvSpPr/>
                <p:nvPr/>
              </p:nvSpPr>
              <p:spPr>
                <a:xfrm>
                  <a:off x="3808127" y="2288802"/>
                  <a:ext cx="1541704" cy="835102"/>
                </a:xfrm>
                <a:custGeom>
                  <a:avLst/>
                  <a:gdLst>
                    <a:gd name="connsiteX0" fmla="*/ 216477 w 1541704"/>
                    <a:gd name="connsiteY0" fmla="*/ 0 h 835102"/>
                    <a:gd name="connsiteX1" fmla="*/ 668565 w 1541704"/>
                    <a:gd name="connsiteY1" fmla="*/ 0 h 835102"/>
                    <a:gd name="connsiteX2" fmla="*/ 665319 w 1541704"/>
                    <a:gd name="connsiteY2" fmla="*/ 19093 h 835102"/>
                    <a:gd name="connsiteX3" fmla="*/ 641945 w 1541704"/>
                    <a:gd name="connsiteY3" fmla="*/ 56474 h 835102"/>
                    <a:gd name="connsiteX4" fmla="*/ 784857 w 1541704"/>
                    <a:gd name="connsiteY4" fmla="*/ 229859 h 835102"/>
                    <a:gd name="connsiteX5" fmla="*/ 942712 w 1541704"/>
                    <a:gd name="connsiteY5" fmla="*/ 50942 h 835102"/>
                    <a:gd name="connsiteX6" fmla="*/ 919978 w 1541704"/>
                    <a:gd name="connsiteY6" fmla="*/ 12188 h 835102"/>
                    <a:gd name="connsiteX7" fmla="*/ 919644 w 1541704"/>
                    <a:gd name="connsiteY7" fmla="*/ 0 h 835102"/>
                    <a:gd name="connsiteX8" fmla="*/ 1337103 w 1541704"/>
                    <a:gd name="connsiteY8" fmla="*/ 0 h 835102"/>
                    <a:gd name="connsiteX9" fmla="*/ 1315009 w 1541704"/>
                    <a:gd name="connsiteY9" fmla="*/ 56794 h 835102"/>
                    <a:gd name="connsiteX10" fmla="*/ 1203088 w 1541704"/>
                    <a:gd name="connsiteY10" fmla="*/ 653868 h 835102"/>
                    <a:gd name="connsiteX11" fmla="*/ 1205000 w 1541704"/>
                    <a:gd name="connsiteY11" fmla="*/ 735016 h 835102"/>
                    <a:gd name="connsiteX12" fmla="*/ 1388830 w 1541704"/>
                    <a:gd name="connsiteY12" fmla="*/ 735016 h 835102"/>
                    <a:gd name="connsiteX13" fmla="*/ 1507312 w 1541704"/>
                    <a:gd name="connsiteY13" fmla="*/ 784092 h 835102"/>
                    <a:gd name="connsiteX14" fmla="*/ 1541704 w 1541704"/>
                    <a:gd name="connsiteY14" fmla="*/ 835102 h 835102"/>
                    <a:gd name="connsiteX15" fmla="*/ 0 w 1541704"/>
                    <a:gd name="connsiteY15" fmla="*/ 835102 h 835102"/>
                    <a:gd name="connsiteX16" fmla="*/ 34391 w 1541704"/>
                    <a:gd name="connsiteY16" fmla="*/ 784092 h 835102"/>
                    <a:gd name="connsiteX17" fmla="*/ 152873 w 1541704"/>
                    <a:gd name="connsiteY17" fmla="*/ 735016 h 835102"/>
                    <a:gd name="connsiteX18" fmla="*/ 345669 w 1541704"/>
                    <a:gd name="connsiteY18" fmla="*/ 735016 h 835102"/>
                    <a:gd name="connsiteX19" fmla="*/ 348552 w 1541704"/>
                    <a:gd name="connsiteY19" fmla="*/ 654828 h 835102"/>
                    <a:gd name="connsiteX20" fmla="*/ 236366 w 1541704"/>
                    <a:gd name="connsiteY20" fmla="*/ 51886 h 8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41704" h="835102">
                      <a:moveTo>
                        <a:pt x="216477" y="0"/>
                      </a:moveTo>
                      <a:lnTo>
                        <a:pt x="668565" y="0"/>
                      </a:lnTo>
                      <a:lnTo>
                        <a:pt x="665319" y="19093"/>
                      </a:lnTo>
                      <a:cubicBezTo>
                        <a:pt x="660485" y="30971"/>
                        <a:pt x="652702" y="43507"/>
                        <a:pt x="641945" y="56474"/>
                      </a:cubicBezTo>
                      <a:cubicBezTo>
                        <a:pt x="572319" y="140092"/>
                        <a:pt x="608319" y="226477"/>
                        <a:pt x="784857" y="229859"/>
                      </a:cubicBezTo>
                      <a:cubicBezTo>
                        <a:pt x="909982" y="234778"/>
                        <a:pt x="1047639" y="168683"/>
                        <a:pt x="942712" y="50942"/>
                      </a:cubicBezTo>
                      <a:cubicBezTo>
                        <a:pt x="930748" y="37143"/>
                        <a:pt x="923544" y="24166"/>
                        <a:pt x="919978" y="12188"/>
                      </a:cubicBezTo>
                      <a:lnTo>
                        <a:pt x="919644" y="0"/>
                      </a:lnTo>
                      <a:lnTo>
                        <a:pt x="1337103" y="0"/>
                      </a:lnTo>
                      <a:lnTo>
                        <a:pt x="1315009" y="56794"/>
                      </a:lnTo>
                      <a:cubicBezTo>
                        <a:pt x="1240720" y="272722"/>
                        <a:pt x="1206731" y="502033"/>
                        <a:pt x="1203088" y="653868"/>
                      </a:cubicBezTo>
                      <a:lnTo>
                        <a:pt x="1205000" y="735016"/>
                      </a:lnTo>
                      <a:lnTo>
                        <a:pt x="1388830" y="735016"/>
                      </a:lnTo>
                      <a:cubicBezTo>
                        <a:pt x="1435100" y="735016"/>
                        <a:pt x="1476990" y="753770"/>
                        <a:pt x="1507312" y="784092"/>
                      </a:cubicBezTo>
                      <a:lnTo>
                        <a:pt x="1541704" y="835102"/>
                      </a:lnTo>
                      <a:lnTo>
                        <a:pt x="0" y="835102"/>
                      </a:lnTo>
                      <a:lnTo>
                        <a:pt x="34391" y="784092"/>
                      </a:lnTo>
                      <a:cubicBezTo>
                        <a:pt x="64713" y="753770"/>
                        <a:pt x="106603" y="735016"/>
                        <a:pt x="152873" y="735016"/>
                      </a:cubicBezTo>
                      <a:lnTo>
                        <a:pt x="345669" y="735016"/>
                      </a:lnTo>
                      <a:lnTo>
                        <a:pt x="348552" y="654828"/>
                      </a:lnTo>
                      <a:cubicBezTo>
                        <a:pt x="346049" y="503720"/>
                        <a:pt x="311349" y="272247"/>
                        <a:pt x="236366" y="51886"/>
                      </a:cubicBezTo>
                      <a:close/>
                    </a:path>
                  </a:pathLst>
                </a:custGeom>
                <a:solidFill>
                  <a:srgbClr val="4A0A68"/>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138" name="Group 137"/>
                <p:cNvGrpSpPr/>
                <p:nvPr/>
              </p:nvGrpSpPr>
              <p:grpSpPr>
                <a:xfrm>
                  <a:off x="4389442" y="2694660"/>
                  <a:ext cx="365116" cy="276580"/>
                  <a:chOff x="7554372" y="3220625"/>
                  <a:chExt cx="987370" cy="747946"/>
                </a:xfrm>
                <a:solidFill>
                  <a:schemeClr val="bg1"/>
                </a:solidFill>
                <a:effectLst/>
              </p:grpSpPr>
              <p:sp>
                <p:nvSpPr>
                  <p:cNvPr id="139" name="Freeform 138"/>
                  <p:cNvSpPr/>
                  <p:nvPr/>
                </p:nvSpPr>
                <p:spPr>
                  <a:xfrm>
                    <a:off x="7693621" y="3362269"/>
                    <a:ext cx="367229" cy="461887"/>
                  </a:xfrm>
                  <a:custGeom>
                    <a:avLst/>
                    <a:gdLst>
                      <a:gd name="connsiteX0" fmla="*/ 1749152 w 2754884"/>
                      <a:gd name="connsiteY0" fmla="*/ 0 h 3485604"/>
                      <a:gd name="connsiteX1" fmla="*/ 2727120 w 2754884"/>
                      <a:gd name="connsiteY1" fmla="*/ 297643 h 3485604"/>
                      <a:gd name="connsiteX2" fmla="*/ 2754884 w 2754884"/>
                      <a:gd name="connsiteY2" fmla="*/ 318329 h 3485604"/>
                      <a:gd name="connsiteX3" fmla="*/ 2717953 w 2754884"/>
                      <a:gd name="connsiteY3" fmla="*/ 352196 h 3485604"/>
                      <a:gd name="connsiteX4" fmla="*/ 2439975 w 2754884"/>
                      <a:gd name="connsiteY4" fmla="*/ 692133 h 3485604"/>
                      <a:gd name="connsiteX5" fmla="*/ 2415426 w 2754884"/>
                      <a:gd name="connsiteY5" fmla="*/ 732906 h 3485604"/>
                      <a:gd name="connsiteX6" fmla="*/ 2334302 w 2754884"/>
                      <a:gd name="connsiteY6" fmla="*/ 684329 h 3485604"/>
                      <a:gd name="connsiteX7" fmla="*/ 1753915 w 2754884"/>
                      <a:gd name="connsiteY7" fmla="*/ 539477 h 3485604"/>
                      <a:gd name="connsiteX8" fmla="*/ 561040 w 2754884"/>
                      <a:gd name="connsiteY8" fmla="*/ 1497755 h 3485604"/>
                      <a:gd name="connsiteX9" fmla="*/ 560739 w 2754884"/>
                      <a:gd name="connsiteY9" fmla="*/ 1499702 h 3485604"/>
                      <a:gd name="connsiteX10" fmla="*/ 560289 w 2754884"/>
                      <a:gd name="connsiteY10" fmla="*/ 1501410 h 3485604"/>
                      <a:gd name="connsiteX11" fmla="*/ 535635 w 2754884"/>
                      <a:gd name="connsiteY11" fmla="*/ 1740366 h 3485604"/>
                      <a:gd name="connsiteX12" fmla="*/ 560289 w 2754884"/>
                      <a:gd name="connsiteY12" fmla="*/ 1979322 h 3485604"/>
                      <a:gd name="connsiteX13" fmla="*/ 581224 w 2754884"/>
                      <a:gd name="connsiteY13" fmla="*/ 2058873 h 3485604"/>
                      <a:gd name="connsiteX14" fmla="*/ 591043 w 2754884"/>
                      <a:gd name="connsiteY14" fmla="*/ 2096515 h 3485604"/>
                      <a:gd name="connsiteX15" fmla="*/ 1753915 w 2754884"/>
                      <a:gd name="connsiteY15" fmla="*/ 2939777 h 3485604"/>
                      <a:gd name="connsiteX16" fmla="*/ 2115996 w 2754884"/>
                      <a:gd name="connsiteY16" fmla="*/ 2885821 h 3485604"/>
                      <a:gd name="connsiteX17" fmla="*/ 2221822 w 2754884"/>
                      <a:gd name="connsiteY17" fmla="*/ 2847643 h 3485604"/>
                      <a:gd name="connsiteX18" fmla="*/ 2230086 w 2754884"/>
                      <a:gd name="connsiteY18" fmla="*/ 2870424 h 3485604"/>
                      <a:gd name="connsiteX19" fmla="*/ 2439975 w 2754884"/>
                      <a:gd name="connsiteY19" fmla="*/ 3260589 h 3485604"/>
                      <a:gd name="connsiteX20" fmla="*/ 2485496 w 2754884"/>
                      <a:gd name="connsiteY20" fmla="*/ 3322010 h 3485604"/>
                      <a:gd name="connsiteX21" fmla="*/ 2430001 w 2754884"/>
                      <a:gd name="connsiteY21" fmla="*/ 3348646 h 3485604"/>
                      <a:gd name="connsiteX22" fmla="*/ 1749152 w 2754884"/>
                      <a:gd name="connsiteY22" fmla="*/ 3485604 h 3485604"/>
                      <a:gd name="connsiteX23" fmla="*/ 0 w 2754884"/>
                      <a:gd name="connsiteY23" fmla="*/ 1742802 h 3485604"/>
                      <a:gd name="connsiteX24" fmla="*/ 1749152 w 2754884"/>
                      <a:gd name="connsiteY24" fmla="*/ 0 h 3485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754884" h="3485604">
                        <a:moveTo>
                          <a:pt x="1749152" y="0"/>
                        </a:moveTo>
                        <a:cubicBezTo>
                          <a:pt x="2111413" y="0"/>
                          <a:pt x="2447953" y="109727"/>
                          <a:pt x="2727120" y="297643"/>
                        </a:cubicBezTo>
                        <a:lnTo>
                          <a:pt x="2754884" y="318329"/>
                        </a:lnTo>
                        <a:lnTo>
                          <a:pt x="2717953" y="352196"/>
                        </a:lnTo>
                        <a:cubicBezTo>
                          <a:pt x="2614963" y="456111"/>
                          <a:pt x="2521795" y="569937"/>
                          <a:pt x="2439975" y="692133"/>
                        </a:cubicBezTo>
                        <a:lnTo>
                          <a:pt x="2415426" y="732906"/>
                        </a:lnTo>
                        <a:lnTo>
                          <a:pt x="2334302" y="684329"/>
                        </a:lnTo>
                        <a:cubicBezTo>
                          <a:pt x="2161774" y="591950"/>
                          <a:pt x="1964062" y="539477"/>
                          <a:pt x="1753915" y="539477"/>
                        </a:cubicBezTo>
                        <a:cubicBezTo>
                          <a:pt x="1165505" y="539477"/>
                          <a:pt x="674578" y="950867"/>
                          <a:pt x="561040" y="1497755"/>
                        </a:cubicBezTo>
                        <a:lnTo>
                          <a:pt x="560739" y="1499702"/>
                        </a:lnTo>
                        <a:lnTo>
                          <a:pt x="560289" y="1501410"/>
                        </a:lnTo>
                        <a:cubicBezTo>
                          <a:pt x="544124" y="1578595"/>
                          <a:pt x="535635" y="1658512"/>
                          <a:pt x="535635" y="1740366"/>
                        </a:cubicBezTo>
                        <a:cubicBezTo>
                          <a:pt x="535635" y="1822220"/>
                          <a:pt x="544124" y="1902137"/>
                          <a:pt x="560289" y="1979322"/>
                        </a:cubicBezTo>
                        <a:lnTo>
                          <a:pt x="581224" y="2058873"/>
                        </a:lnTo>
                        <a:lnTo>
                          <a:pt x="591043" y="2096515"/>
                        </a:lnTo>
                        <a:cubicBezTo>
                          <a:pt x="745207" y="2585059"/>
                          <a:pt x="1207534" y="2939777"/>
                          <a:pt x="1753915" y="2939777"/>
                        </a:cubicBezTo>
                        <a:cubicBezTo>
                          <a:pt x="1880003" y="2939777"/>
                          <a:pt x="2001615" y="2920887"/>
                          <a:pt x="2115996" y="2885821"/>
                        </a:cubicBezTo>
                        <a:lnTo>
                          <a:pt x="2221822" y="2847643"/>
                        </a:lnTo>
                        <a:lnTo>
                          <a:pt x="2230086" y="2870424"/>
                        </a:lnTo>
                        <a:cubicBezTo>
                          <a:pt x="2287684" y="3007824"/>
                          <a:pt x="2358156" y="3138392"/>
                          <a:pt x="2439975" y="3260589"/>
                        </a:cubicBezTo>
                        <a:lnTo>
                          <a:pt x="2485496" y="3322010"/>
                        </a:lnTo>
                        <a:lnTo>
                          <a:pt x="2430001" y="3348646"/>
                        </a:lnTo>
                        <a:cubicBezTo>
                          <a:pt x="2220735" y="3436837"/>
                          <a:pt x="1990660" y="3485604"/>
                          <a:pt x="1749152" y="3485604"/>
                        </a:cubicBezTo>
                        <a:cubicBezTo>
                          <a:pt x="783122" y="3485604"/>
                          <a:pt x="0" y="2705325"/>
                          <a:pt x="0" y="1742802"/>
                        </a:cubicBezTo>
                        <a:cubicBezTo>
                          <a:pt x="0" y="780279"/>
                          <a:pt x="783122" y="0"/>
                          <a:pt x="1749152" y="0"/>
                        </a:cubicBez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40" name="Freeform 139"/>
                  <p:cNvSpPr/>
                  <p:nvPr/>
                </p:nvSpPr>
                <p:spPr>
                  <a:xfrm>
                    <a:off x="7839552" y="3505592"/>
                    <a:ext cx="144715" cy="172930"/>
                  </a:xfrm>
                  <a:custGeom>
                    <a:avLst/>
                    <a:gdLst>
                      <a:gd name="connsiteX0" fmla="*/ 651454 w 1065402"/>
                      <a:gd name="connsiteY0" fmla="*/ 0 h 1267982"/>
                      <a:gd name="connsiteX1" fmla="*/ 1015688 w 1065402"/>
                      <a:gd name="connsiteY1" fmla="*/ 108276 h 1267982"/>
                      <a:gd name="connsiteX2" fmla="*/ 1065402 w 1065402"/>
                      <a:gd name="connsiteY2" fmla="*/ 148194 h 1267982"/>
                      <a:gd name="connsiteX3" fmla="*/ 1051074 w 1065402"/>
                      <a:gd name="connsiteY3" fmla="*/ 187692 h 1267982"/>
                      <a:gd name="connsiteX4" fmla="*/ 948728 w 1065402"/>
                      <a:gd name="connsiteY4" fmla="*/ 870725 h 1267982"/>
                      <a:gd name="connsiteX5" fmla="*/ 960481 w 1065402"/>
                      <a:gd name="connsiteY5" fmla="*/ 1105571 h 1267982"/>
                      <a:gd name="connsiteX6" fmla="*/ 972149 w 1065402"/>
                      <a:gd name="connsiteY6" fmla="*/ 1182705 h 1267982"/>
                      <a:gd name="connsiteX7" fmla="*/ 905029 w 1065402"/>
                      <a:gd name="connsiteY7" fmla="*/ 1218160 h 1267982"/>
                      <a:gd name="connsiteX8" fmla="*/ 651454 w 1065402"/>
                      <a:gd name="connsiteY8" fmla="*/ 1267982 h 1267982"/>
                      <a:gd name="connsiteX9" fmla="*/ 0 w 1065402"/>
                      <a:gd name="connsiteY9" fmla="*/ 633991 h 1267982"/>
                      <a:gd name="connsiteX10" fmla="*/ 651454 w 1065402"/>
                      <a:gd name="connsiteY10" fmla="*/ 0 h 1267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65402" h="1267982">
                        <a:moveTo>
                          <a:pt x="651454" y="0"/>
                        </a:moveTo>
                        <a:cubicBezTo>
                          <a:pt x="786375" y="0"/>
                          <a:pt x="911715" y="39916"/>
                          <a:pt x="1015688" y="108276"/>
                        </a:cubicBezTo>
                        <a:lnTo>
                          <a:pt x="1065402" y="148194"/>
                        </a:lnTo>
                        <a:lnTo>
                          <a:pt x="1051074" y="187692"/>
                        </a:lnTo>
                        <a:cubicBezTo>
                          <a:pt x="984560" y="403462"/>
                          <a:pt x="948728" y="632872"/>
                          <a:pt x="948728" y="870725"/>
                        </a:cubicBezTo>
                        <a:cubicBezTo>
                          <a:pt x="948728" y="950010"/>
                          <a:pt x="952709" y="1028356"/>
                          <a:pt x="960481" y="1105571"/>
                        </a:cubicBezTo>
                        <a:lnTo>
                          <a:pt x="972149" y="1182705"/>
                        </a:lnTo>
                        <a:lnTo>
                          <a:pt x="905029" y="1218160"/>
                        </a:lnTo>
                        <a:cubicBezTo>
                          <a:pt x="827091" y="1250242"/>
                          <a:pt x="741401" y="1267982"/>
                          <a:pt x="651454" y="1267982"/>
                        </a:cubicBezTo>
                        <a:cubicBezTo>
                          <a:pt x="291666" y="1267982"/>
                          <a:pt x="0" y="984135"/>
                          <a:pt x="0" y="633991"/>
                        </a:cubicBezTo>
                        <a:cubicBezTo>
                          <a:pt x="0" y="283847"/>
                          <a:pt x="291666" y="0"/>
                          <a:pt x="651454" y="0"/>
                        </a:cubicBez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41" name="Freeform 140"/>
                  <p:cNvSpPr/>
                  <p:nvPr/>
                </p:nvSpPr>
                <p:spPr>
                  <a:xfrm>
                    <a:off x="7554372" y="3220625"/>
                    <a:ext cx="643410" cy="747946"/>
                  </a:xfrm>
                  <a:custGeom>
                    <a:avLst/>
                    <a:gdLst>
                      <a:gd name="connsiteX0" fmla="*/ 2876550 w 4931908"/>
                      <a:gd name="connsiteY0" fmla="*/ 0 h 5733184"/>
                      <a:gd name="connsiteX1" fmla="*/ 4910578 w 4931908"/>
                      <a:gd name="connsiteY1" fmla="*/ 839605 h 5733184"/>
                      <a:gd name="connsiteX2" fmla="*/ 4931908 w 4931908"/>
                      <a:gd name="connsiteY2" fmla="*/ 862992 h 5733184"/>
                      <a:gd name="connsiteX3" fmla="*/ 4778108 w 4931908"/>
                      <a:gd name="connsiteY3" fmla="*/ 902893 h 5733184"/>
                      <a:gd name="connsiteX4" fmla="*/ 4369959 w 4931908"/>
                      <a:gd name="connsiteY4" fmla="*/ 1076853 h 5733184"/>
                      <a:gd name="connsiteX5" fmla="*/ 4354070 w 4931908"/>
                      <a:gd name="connsiteY5" fmla="*/ 1086593 h 5733184"/>
                      <a:gd name="connsiteX6" fmla="*/ 4348834 w 4931908"/>
                      <a:gd name="connsiteY6" fmla="*/ 1081847 h 5733184"/>
                      <a:gd name="connsiteX7" fmla="*/ 2876550 w 4931908"/>
                      <a:gd name="connsiteY7" fmla="*/ 554760 h 5733184"/>
                      <a:gd name="connsiteX8" fmla="*/ 561975 w 4931908"/>
                      <a:gd name="connsiteY8" fmla="*/ 2862985 h 5733184"/>
                      <a:gd name="connsiteX9" fmla="*/ 2876550 w 4931908"/>
                      <a:gd name="connsiteY9" fmla="*/ 5171210 h 5733184"/>
                      <a:gd name="connsiteX10" fmla="*/ 3979814 w 4931908"/>
                      <a:gd name="connsiteY10" fmla="*/ 4892620 h 5733184"/>
                      <a:gd name="connsiteX11" fmla="*/ 4012295 w 4931908"/>
                      <a:gd name="connsiteY11" fmla="*/ 4872942 h 5733184"/>
                      <a:gd name="connsiteX12" fmla="*/ 4182263 w 4931908"/>
                      <a:gd name="connsiteY12" fmla="*/ 5001183 h 5733184"/>
                      <a:gd name="connsiteX13" fmla="*/ 4369959 w 4931908"/>
                      <a:gd name="connsiteY13" fmla="*/ 5116235 h 5733184"/>
                      <a:gd name="connsiteX14" fmla="*/ 4542956 w 4931908"/>
                      <a:gd name="connsiteY14" fmla="*/ 5200320 h 5733184"/>
                      <a:gd name="connsiteX15" fmla="*/ 4484857 w 4931908"/>
                      <a:gd name="connsiteY15" fmla="*/ 5243615 h 5733184"/>
                      <a:gd name="connsiteX16" fmla="*/ 2876550 w 4931908"/>
                      <a:gd name="connsiteY16" fmla="*/ 5733184 h 5733184"/>
                      <a:gd name="connsiteX17" fmla="*/ 0 w 4931908"/>
                      <a:gd name="connsiteY17" fmla="*/ 2866592 h 5733184"/>
                      <a:gd name="connsiteX18" fmla="*/ 2876550 w 4931908"/>
                      <a:gd name="connsiteY18" fmla="*/ 0 h 5733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931908" h="5733184">
                        <a:moveTo>
                          <a:pt x="2876550" y="0"/>
                        </a:moveTo>
                        <a:cubicBezTo>
                          <a:pt x="3670888" y="0"/>
                          <a:pt x="4390025" y="320854"/>
                          <a:pt x="4910578" y="839605"/>
                        </a:cubicBezTo>
                        <a:lnTo>
                          <a:pt x="4931908" y="862992"/>
                        </a:lnTo>
                        <a:lnTo>
                          <a:pt x="4778108" y="902893"/>
                        </a:lnTo>
                        <a:cubicBezTo>
                          <a:pt x="4635542" y="947634"/>
                          <a:pt x="4498984" y="1006134"/>
                          <a:pt x="4369959" y="1076853"/>
                        </a:cubicBezTo>
                        <a:lnTo>
                          <a:pt x="4354070" y="1086593"/>
                        </a:lnTo>
                        <a:lnTo>
                          <a:pt x="4348834" y="1081847"/>
                        </a:lnTo>
                        <a:cubicBezTo>
                          <a:pt x="3948740" y="752565"/>
                          <a:pt x="3435808" y="554760"/>
                          <a:pt x="2876550" y="554760"/>
                        </a:cubicBezTo>
                        <a:cubicBezTo>
                          <a:pt x="1598246" y="554760"/>
                          <a:pt x="561975" y="1588188"/>
                          <a:pt x="561975" y="2862985"/>
                        </a:cubicBezTo>
                        <a:cubicBezTo>
                          <a:pt x="561975" y="4137782"/>
                          <a:pt x="1598246" y="5171210"/>
                          <a:pt x="2876550" y="5171210"/>
                        </a:cubicBezTo>
                        <a:cubicBezTo>
                          <a:pt x="3276020" y="5171210"/>
                          <a:pt x="3651854" y="5070290"/>
                          <a:pt x="3979814" y="4892620"/>
                        </a:cubicBezTo>
                        <a:lnTo>
                          <a:pt x="4012295" y="4872942"/>
                        </a:lnTo>
                        <a:lnTo>
                          <a:pt x="4182263" y="5001183"/>
                        </a:lnTo>
                        <a:cubicBezTo>
                          <a:pt x="4242818" y="5042460"/>
                          <a:pt x="4305447" y="5080875"/>
                          <a:pt x="4369959" y="5116235"/>
                        </a:cubicBezTo>
                        <a:lnTo>
                          <a:pt x="4542956" y="5200320"/>
                        </a:lnTo>
                        <a:lnTo>
                          <a:pt x="4484857" y="5243615"/>
                        </a:lnTo>
                        <a:cubicBezTo>
                          <a:pt x="4025756" y="5552704"/>
                          <a:pt x="3472303" y="5733184"/>
                          <a:pt x="2876550" y="5733184"/>
                        </a:cubicBezTo>
                        <a:cubicBezTo>
                          <a:pt x="1287875" y="5733184"/>
                          <a:pt x="0" y="4449767"/>
                          <a:pt x="0" y="2866592"/>
                        </a:cubicBezTo>
                        <a:cubicBezTo>
                          <a:pt x="0" y="1283417"/>
                          <a:pt x="1287875" y="0"/>
                          <a:pt x="2876550" y="0"/>
                        </a:cubicBez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42" name="Freeform 141"/>
                  <p:cNvSpPr/>
                  <p:nvPr/>
                </p:nvSpPr>
                <p:spPr>
                  <a:xfrm>
                    <a:off x="7983958" y="3335278"/>
                    <a:ext cx="557784" cy="566928"/>
                  </a:xfrm>
                  <a:custGeom>
                    <a:avLst/>
                    <a:gdLst/>
                    <a:ahLst/>
                    <a:cxnLst/>
                    <a:rect l="l" t="t" r="r" b="b"/>
                    <a:pathLst>
                      <a:path w="3099162" h="3143008">
                        <a:moveTo>
                          <a:pt x="1999064" y="1245778"/>
                        </a:moveTo>
                        <a:lnTo>
                          <a:pt x="2001216" y="1245778"/>
                        </a:lnTo>
                        <a:cubicBezTo>
                          <a:pt x="2006731" y="1272090"/>
                          <a:pt x="2012649" y="1301297"/>
                          <a:pt x="2018972" y="1333398"/>
                        </a:cubicBezTo>
                        <a:cubicBezTo>
                          <a:pt x="2025294" y="1365498"/>
                          <a:pt x="2031212" y="1394436"/>
                          <a:pt x="2036727" y="1420211"/>
                        </a:cubicBezTo>
                        <a:lnTo>
                          <a:pt x="2073315" y="1587107"/>
                        </a:lnTo>
                        <a:lnTo>
                          <a:pt x="1926964" y="1587107"/>
                        </a:lnTo>
                        <a:lnTo>
                          <a:pt x="1964628" y="1420277"/>
                        </a:lnTo>
                        <a:cubicBezTo>
                          <a:pt x="1969627" y="1395412"/>
                          <a:pt x="1975232" y="1366725"/>
                          <a:pt x="1981442" y="1334213"/>
                        </a:cubicBezTo>
                        <a:cubicBezTo>
                          <a:pt x="1987652" y="1301702"/>
                          <a:pt x="1993526" y="1272223"/>
                          <a:pt x="1999064" y="1245778"/>
                        </a:cubicBezTo>
                        <a:close/>
                        <a:moveTo>
                          <a:pt x="1275811" y="1236091"/>
                        </a:moveTo>
                        <a:cubicBezTo>
                          <a:pt x="1308115" y="1236695"/>
                          <a:pt x="1335035" y="1249003"/>
                          <a:pt x="1356572" y="1273014"/>
                        </a:cubicBezTo>
                        <a:cubicBezTo>
                          <a:pt x="1378108" y="1297025"/>
                          <a:pt x="1394260" y="1329110"/>
                          <a:pt x="1405029" y="1369270"/>
                        </a:cubicBezTo>
                        <a:cubicBezTo>
                          <a:pt x="1415797" y="1409430"/>
                          <a:pt x="1421181" y="1454035"/>
                          <a:pt x="1421181" y="1503086"/>
                        </a:cubicBezTo>
                        <a:cubicBezTo>
                          <a:pt x="1421114" y="1585737"/>
                          <a:pt x="1408865" y="1652171"/>
                          <a:pt x="1384434" y="1702390"/>
                        </a:cubicBezTo>
                        <a:cubicBezTo>
                          <a:pt x="1360004" y="1752608"/>
                          <a:pt x="1323796" y="1778401"/>
                          <a:pt x="1275811" y="1779769"/>
                        </a:cubicBezTo>
                        <a:cubicBezTo>
                          <a:pt x="1227623" y="1778334"/>
                          <a:pt x="1190742" y="1752675"/>
                          <a:pt x="1165168" y="1702793"/>
                        </a:cubicBezTo>
                        <a:cubicBezTo>
                          <a:pt x="1139594" y="1652911"/>
                          <a:pt x="1126941" y="1587419"/>
                          <a:pt x="1127210" y="1506316"/>
                        </a:cubicBezTo>
                        <a:cubicBezTo>
                          <a:pt x="1127170" y="1457903"/>
                          <a:pt x="1132514" y="1413337"/>
                          <a:pt x="1143242" y="1372619"/>
                        </a:cubicBezTo>
                        <a:cubicBezTo>
                          <a:pt x="1153971" y="1331901"/>
                          <a:pt x="1170322" y="1299138"/>
                          <a:pt x="1192297" y="1274330"/>
                        </a:cubicBezTo>
                        <a:cubicBezTo>
                          <a:pt x="1214272" y="1249522"/>
                          <a:pt x="1242110" y="1236775"/>
                          <a:pt x="1275811" y="1236091"/>
                        </a:cubicBezTo>
                        <a:close/>
                        <a:moveTo>
                          <a:pt x="2444423" y="1091998"/>
                        </a:moveTo>
                        <a:lnTo>
                          <a:pt x="2444423" y="1923862"/>
                        </a:lnTo>
                        <a:lnTo>
                          <a:pt x="2909261" y="1923862"/>
                        </a:lnTo>
                        <a:lnTo>
                          <a:pt x="2909261" y="1763625"/>
                        </a:lnTo>
                        <a:lnTo>
                          <a:pt x="2633722" y="1763625"/>
                        </a:lnTo>
                        <a:lnTo>
                          <a:pt x="2633722" y="1091998"/>
                        </a:lnTo>
                        <a:close/>
                        <a:moveTo>
                          <a:pt x="1887148" y="1091998"/>
                        </a:moveTo>
                        <a:lnTo>
                          <a:pt x="1667621" y="1923862"/>
                        </a:lnTo>
                        <a:lnTo>
                          <a:pt x="1859169" y="1923862"/>
                        </a:lnTo>
                        <a:lnTo>
                          <a:pt x="1904366" y="1730124"/>
                        </a:lnTo>
                        <a:lnTo>
                          <a:pt x="2095914" y="1730124"/>
                        </a:lnTo>
                        <a:lnTo>
                          <a:pt x="2144338" y="1923862"/>
                        </a:lnTo>
                        <a:lnTo>
                          <a:pt x="2340190" y="1923862"/>
                        </a:lnTo>
                        <a:lnTo>
                          <a:pt x="2127121" y="1091998"/>
                        </a:lnTo>
                        <a:close/>
                        <a:moveTo>
                          <a:pt x="623157" y="1084463"/>
                        </a:moveTo>
                        <a:cubicBezTo>
                          <a:pt x="544305" y="1084455"/>
                          <a:pt x="472668" y="1100364"/>
                          <a:pt x="408246" y="1132192"/>
                        </a:cubicBezTo>
                        <a:cubicBezTo>
                          <a:pt x="343825" y="1164019"/>
                          <a:pt x="292385" y="1211815"/>
                          <a:pt x="253927" y="1275579"/>
                        </a:cubicBezTo>
                        <a:cubicBezTo>
                          <a:pt x="215469" y="1339344"/>
                          <a:pt x="195760" y="1419128"/>
                          <a:pt x="194799" y="1514931"/>
                        </a:cubicBezTo>
                        <a:cubicBezTo>
                          <a:pt x="194844" y="1580620"/>
                          <a:pt x="204435" y="1640807"/>
                          <a:pt x="223571" y="1695493"/>
                        </a:cubicBezTo>
                        <a:cubicBezTo>
                          <a:pt x="242708" y="1750178"/>
                          <a:pt x="271122" y="1795834"/>
                          <a:pt x="308813" y="1832461"/>
                        </a:cubicBezTo>
                        <a:cubicBezTo>
                          <a:pt x="341978" y="1864812"/>
                          <a:pt x="382693" y="1889367"/>
                          <a:pt x="430957" y="1906125"/>
                        </a:cubicBezTo>
                        <a:cubicBezTo>
                          <a:pt x="479222" y="1922883"/>
                          <a:pt x="536110" y="1931307"/>
                          <a:pt x="601620" y="1931397"/>
                        </a:cubicBezTo>
                        <a:cubicBezTo>
                          <a:pt x="647432" y="1930881"/>
                          <a:pt x="691684" y="1926535"/>
                          <a:pt x="734376" y="1918358"/>
                        </a:cubicBezTo>
                        <a:cubicBezTo>
                          <a:pt x="777068" y="1910180"/>
                          <a:pt x="811353" y="1901263"/>
                          <a:pt x="837231" y="1891607"/>
                        </a:cubicBezTo>
                        <a:lnTo>
                          <a:pt x="837231" y="1445032"/>
                        </a:lnTo>
                        <a:lnTo>
                          <a:pt x="559622" y="1445032"/>
                        </a:lnTo>
                        <a:lnTo>
                          <a:pt x="559622" y="1594507"/>
                        </a:lnTo>
                        <a:lnTo>
                          <a:pt x="658695" y="1594507"/>
                        </a:lnTo>
                        <a:lnTo>
                          <a:pt x="658695" y="1769001"/>
                        </a:lnTo>
                        <a:cubicBezTo>
                          <a:pt x="653198" y="1771671"/>
                          <a:pt x="645345" y="1773601"/>
                          <a:pt x="635138" y="1774790"/>
                        </a:cubicBezTo>
                        <a:cubicBezTo>
                          <a:pt x="624930" y="1775979"/>
                          <a:pt x="613039" y="1776563"/>
                          <a:pt x="599466" y="1776540"/>
                        </a:cubicBezTo>
                        <a:cubicBezTo>
                          <a:pt x="540956" y="1776672"/>
                          <a:pt x="492408" y="1755135"/>
                          <a:pt x="453820" y="1711930"/>
                        </a:cubicBezTo>
                        <a:cubicBezTo>
                          <a:pt x="415232" y="1668724"/>
                          <a:pt x="395220" y="1603058"/>
                          <a:pt x="393785" y="1514931"/>
                        </a:cubicBezTo>
                        <a:cubicBezTo>
                          <a:pt x="395220" y="1420875"/>
                          <a:pt x="417655" y="1352514"/>
                          <a:pt x="461089" y="1309848"/>
                        </a:cubicBezTo>
                        <a:cubicBezTo>
                          <a:pt x="504522" y="1267181"/>
                          <a:pt x="560340" y="1246183"/>
                          <a:pt x="628542" y="1246854"/>
                        </a:cubicBezTo>
                        <a:cubicBezTo>
                          <a:pt x="663179" y="1247011"/>
                          <a:pt x="692632" y="1249659"/>
                          <a:pt x="716903" y="1254797"/>
                        </a:cubicBezTo>
                        <a:cubicBezTo>
                          <a:pt x="741173" y="1259935"/>
                          <a:pt x="762282" y="1266621"/>
                          <a:pt x="780229" y="1274856"/>
                        </a:cubicBezTo>
                        <a:lnTo>
                          <a:pt x="815721" y="1117801"/>
                        </a:lnTo>
                        <a:cubicBezTo>
                          <a:pt x="797147" y="1108884"/>
                          <a:pt x="771377" y="1101177"/>
                          <a:pt x="738412" y="1094680"/>
                        </a:cubicBezTo>
                        <a:cubicBezTo>
                          <a:pt x="705447" y="1088183"/>
                          <a:pt x="667029" y="1084777"/>
                          <a:pt x="623157" y="1084463"/>
                        </a:cubicBezTo>
                        <a:close/>
                        <a:moveTo>
                          <a:pt x="1281195" y="1080158"/>
                        </a:moveTo>
                        <a:cubicBezTo>
                          <a:pt x="1206350" y="1081113"/>
                          <a:pt x="1142677" y="1100836"/>
                          <a:pt x="1090173" y="1139326"/>
                        </a:cubicBezTo>
                        <a:cubicBezTo>
                          <a:pt x="1037670" y="1177817"/>
                          <a:pt x="997606" y="1229346"/>
                          <a:pt x="969980" y="1293914"/>
                        </a:cubicBezTo>
                        <a:cubicBezTo>
                          <a:pt x="942354" y="1358482"/>
                          <a:pt x="928435" y="1430359"/>
                          <a:pt x="928224" y="1509546"/>
                        </a:cubicBezTo>
                        <a:cubicBezTo>
                          <a:pt x="928190" y="1586659"/>
                          <a:pt x="940687" y="1657300"/>
                          <a:pt x="965717" y="1721469"/>
                        </a:cubicBezTo>
                        <a:cubicBezTo>
                          <a:pt x="990746" y="1785638"/>
                          <a:pt x="1028512" y="1837127"/>
                          <a:pt x="1079015" y="1875936"/>
                        </a:cubicBezTo>
                        <a:cubicBezTo>
                          <a:pt x="1129518" y="1914745"/>
                          <a:pt x="1192963" y="1934667"/>
                          <a:pt x="1269350" y="1935702"/>
                        </a:cubicBezTo>
                        <a:cubicBezTo>
                          <a:pt x="1375804" y="1935507"/>
                          <a:pt x="1460513" y="1898527"/>
                          <a:pt x="1523476" y="1824762"/>
                        </a:cubicBezTo>
                        <a:cubicBezTo>
                          <a:pt x="1586438" y="1750997"/>
                          <a:pt x="1618669" y="1641619"/>
                          <a:pt x="1620166" y="1496627"/>
                        </a:cubicBezTo>
                        <a:cubicBezTo>
                          <a:pt x="1620466" y="1427767"/>
                          <a:pt x="1609111" y="1361791"/>
                          <a:pt x="1586100" y="1298699"/>
                        </a:cubicBezTo>
                        <a:cubicBezTo>
                          <a:pt x="1563089" y="1235606"/>
                          <a:pt x="1526625" y="1183758"/>
                          <a:pt x="1476706" y="1143154"/>
                        </a:cubicBezTo>
                        <a:cubicBezTo>
                          <a:pt x="1426788" y="1102550"/>
                          <a:pt x="1361618" y="1081552"/>
                          <a:pt x="1281195" y="1080158"/>
                        </a:cubicBezTo>
                        <a:close/>
                        <a:moveTo>
                          <a:pt x="1549581" y="0"/>
                        </a:moveTo>
                        <a:cubicBezTo>
                          <a:pt x="2405391" y="0"/>
                          <a:pt x="3099162" y="703586"/>
                          <a:pt x="3099162" y="1571504"/>
                        </a:cubicBezTo>
                        <a:cubicBezTo>
                          <a:pt x="3099162" y="2439422"/>
                          <a:pt x="2405391" y="3143008"/>
                          <a:pt x="1549581" y="3143008"/>
                        </a:cubicBezTo>
                        <a:cubicBezTo>
                          <a:pt x="693771" y="3143008"/>
                          <a:pt x="0" y="2439422"/>
                          <a:pt x="0" y="1571504"/>
                        </a:cubicBezTo>
                        <a:cubicBezTo>
                          <a:pt x="0" y="703586"/>
                          <a:pt x="693771" y="0"/>
                          <a:pt x="1549581" y="0"/>
                        </a:cubicBezTo>
                        <a:close/>
                      </a:path>
                    </a:pathLst>
                  </a:custGeom>
                  <a:grpFill/>
                  <a:ln w="19050" cap="flat" cmpd="sng" algn="ctr">
                    <a:solidFill>
                      <a:schemeClr val="bg1"/>
                    </a:solidFill>
                    <a:prstDash val="solid"/>
                    <a:miter lim="800000"/>
                  </a:ln>
                  <a:effectLst/>
                </p:spPr>
                <p:txBody>
                  <a:bodyPr wrap="square" rtlCol="0" anchor="ctr">
                    <a:noAutofit/>
                  </a:bodyP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grpSp>
          </p:grpSp>
          <p:grpSp>
            <p:nvGrpSpPr>
              <p:cNvPr id="72" name="Group 71"/>
              <p:cNvGrpSpPr/>
              <p:nvPr/>
            </p:nvGrpSpPr>
            <p:grpSpPr>
              <a:xfrm>
                <a:off x="3594692" y="1465931"/>
                <a:ext cx="2007362" cy="1052986"/>
                <a:chOff x="3594692" y="1465931"/>
                <a:chExt cx="2007362" cy="1052986"/>
              </a:xfrm>
            </p:grpSpPr>
            <p:sp>
              <p:nvSpPr>
                <p:cNvPr id="130" name="Freeform 129"/>
                <p:cNvSpPr/>
                <p:nvPr/>
              </p:nvSpPr>
              <p:spPr>
                <a:xfrm>
                  <a:off x="3594692" y="1465931"/>
                  <a:ext cx="2007362" cy="1052986"/>
                </a:xfrm>
                <a:custGeom>
                  <a:avLst/>
                  <a:gdLst>
                    <a:gd name="connsiteX0" fmla="*/ 1628178 w 1824316"/>
                    <a:gd name="connsiteY0" fmla="*/ 0 h 956968"/>
                    <a:gd name="connsiteX1" fmla="*/ 1552107 w 1824316"/>
                    <a:gd name="connsiteY1" fmla="*/ 477196 h 956968"/>
                    <a:gd name="connsiteX2" fmla="*/ 1434046 w 1824316"/>
                    <a:gd name="connsiteY2" fmla="*/ 683829 h 956968"/>
                    <a:gd name="connsiteX3" fmla="*/ 1409148 w 1824316"/>
                    <a:gd name="connsiteY3" fmla="*/ 747836 h 956968"/>
                    <a:gd name="connsiteX4" fmla="*/ 1029756 w 1824316"/>
                    <a:gd name="connsiteY4" fmla="*/ 747836 h 956968"/>
                    <a:gd name="connsiteX5" fmla="*/ 1030060 w 1824316"/>
                    <a:gd name="connsiteY5" fmla="*/ 758913 h 956968"/>
                    <a:gd name="connsiteX6" fmla="*/ 1050721 w 1824316"/>
                    <a:gd name="connsiteY6" fmla="*/ 794133 h 956968"/>
                    <a:gd name="connsiteX7" fmla="*/ 907260 w 1824316"/>
                    <a:gd name="connsiteY7" fmla="*/ 956735 h 956968"/>
                    <a:gd name="connsiteX8" fmla="*/ 777380 w 1824316"/>
                    <a:gd name="connsiteY8" fmla="*/ 799161 h 956968"/>
                    <a:gd name="connsiteX9" fmla="*/ 798623 w 1824316"/>
                    <a:gd name="connsiteY9" fmla="*/ 765188 h 956968"/>
                    <a:gd name="connsiteX10" fmla="*/ 801573 w 1824316"/>
                    <a:gd name="connsiteY10" fmla="*/ 747836 h 956968"/>
                    <a:gd name="connsiteX11" fmla="*/ 390709 w 1824316"/>
                    <a:gd name="connsiteY11" fmla="*/ 747836 h 956968"/>
                    <a:gd name="connsiteX12" fmla="*/ 363445 w 1824316"/>
                    <a:gd name="connsiteY12" fmla="*/ 676707 h 956968"/>
                    <a:gd name="connsiteX13" fmla="*/ 244995 w 1824316"/>
                    <a:gd name="connsiteY13" fmla="*/ 463371 h 956968"/>
                    <a:gd name="connsiteX14" fmla="*/ 203502 w 1824316"/>
                    <a:gd name="connsiteY14" fmla="*/ 20748 h 956968"/>
                    <a:gd name="connsiteX15" fmla="*/ 666860 w 1824316"/>
                    <a:gd name="connsiteY15" fmla="*/ 3 h 956968"/>
                    <a:gd name="connsiteX16" fmla="*/ 1137143 w 1824316"/>
                    <a:gd name="connsiteY16" fmla="*/ 3 h 956968"/>
                    <a:gd name="connsiteX17" fmla="*/ 1628178 w 1824316"/>
                    <a:gd name="connsiteY17" fmla="*/ 0 h 956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824316" h="956968">
                      <a:moveTo>
                        <a:pt x="1628178" y="0"/>
                      </a:moveTo>
                      <a:cubicBezTo>
                        <a:pt x="1994723" y="20745"/>
                        <a:pt x="1775716" y="296229"/>
                        <a:pt x="1552107" y="477196"/>
                      </a:cubicBezTo>
                      <a:cubicBezTo>
                        <a:pt x="1506218" y="537962"/>
                        <a:pt x="1467057" y="608601"/>
                        <a:pt x="1434046" y="683829"/>
                      </a:cubicBezTo>
                      <a:lnTo>
                        <a:pt x="1409148" y="747836"/>
                      </a:lnTo>
                      <a:lnTo>
                        <a:pt x="1029756" y="747836"/>
                      </a:lnTo>
                      <a:lnTo>
                        <a:pt x="1030060" y="758913"/>
                      </a:lnTo>
                      <a:cubicBezTo>
                        <a:pt x="1033301" y="769799"/>
                        <a:pt x="1039848" y="781592"/>
                        <a:pt x="1050721" y="794133"/>
                      </a:cubicBezTo>
                      <a:cubicBezTo>
                        <a:pt x="1146080" y="901138"/>
                        <a:pt x="1020975" y="961206"/>
                        <a:pt x="907260" y="956735"/>
                      </a:cubicBezTo>
                      <a:cubicBezTo>
                        <a:pt x="746820" y="953662"/>
                        <a:pt x="714103" y="875154"/>
                        <a:pt x="777380" y="799161"/>
                      </a:cubicBezTo>
                      <a:cubicBezTo>
                        <a:pt x="787156" y="787376"/>
                        <a:pt x="794229" y="775983"/>
                        <a:pt x="798623" y="765188"/>
                      </a:cubicBezTo>
                      <a:lnTo>
                        <a:pt x="801573" y="747836"/>
                      </a:lnTo>
                      <a:lnTo>
                        <a:pt x="390709" y="747836"/>
                      </a:lnTo>
                      <a:lnTo>
                        <a:pt x="363445" y="676707"/>
                      </a:lnTo>
                      <a:cubicBezTo>
                        <a:pt x="330211" y="599545"/>
                        <a:pt x="290885" y="526660"/>
                        <a:pt x="244995" y="463371"/>
                      </a:cubicBezTo>
                      <a:cubicBezTo>
                        <a:pt x="-59308" y="233994"/>
                        <a:pt x="-88118" y="16138"/>
                        <a:pt x="203502" y="20748"/>
                      </a:cubicBezTo>
                      <a:cubicBezTo>
                        <a:pt x="323376" y="55329"/>
                        <a:pt x="457082" y="165980"/>
                        <a:pt x="666860" y="3"/>
                      </a:cubicBezTo>
                      <a:cubicBezTo>
                        <a:pt x="802872" y="57636"/>
                        <a:pt x="911222" y="191343"/>
                        <a:pt x="1137143" y="3"/>
                      </a:cubicBezTo>
                      <a:cubicBezTo>
                        <a:pt x="1393033" y="96824"/>
                        <a:pt x="1420700" y="82993"/>
                        <a:pt x="1628178" y="0"/>
                      </a:cubicBezTo>
                      <a:close/>
                    </a:path>
                  </a:pathLst>
                </a:custGeom>
                <a:solidFill>
                  <a:srgbClr val="6D2077"/>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131" name="Group 130"/>
                <p:cNvGrpSpPr/>
                <p:nvPr/>
              </p:nvGrpSpPr>
              <p:grpSpPr>
                <a:xfrm>
                  <a:off x="4435672" y="1683814"/>
                  <a:ext cx="272657" cy="458032"/>
                  <a:chOff x="7971254" y="4072140"/>
                  <a:chExt cx="513604" cy="862800"/>
                </a:xfrm>
                <a:solidFill>
                  <a:schemeClr val="bg1"/>
                </a:solidFill>
                <a:effectLst/>
              </p:grpSpPr>
              <p:sp>
                <p:nvSpPr>
                  <p:cNvPr id="132" name="Freeform 131"/>
                  <p:cNvSpPr/>
                  <p:nvPr/>
                </p:nvSpPr>
                <p:spPr>
                  <a:xfrm>
                    <a:off x="7990077" y="4390515"/>
                    <a:ext cx="494781" cy="127218"/>
                  </a:xfrm>
                  <a:custGeom>
                    <a:avLst/>
                    <a:gdLst>
                      <a:gd name="connsiteX0" fmla="*/ 421736 w 6038661"/>
                      <a:gd name="connsiteY0" fmla="*/ 0 h 1552669"/>
                      <a:gd name="connsiteX1" fmla="*/ 5616925 w 6038661"/>
                      <a:gd name="connsiteY1" fmla="*/ 0 h 1552669"/>
                      <a:gd name="connsiteX2" fmla="*/ 6038661 w 6038661"/>
                      <a:gd name="connsiteY2" fmla="*/ 421736 h 1552669"/>
                      <a:gd name="connsiteX3" fmla="*/ 6038661 w 6038661"/>
                      <a:gd name="connsiteY3" fmla="*/ 1130933 h 1552669"/>
                      <a:gd name="connsiteX4" fmla="*/ 5616925 w 6038661"/>
                      <a:gd name="connsiteY4" fmla="*/ 1552669 h 1552669"/>
                      <a:gd name="connsiteX5" fmla="*/ 421736 w 6038661"/>
                      <a:gd name="connsiteY5" fmla="*/ 1552669 h 1552669"/>
                      <a:gd name="connsiteX6" fmla="*/ 0 w 6038661"/>
                      <a:gd name="connsiteY6" fmla="*/ 1130933 h 1552669"/>
                      <a:gd name="connsiteX7" fmla="*/ 0 w 6038661"/>
                      <a:gd name="connsiteY7" fmla="*/ 421736 h 1552669"/>
                      <a:gd name="connsiteX8" fmla="*/ 421736 w 6038661"/>
                      <a:gd name="connsiteY8" fmla="*/ 0 h 1552669"/>
                      <a:gd name="connsiteX9" fmla="*/ 770393 w 6038661"/>
                      <a:gd name="connsiteY9" fmla="*/ 312392 h 1552669"/>
                      <a:gd name="connsiteX10" fmla="*/ 382911 w 6038661"/>
                      <a:gd name="connsiteY10" fmla="*/ 314771 h 1552669"/>
                      <a:gd name="connsiteX11" fmla="*/ 282920 w 6038661"/>
                      <a:gd name="connsiteY11" fmla="*/ 414762 h 1552669"/>
                      <a:gd name="connsiteX12" fmla="*/ 282920 w 6038661"/>
                      <a:gd name="connsiteY12" fmla="*/ 1143470 h 1552669"/>
                      <a:gd name="connsiteX13" fmla="*/ 382911 w 6038661"/>
                      <a:gd name="connsiteY13" fmla="*/ 1243461 h 1552669"/>
                      <a:gd name="connsiteX14" fmla="*/ 761432 w 6038661"/>
                      <a:gd name="connsiteY14" fmla="*/ 1241080 h 1552669"/>
                      <a:gd name="connsiteX15" fmla="*/ 697117 w 6038661"/>
                      <a:gd name="connsiteY15" fmla="*/ 1138708 h 1552669"/>
                      <a:gd name="connsiteX16" fmla="*/ 697117 w 6038661"/>
                      <a:gd name="connsiteY16" fmla="*/ 414762 h 1552669"/>
                      <a:gd name="connsiteX17" fmla="*/ 770393 w 6038661"/>
                      <a:gd name="connsiteY17" fmla="*/ 312392 h 1552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038661" h="1552669">
                        <a:moveTo>
                          <a:pt x="421736" y="0"/>
                        </a:moveTo>
                        <a:lnTo>
                          <a:pt x="5616925" y="0"/>
                        </a:lnTo>
                        <a:cubicBezTo>
                          <a:pt x="5849843" y="0"/>
                          <a:pt x="6038661" y="188818"/>
                          <a:pt x="6038661" y="421736"/>
                        </a:cubicBezTo>
                        <a:lnTo>
                          <a:pt x="6038661" y="1130933"/>
                        </a:lnTo>
                        <a:cubicBezTo>
                          <a:pt x="6038661" y="1363851"/>
                          <a:pt x="5849843" y="1552669"/>
                          <a:pt x="5616925" y="1552669"/>
                        </a:cubicBezTo>
                        <a:lnTo>
                          <a:pt x="421736" y="1552669"/>
                        </a:lnTo>
                        <a:cubicBezTo>
                          <a:pt x="188818" y="1552669"/>
                          <a:pt x="0" y="1363851"/>
                          <a:pt x="0" y="1130933"/>
                        </a:cubicBezTo>
                        <a:lnTo>
                          <a:pt x="0" y="421736"/>
                        </a:lnTo>
                        <a:cubicBezTo>
                          <a:pt x="0" y="188818"/>
                          <a:pt x="188818" y="0"/>
                          <a:pt x="421736" y="0"/>
                        </a:cubicBezTo>
                        <a:close/>
                        <a:moveTo>
                          <a:pt x="770393" y="312392"/>
                        </a:moveTo>
                        <a:lnTo>
                          <a:pt x="382911" y="314771"/>
                        </a:lnTo>
                        <a:cubicBezTo>
                          <a:pt x="327687" y="314771"/>
                          <a:pt x="282920" y="359538"/>
                          <a:pt x="282920" y="414762"/>
                        </a:cubicBezTo>
                        <a:lnTo>
                          <a:pt x="282920" y="1143470"/>
                        </a:lnTo>
                        <a:cubicBezTo>
                          <a:pt x="282920" y="1198694"/>
                          <a:pt x="327687" y="1243461"/>
                          <a:pt x="382911" y="1243461"/>
                        </a:cubicBezTo>
                        <a:lnTo>
                          <a:pt x="761432" y="1241080"/>
                        </a:lnTo>
                        <a:cubicBezTo>
                          <a:pt x="757125" y="1243461"/>
                          <a:pt x="706642" y="1217744"/>
                          <a:pt x="697117" y="1138708"/>
                        </a:cubicBezTo>
                        <a:lnTo>
                          <a:pt x="697117" y="414762"/>
                        </a:lnTo>
                        <a:cubicBezTo>
                          <a:pt x="721633" y="303634"/>
                          <a:pt x="753720" y="321913"/>
                          <a:pt x="770393" y="312392"/>
                        </a:cubicBez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sp>
                <p:nvSpPr>
                  <p:cNvPr id="133" name="Freeform 132"/>
                  <p:cNvSpPr/>
                  <p:nvPr/>
                </p:nvSpPr>
                <p:spPr>
                  <a:xfrm>
                    <a:off x="8016388" y="4528715"/>
                    <a:ext cx="432493" cy="406225"/>
                  </a:xfrm>
                  <a:custGeom>
                    <a:avLst/>
                    <a:gdLst>
                      <a:gd name="connsiteX0" fmla="*/ 0 w 5278452"/>
                      <a:gd name="connsiteY0" fmla="*/ 0 h 4957877"/>
                      <a:gd name="connsiteX1" fmla="*/ 5278452 w 5278452"/>
                      <a:gd name="connsiteY1" fmla="*/ 0 h 4957877"/>
                      <a:gd name="connsiteX2" fmla="*/ 3420390 w 5278452"/>
                      <a:gd name="connsiteY2" fmla="*/ 3275587 h 4957877"/>
                      <a:gd name="connsiteX3" fmla="*/ 3420390 w 5278452"/>
                      <a:gd name="connsiteY3" fmla="*/ 4957877 h 4957877"/>
                      <a:gd name="connsiteX4" fmla="*/ 1915897 w 5278452"/>
                      <a:gd name="connsiteY4" fmla="*/ 4957877 h 4957877"/>
                      <a:gd name="connsiteX5" fmla="*/ 1915897 w 5278452"/>
                      <a:gd name="connsiteY5" fmla="*/ 3377544 h 4957877"/>
                      <a:gd name="connsiteX6" fmla="*/ 0 w 5278452"/>
                      <a:gd name="connsiteY6" fmla="*/ 0 h 4957877"/>
                      <a:gd name="connsiteX7" fmla="*/ 503895 w 5278452"/>
                      <a:gd name="connsiteY7" fmla="*/ 333717 h 4957877"/>
                      <a:gd name="connsiteX8" fmla="*/ 2183184 w 5278452"/>
                      <a:gd name="connsiteY8" fmla="*/ 3267757 h 4957877"/>
                      <a:gd name="connsiteX9" fmla="*/ 2183184 w 5278452"/>
                      <a:gd name="connsiteY9" fmla="*/ 4663459 h 4957877"/>
                      <a:gd name="connsiteX10" fmla="*/ 2679171 w 5278452"/>
                      <a:gd name="connsiteY10" fmla="*/ 4663458 h 4957877"/>
                      <a:gd name="connsiteX11" fmla="*/ 2678617 w 5278452"/>
                      <a:gd name="connsiteY11" fmla="*/ 3254545 h 4957877"/>
                      <a:gd name="connsiteX12" fmla="*/ 1009625 w 5278452"/>
                      <a:gd name="connsiteY12" fmla="*/ 335411 h 4957877"/>
                      <a:gd name="connsiteX13" fmla="*/ 503895 w 5278452"/>
                      <a:gd name="connsiteY13" fmla="*/ 333717 h 4957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8452" h="4957877">
                        <a:moveTo>
                          <a:pt x="0" y="0"/>
                        </a:moveTo>
                        <a:lnTo>
                          <a:pt x="5278452" y="0"/>
                        </a:lnTo>
                        <a:lnTo>
                          <a:pt x="3420390" y="3275587"/>
                        </a:lnTo>
                        <a:lnTo>
                          <a:pt x="3420390" y="4957877"/>
                        </a:lnTo>
                        <a:lnTo>
                          <a:pt x="1915897" y="4957877"/>
                        </a:lnTo>
                        <a:lnTo>
                          <a:pt x="1915897" y="3377544"/>
                        </a:lnTo>
                        <a:lnTo>
                          <a:pt x="0" y="0"/>
                        </a:lnTo>
                        <a:close/>
                        <a:moveTo>
                          <a:pt x="503895" y="333717"/>
                        </a:moveTo>
                        <a:lnTo>
                          <a:pt x="2183184" y="3267757"/>
                        </a:lnTo>
                        <a:lnTo>
                          <a:pt x="2183184" y="4663459"/>
                        </a:lnTo>
                        <a:lnTo>
                          <a:pt x="2679171" y="4663458"/>
                        </a:lnTo>
                        <a:lnTo>
                          <a:pt x="2678617" y="3254545"/>
                        </a:lnTo>
                        <a:lnTo>
                          <a:pt x="1009625" y="335411"/>
                        </a:lnTo>
                        <a:lnTo>
                          <a:pt x="503895" y="333717"/>
                        </a:ln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sp>
                <p:nvSpPr>
                  <p:cNvPr id="134" name="TextBox 133"/>
                  <p:cNvSpPr txBox="1"/>
                  <p:nvPr/>
                </p:nvSpPr>
                <p:spPr>
                  <a:xfrm>
                    <a:off x="7971254" y="4142570"/>
                    <a:ext cx="287779" cy="287699"/>
                  </a:xfrm>
                  <a:custGeom>
                    <a:avLst/>
                    <a:gdLst>
                      <a:gd name="connsiteX0" fmla="*/ 1932017 w 3512268"/>
                      <a:gd name="connsiteY0" fmla="*/ 412359 h 3511296"/>
                      <a:gd name="connsiteX1" fmla="*/ 1604425 w 3512268"/>
                      <a:gd name="connsiteY1" fmla="*/ 412360 h 3511296"/>
                      <a:gd name="connsiteX2" fmla="*/ 1604424 w 3512268"/>
                      <a:gd name="connsiteY2" fmla="*/ 724106 h 3511296"/>
                      <a:gd name="connsiteX3" fmla="*/ 1181490 w 3512268"/>
                      <a:gd name="connsiteY3" fmla="*/ 962873 h 3511296"/>
                      <a:gd name="connsiteX4" fmla="*/ 1355941 w 3512268"/>
                      <a:gd name="connsiteY4" fmla="*/ 1799357 h 3511296"/>
                      <a:gd name="connsiteX5" fmla="*/ 1889401 w 3512268"/>
                      <a:gd name="connsiteY5" fmla="*/ 2035750 h 3511296"/>
                      <a:gd name="connsiteX6" fmla="*/ 1121267 w 3512268"/>
                      <a:gd name="connsiteY6" fmla="*/ 2245529 h 3511296"/>
                      <a:gd name="connsiteX7" fmla="*/ 1027221 w 3512268"/>
                      <a:gd name="connsiteY7" fmla="*/ 2648548 h 3511296"/>
                      <a:gd name="connsiteX8" fmla="*/ 1580034 w 3512268"/>
                      <a:gd name="connsiteY8" fmla="*/ 2794846 h 3511296"/>
                      <a:gd name="connsiteX9" fmla="*/ 1579428 w 3512268"/>
                      <a:gd name="connsiteY9" fmla="*/ 3095619 h 3511296"/>
                      <a:gd name="connsiteX10" fmla="*/ 1908676 w 3512268"/>
                      <a:gd name="connsiteY10" fmla="*/ 3095618 h 3511296"/>
                      <a:gd name="connsiteX11" fmla="*/ 1908467 w 3512268"/>
                      <a:gd name="connsiteY11" fmla="*/ 2749511 h 3511296"/>
                      <a:gd name="connsiteX12" fmla="*/ 2214178 w 3512268"/>
                      <a:gd name="connsiteY12" fmla="*/ 1681436 h 3511296"/>
                      <a:gd name="connsiteX13" fmla="*/ 1618617 w 3512268"/>
                      <a:gd name="connsiteY13" fmla="*/ 1131913 h 3511296"/>
                      <a:gd name="connsiteX14" fmla="*/ 2295270 w 3512268"/>
                      <a:gd name="connsiteY14" fmla="*/ 1186572 h 3511296"/>
                      <a:gd name="connsiteX15" fmla="*/ 2404584 w 3512268"/>
                      <a:gd name="connsiteY15" fmla="*/ 812780 h 3511296"/>
                      <a:gd name="connsiteX16" fmla="*/ 1932017 w 3512268"/>
                      <a:gd name="connsiteY16" fmla="*/ 707987 h 3511296"/>
                      <a:gd name="connsiteX17" fmla="*/ 1756134 w 3512268"/>
                      <a:gd name="connsiteY17" fmla="*/ 0 h 3511296"/>
                      <a:gd name="connsiteX18" fmla="*/ 3512268 w 3512268"/>
                      <a:gd name="connsiteY18" fmla="*/ 1755648 h 3511296"/>
                      <a:gd name="connsiteX19" fmla="*/ 1756134 w 3512268"/>
                      <a:gd name="connsiteY19" fmla="*/ 3511296 h 3511296"/>
                      <a:gd name="connsiteX20" fmla="*/ 0 w 3512268"/>
                      <a:gd name="connsiteY20" fmla="*/ 1755648 h 3511296"/>
                      <a:gd name="connsiteX21" fmla="*/ 1756134 w 3512268"/>
                      <a:gd name="connsiteY21" fmla="*/ 0 h 3511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12268" h="3511296">
                        <a:moveTo>
                          <a:pt x="1932017" y="412359"/>
                        </a:moveTo>
                        <a:lnTo>
                          <a:pt x="1604425" y="412360"/>
                        </a:lnTo>
                        <a:cubicBezTo>
                          <a:pt x="1605768" y="521649"/>
                          <a:pt x="1603081" y="618847"/>
                          <a:pt x="1604424" y="724106"/>
                        </a:cubicBezTo>
                        <a:cubicBezTo>
                          <a:pt x="1399499" y="786875"/>
                          <a:pt x="1269268" y="843628"/>
                          <a:pt x="1181490" y="962873"/>
                        </a:cubicBezTo>
                        <a:cubicBezTo>
                          <a:pt x="1075597" y="1117902"/>
                          <a:pt x="873109" y="1523090"/>
                          <a:pt x="1355941" y="1799357"/>
                        </a:cubicBezTo>
                        <a:cubicBezTo>
                          <a:pt x="1663333" y="1957349"/>
                          <a:pt x="1773054" y="1962602"/>
                          <a:pt x="1889401" y="2035750"/>
                        </a:cubicBezTo>
                        <a:cubicBezTo>
                          <a:pt x="2196864" y="2315638"/>
                          <a:pt x="1724696" y="2580326"/>
                          <a:pt x="1121267" y="2245529"/>
                        </a:cubicBezTo>
                        <a:lnTo>
                          <a:pt x="1027221" y="2648548"/>
                        </a:lnTo>
                        <a:cubicBezTo>
                          <a:pt x="1205132" y="2711447"/>
                          <a:pt x="1380923" y="2759506"/>
                          <a:pt x="1580034" y="2794846"/>
                        </a:cubicBezTo>
                        <a:cubicBezTo>
                          <a:pt x="1577006" y="2883797"/>
                          <a:pt x="1578217" y="2998188"/>
                          <a:pt x="1579428" y="3095619"/>
                        </a:cubicBezTo>
                        <a:lnTo>
                          <a:pt x="1908676" y="3095618"/>
                        </a:lnTo>
                        <a:cubicBezTo>
                          <a:pt x="1908606" y="2980250"/>
                          <a:pt x="1908536" y="2864880"/>
                          <a:pt x="1908467" y="2749511"/>
                        </a:cubicBezTo>
                        <a:cubicBezTo>
                          <a:pt x="2226171" y="2771062"/>
                          <a:pt x="2894411" y="2154050"/>
                          <a:pt x="2214178" y="1681436"/>
                        </a:cubicBezTo>
                        <a:cubicBezTo>
                          <a:pt x="1968386" y="1471940"/>
                          <a:pt x="1357259" y="1446110"/>
                          <a:pt x="1618617" y="1131913"/>
                        </a:cubicBezTo>
                        <a:cubicBezTo>
                          <a:pt x="1734896" y="1059511"/>
                          <a:pt x="2033377" y="1033264"/>
                          <a:pt x="2295270" y="1186572"/>
                        </a:cubicBezTo>
                        <a:lnTo>
                          <a:pt x="2404584" y="812780"/>
                        </a:lnTo>
                        <a:cubicBezTo>
                          <a:pt x="2264252" y="758339"/>
                          <a:pt x="2216881" y="742215"/>
                          <a:pt x="1932017" y="707987"/>
                        </a:cubicBezTo>
                        <a:close/>
                        <a:moveTo>
                          <a:pt x="1756134" y="0"/>
                        </a:moveTo>
                        <a:cubicBezTo>
                          <a:pt x="2726020" y="0"/>
                          <a:pt x="3512268" y="786030"/>
                          <a:pt x="3512268" y="1755648"/>
                        </a:cubicBezTo>
                        <a:cubicBezTo>
                          <a:pt x="3512268" y="2725266"/>
                          <a:pt x="2726020" y="3511296"/>
                          <a:pt x="1756134" y="3511296"/>
                        </a:cubicBezTo>
                        <a:cubicBezTo>
                          <a:pt x="786248" y="3511296"/>
                          <a:pt x="0" y="2725266"/>
                          <a:pt x="0" y="1755648"/>
                        </a:cubicBezTo>
                        <a:cubicBezTo>
                          <a:pt x="0" y="786030"/>
                          <a:pt x="786248" y="0"/>
                          <a:pt x="1756134" y="0"/>
                        </a:cubicBezTo>
                        <a:close/>
                      </a:path>
                    </a:pathLst>
                  </a:custGeom>
                  <a:grpFill/>
                  <a:ln w="19050">
                    <a:solidFill>
                      <a:schemeClr val="bg1"/>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endParaRPr lang="en-US" sz="30000" kern="0" dirty="0">
                      <a:solidFill>
                        <a:prstClr val="black"/>
                      </a:solidFill>
                      <a:latin typeface="Univers for KPMG" panose="020B0603020202020204" pitchFamily="34" charset="0"/>
                      <a:cs typeface="Arial" panose="020B0604020202020204" pitchFamily="34" charset="0"/>
                    </a:endParaRPr>
                  </a:p>
                </p:txBody>
              </p:sp>
              <p:sp>
                <p:nvSpPr>
                  <p:cNvPr id="135" name="TextBox 134"/>
                  <p:cNvSpPr txBox="1"/>
                  <p:nvPr/>
                </p:nvSpPr>
                <p:spPr>
                  <a:xfrm>
                    <a:off x="8238354" y="4072140"/>
                    <a:ext cx="148092" cy="148148"/>
                  </a:xfrm>
                  <a:custGeom>
                    <a:avLst/>
                    <a:gdLst>
                      <a:gd name="connsiteX0" fmla="*/ 993772 w 1807424"/>
                      <a:gd name="connsiteY0" fmla="*/ 201753 h 1808112"/>
                      <a:gd name="connsiteX1" fmla="*/ 823094 w 1807424"/>
                      <a:gd name="connsiteY1" fmla="*/ 201754 h 1808112"/>
                      <a:gd name="connsiteX2" fmla="*/ 823094 w 1807424"/>
                      <a:gd name="connsiteY2" fmla="*/ 364175 h 1808112"/>
                      <a:gd name="connsiteX3" fmla="*/ 602742 w 1807424"/>
                      <a:gd name="connsiteY3" fmla="*/ 488574 h 1808112"/>
                      <a:gd name="connsiteX4" fmla="*/ 693632 w 1807424"/>
                      <a:gd name="connsiteY4" fmla="*/ 924388 h 1808112"/>
                      <a:gd name="connsiteX5" fmla="*/ 971569 w 1807424"/>
                      <a:gd name="connsiteY5" fmla="*/ 1047551 h 1808112"/>
                      <a:gd name="connsiteX6" fmla="*/ 571366 w 1807424"/>
                      <a:gd name="connsiteY6" fmla="*/ 1156847 h 1808112"/>
                      <a:gd name="connsiteX7" fmla="*/ 522367 w 1807424"/>
                      <a:gd name="connsiteY7" fmla="*/ 1366822 h 1808112"/>
                      <a:gd name="connsiteX8" fmla="*/ 810386 w 1807424"/>
                      <a:gd name="connsiteY8" fmla="*/ 1443044 h 1808112"/>
                      <a:gd name="connsiteX9" fmla="*/ 810071 w 1807424"/>
                      <a:gd name="connsiteY9" fmla="*/ 1599749 h 1808112"/>
                      <a:gd name="connsiteX10" fmla="*/ 981611 w 1807424"/>
                      <a:gd name="connsiteY10" fmla="*/ 1599749 h 1808112"/>
                      <a:gd name="connsiteX11" fmla="*/ 981502 w 1807424"/>
                      <a:gd name="connsiteY11" fmla="*/ 1419425 h 1808112"/>
                      <a:gd name="connsiteX12" fmla="*/ 1140780 w 1807424"/>
                      <a:gd name="connsiteY12" fmla="*/ 862951 h 1808112"/>
                      <a:gd name="connsiteX13" fmla="*/ 830488 w 1807424"/>
                      <a:gd name="connsiteY13" fmla="*/ 576645 h 1808112"/>
                      <a:gd name="connsiteX14" fmla="*/ 1183029 w 1807424"/>
                      <a:gd name="connsiteY14" fmla="*/ 605123 h 1808112"/>
                      <a:gd name="connsiteX15" fmla="*/ 1239983 w 1807424"/>
                      <a:gd name="connsiteY15" fmla="*/ 410375 h 1808112"/>
                      <a:gd name="connsiteX16" fmla="*/ 993772 w 1807424"/>
                      <a:gd name="connsiteY16" fmla="*/ 355777 h 1808112"/>
                      <a:gd name="connsiteX17" fmla="*/ 903712 w 1807424"/>
                      <a:gd name="connsiteY17" fmla="*/ 0 h 1808112"/>
                      <a:gd name="connsiteX18" fmla="*/ 1807424 w 1807424"/>
                      <a:gd name="connsiteY18" fmla="*/ 904056 h 1808112"/>
                      <a:gd name="connsiteX19" fmla="*/ 903712 w 1807424"/>
                      <a:gd name="connsiteY19" fmla="*/ 1808112 h 1808112"/>
                      <a:gd name="connsiteX20" fmla="*/ 0 w 1807424"/>
                      <a:gd name="connsiteY20" fmla="*/ 904056 h 1808112"/>
                      <a:gd name="connsiteX21" fmla="*/ 903712 w 1807424"/>
                      <a:gd name="connsiteY21" fmla="*/ 0 h 1808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807424" h="1808112">
                        <a:moveTo>
                          <a:pt x="993772" y="201753"/>
                        </a:moveTo>
                        <a:lnTo>
                          <a:pt x="823094" y="201754"/>
                        </a:lnTo>
                        <a:cubicBezTo>
                          <a:pt x="823794" y="258694"/>
                          <a:pt x="822394" y="309335"/>
                          <a:pt x="823094" y="364175"/>
                        </a:cubicBezTo>
                        <a:cubicBezTo>
                          <a:pt x="716327" y="396878"/>
                          <a:pt x="648475" y="426447"/>
                          <a:pt x="602742" y="488574"/>
                        </a:cubicBezTo>
                        <a:cubicBezTo>
                          <a:pt x="547571" y="569346"/>
                          <a:pt x="442073" y="780451"/>
                          <a:pt x="693632" y="924388"/>
                        </a:cubicBezTo>
                        <a:cubicBezTo>
                          <a:pt x="853786" y="1006703"/>
                          <a:pt x="910951" y="1009440"/>
                          <a:pt x="971569" y="1047551"/>
                        </a:cubicBezTo>
                        <a:cubicBezTo>
                          <a:pt x="1131759" y="1193374"/>
                          <a:pt x="885756" y="1331278"/>
                          <a:pt x="571366" y="1156847"/>
                        </a:cubicBezTo>
                        <a:lnTo>
                          <a:pt x="522367" y="1366822"/>
                        </a:lnTo>
                        <a:cubicBezTo>
                          <a:pt x="615060" y="1399593"/>
                          <a:pt x="706648" y="1424632"/>
                          <a:pt x="810386" y="1443044"/>
                        </a:cubicBezTo>
                        <a:cubicBezTo>
                          <a:pt x="808809" y="1489388"/>
                          <a:pt x="809440" y="1548987"/>
                          <a:pt x="810071" y="1599749"/>
                        </a:cubicBezTo>
                        <a:lnTo>
                          <a:pt x="981611" y="1599749"/>
                        </a:lnTo>
                        <a:cubicBezTo>
                          <a:pt x="981575" y="1539641"/>
                          <a:pt x="981538" y="1479533"/>
                          <a:pt x="981502" y="1419425"/>
                        </a:cubicBezTo>
                        <a:cubicBezTo>
                          <a:pt x="1147028" y="1430653"/>
                          <a:pt x="1495186" y="1109185"/>
                          <a:pt x="1140780" y="862951"/>
                        </a:cubicBezTo>
                        <a:cubicBezTo>
                          <a:pt x="1012721" y="753802"/>
                          <a:pt x="694319" y="740344"/>
                          <a:pt x="830488" y="576645"/>
                        </a:cubicBezTo>
                        <a:cubicBezTo>
                          <a:pt x="891071" y="538924"/>
                          <a:pt x="1046581" y="525249"/>
                          <a:pt x="1183029" y="605123"/>
                        </a:cubicBezTo>
                        <a:lnTo>
                          <a:pt x="1239983" y="410375"/>
                        </a:lnTo>
                        <a:cubicBezTo>
                          <a:pt x="1166868" y="382011"/>
                          <a:pt x="1142188" y="373610"/>
                          <a:pt x="993772" y="355777"/>
                        </a:cubicBezTo>
                        <a:close/>
                        <a:moveTo>
                          <a:pt x="903712" y="0"/>
                        </a:moveTo>
                        <a:cubicBezTo>
                          <a:pt x="1402818" y="0"/>
                          <a:pt x="1807424" y="404760"/>
                          <a:pt x="1807424" y="904056"/>
                        </a:cubicBezTo>
                        <a:cubicBezTo>
                          <a:pt x="1807424" y="1403352"/>
                          <a:pt x="1402818" y="1808112"/>
                          <a:pt x="903712" y="1808112"/>
                        </a:cubicBezTo>
                        <a:cubicBezTo>
                          <a:pt x="404606" y="1808112"/>
                          <a:pt x="0" y="1403352"/>
                          <a:pt x="0" y="904056"/>
                        </a:cubicBezTo>
                        <a:cubicBezTo>
                          <a:pt x="0" y="404760"/>
                          <a:pt x="404606" y="0"/>
                          <a:pt x="903712" y="0"/>
                        </a:cubicBezTo>
                        <a:close/>
                      </a:path>
                    </a:pathLst>
                  </a:custGeom>
                  <a:grpFill/>
                  <a:ln w="19050">
                    <a:solidFill>
                      <a:schemeClr val="bg1"/>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endParaRPr lang="en-US" sz="30000" kern="0" dirty="0">
                      <a:solidFill>
                        <a:prstClr val="black"/>
                      </a:solidFill>
                      <a:latin typeface="Univers for KPMG" panose="020B0603020202020204" pitchFamily="34" charset="0"/>
                      <a:cs typeface="Arial" panose="020B0604020202020204" pitchFamily="34" charset="0"/>
                    </a:endParaRPr>
                  </a:p>
                </p:txBody>
              </p:sp>
              <p:sp>
                <p:nvSpPr>
                  <p:cNvPr id="136" name="TextBox 135"/>
                  <p:cNvSpPr txBox="1"/>
                  <p:nvPr/>
                </p:nvSpPr>
                <p:spPr>
                  <a:xfrm>
                    <a:off x="8266831" y="4251816"/>
                    <a:ext cx="200018" cy="200017"/>
                  </a:xfrm>
                  <a:custGeom>
                    <a:avLst/>
                    <a:gdLst>
                      <a:gd name="connsiteX0" fmla="*/ 1355578 w 2441160"/>
                      <a:gd name="connsiteY0" fmla="*/ 257202 h 2441158"/>
                      <a:gd name="connsiteX1" fmla="*/ 1124519 w 2441160"/>
                      <a:gd name="connsiteY1" fmla="*/ 257203 h 2441158"/>
                      <a:gd name="connsiteX2" fmla="*/ 1124518 w 2441160"/>
                      <a:gd name="connsiteY2" fmla="*/ 477085 h 2441158"/>
                      <a:gd name="connsiteX3" fmla="*/ 826212 w 2441160"/>
                      <a:gd name="connsiteY3" fmla="*/ 645493 h 2441158"/>
                      <a:gd name="connsiteX4" fmla="*/ 949257 w 2441160"/>
                      <a:gd name="connsiteY4" fmla="*/ 1235487 h 2441158"/>
                      <a:gd name="connsiteX5" fmla="*/ 1325520 w 2441160"/>
                      <a:gd name="connsiteY5" fmla="*/ 1402222 h 2441158"/>
                      <a:gd name="connsiteX6" fmla="*/ 783735 w 2441160"/>
                      <a:gd name="connsiteY6" fmla="*/ 1550184 h 2441158"/>
                      <a:gd name="connsiteX7" fmla="*/ 717402 w 2441160"/>
                      <a:gd name="connsiteY7" fmla="*/ 1834443 h 2441158"/>
                      <a:gd name="connsiteX8" fmla="*/ 1107315 w 2441160"/>
                      <a:gd name="connsiteY8" fmla="*/ 1937631 h 2441158"/>
                      <a:gd name="connsiteX9" fmla="*/ 1106888 w 2441160"/>
                      <a:gd name="connsiteY9" fmla="*/ 2149774 h 2441158"/>
                      <a:gd name="connsiteX10" fmla="*/ 1339115 w 2441160"/>
                      <a:gd name="connsiteY10" fmla="*/ 2149773 h 2441158"/>
                      <a:gd name="connsiteX11" fmla="*/ 1338967 w 2441160"/>
                      <a:gd name="connsiteY11" fmla="*/ 1905655 h 2441158"/>
                      <a:gd name="connsiteX12" fmla="*/ 1554593 w 2441160"/>
                      <a:gd name="connsiteY12" fmla="*/ 1152315 h 2441158"/>
                      <a:gd name="connsiteX13" fmla="*/ 1134529 w 2441160"/>
                      <a:gd name="connsiteY13" fmla="*/ 764722 h 2441158"/>
                      <a:gd name="connsiteX14" fmla="*/ 1611790 w 2441160"/>
                      <a:gd name="connsiteY14" fmla="*/ 803275 h 2441158"/>
                      <a:gd name="connsiteX15" fmla="*/ 1688892 w 2441160"/>
                      <a:gd name="connsiteY15" fmla="*/ 539629 h 2441158"/>
                      <a:gd name="connsiteX16" fmla="*/ 1355578 w 2441160"/>
                      <a:gd name="connsiteY16" fmla="*/ 465716 h 2441158"/>
                      <a:gd name="connsiteX17" fmla="*/ 1220580 w 2441160"/>
                      <a:gd name="connsiteY17" fmla="*/ 0 h 2441158"/>
                      <a:gd name="connsiteX18" fmla="*/ 2441160 w 2441160"/>
                      <a:gd name="connsiteY18" fmla="*/ 1220579 h 2441158"/>
                      <a:gd name="connsiteX19" fmla="*/ 1220580 w 2441160"/>
                      <a:gd name="connsiteY19" fmla="*/ 2441158 h 2441158"/>
                      <a:gd name="connsiteX20" fmla="*/ 0 w 2441160"/>
                      <a:gd name="connsiteY20" fmla="*/ 1220579 h 2441158"/>
                      <a:gd name="connsiteX21" fmla="*/ 1220580 w 2441160"/>
                      <a:gd name="connsiteY21" fmla="*/ 0 h 2441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441160" h="2441158">
                        <a:moveTo>
                          <a:pt x="1355578" y="257202"/>
                        </a:moveTo>
                        <a:lnTo>
                          <a:pt x="1124519" y="257203"/>
                        </a:lnTo>
                        <a:cubicBezTo>
                          <a:pt x="1125467" y="334287"/>
                          <a:pt x="1123571" y="402843"/>
                          <a:pt x="1124518" y="477085"/>
                        </a:cubicBezTo>
                        <a:cubicBezTo>
                          <a:pt x="979979" y="521358"/>
                          <a:pt x="888124" y="561387"/>
                          <a:pt x="826212" y="645493"/>
                        </a:cubicBezTo>
                        <a:cubicBezTo>
                          <a:pt x="751523" y="754840"/>
                          <a:pt x="608703" y="1040629"/>
                          <a:pt x="949257" y="1235487"/>
                        </a:cubicBezTo>
                        <a:cubicBezTo>
                          <a:pt x="1166069" y="1346923"/>
                          <a:pt x="1243457" y="1350628"/>
                          <a:pt x="1325520" y="1402222"/>
                        </a:cubicBezTo>
                        <a:cubicBezTo>
                          <a:pt x="1542381" y="1599633"/>
                          <a:pt x="1209349" y="1786325"/>
                          <a:pt x="783735" y="1550184"/>
                        </a:cubicBezTo>
                        <a:lnTo>
                          <a:pt x="717402" y="1834443"/>
                        </a:lnTo>
                        <a:cubicBezTo>
                          <a:pt x="842888" y="1878807"/>
                          <a:pt x="966877" y="1912705"/>
                          <a:pt x="1107315" y="1937631"/>
                        </a:cubicBezTo>
                        <a:cubicBezTo>
                          <a:pt x="1105180" y="2000370"/>
                          <a:pt x="1106034" y="2081053"/>
                          <a:pt x="1106888" y="2149774"/>
                        </a:cubicBezTo>
                        <a:lnTo>
                          <a:pt x="1339115" y="2149773"/>
                        </a:lnTo>
                        <a:cubicBezTo>
                          <a:pt x="1339066" y="2068401"/>
                          <a:pt x="1339016" y="1987028"/>
                          <a:pt x="1338967" y="1905655"/>
                        </a:cubicBezTo>
                        <a:cubicBezTo>
                          <a:pt x="1563053" y="1920856"/>
                          <a:pt x="2034379" y="1485661"/>
                          <a:pt x="1554593" y="1152315"/>
                        </a:cubicBezTo>
                        <a:cubicBezTo>
                          <a:pt x="1381230" y="1004552"/>
                          <a:pt x="950187" y="986333"/>
                          <a:pt x="1134529" y="764722"/>
                        </a:cubicBezTo>
                        <a:cubicBezTo>
                          <a:pt x="1216544" y="713655"/>
                          <a:pt x="1427070" y="695142"/>
                          <a:pt x="1611790" y="803275"/>
                        </a:cubicBezTo>
                        <a:lnTo>
                          <a:pt x="1688892" y="539629"/>
                        </a:lnTo>
                        <a:cubicBezTo>
                          <a:pt x="1589912" y="501230"/>
                          <a:pt x="1556500" y="489858"/>
                          <a:pt x="1355578" y="465716"/>
                        </a:cubicBezTo>
                        <a:close/>
                        <a:moveTo>
                          <a:pt x="1220580" y="0"/>
                        </a:moveTo>
                        <a:cubicBezTo>
                          <a:pt x="1894688" y="0"/>
                          <a:pt x="2441160" y="546472"/>
                          <a:pt x="2441160" y="1220579"/>
                        </a:cubicBezTo>
                        <a:cubicBezTo>
                          <a:pt x="2441160" y="1894686"/>
                          <a:pt x="1894688" y="2441158"/>
                          <a:pt x="1220580" y="2441158"/>
                        </a:cubicBezTo>
                        <a:cubicBezTo>
                          <a:pt x="546472" y="2441158"/>
                          <a:pt x="0" y="1894686"/>
                          <a:pt x="0" y="1220579"/>
                        </a:cubicBezTo>
                        <a:cubicBezTo>
                          <a:pt x="0" y="546472"/>
                          <a:pt x="546472" y="0"/>
                          <a:pt x="1220580" y="0"/>
                        </a:cubicBezTo>
                        <a:close/>
                      </a:path>
                    </a:pathLst>
                  </a:custGeom>
                  <a:grpFill/>
                  <a:ln w="19050">
                    <a:solidFill>
                      <a:schemeClr val="bg1"/>
                    </a:solid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defRPr/>
                    </a:pPr>
                    <a:endParaRPr lang="en-US" sz="30000" kern="0" dirty="0">
                      <a:solidFill>
                        <a:prstClr val="black"/>
                      </a:solidFill>
                      <a:latin typeface="Univers for KPMG" panose="020B0603020202020204" pitchFamily="34" charset="0"/>
                      <a:cs typeface="Arial" panose="020B0604020202020204" pitchFamily="34" charset="0"/>
                    </a:endParaRPr>
                  </a:p>
                </p:txBody>
              </p:sp>
            </p:grpSp>
          </p:grpSp>
          <p:grpSp>
            <p:nvGrpSpPr>
              <p:cNvPr id="73" name="Group 72"/>
              <p:cNvGrpSpPr/>
              <p:nvPr/>
            </p:nvGrpSpPr>
            <p:grpSpPr>
              <a:xfrm>
                <a:off x="3441397" y="4794112"/>
                <a:ext cx="2269964" cy="820931"/>
                <a:chOff x="3441397" y="4794112"/>
                <a:chExt cx="2269964" cy="820931"/>
              </a:xfrm>
            </p:grpSpPr>
            <p:sp>
              <p:nvSpPr>
                <p:cNvPr id="124" name="Freeform 123"/>
                <p:cNvSpPr/>
                <p:nvPr/>
              </p:nvSpPr>
              <p:spPr>
                <a:xfrm>
                  <a:off x="3441397" y="4794112"/>
                  <a:ext cx="2269964" cy="820931"/>
                </a:xfrm>
                <a:custGeom>
                  <a:avLst/>
                  <a:gdLst>
                    <a:gd name="connsiteX0" fmla="*/ 413966 w 2269964"/>
                    <a:gd name="connsiteY0" fmla="*/ 0 h 820931"/>
                    <a:gd name="connsiteX1" fmla="*/ 1416360 w 2269964"/>
                    <a:gd name="connsiteY1" fmla="*/ 0 h 820931"/>
                    <a:gd name="connsiteX2" fmla="*/ 1411968 w 2269964"/>
                    <a:gd name="connsiteY2" fmla="*/ 25828 h 820931"/>
                    <a:gd name="connsiteX3" fmla="*/ 1388594 w 2269964"/>
                    <a:gd name="connsiteY3" fmla="*/ 63209 h 820931"/>
                    <a:gd name="connsiteX4" fmla="*/ 1531506 w 2269964"/>
                    <a:gd name="connsiteY4" fmla="*/ 236594 h 820931"/>
                    <a:gd name="connsiteX5" fmla="*/ 1689362 w 2269964"/>
                    <a:gd name="connsiteY5" fmla="*/ 57677 h 820931"/>
                    <a:gd name="connsiteX6" fmla="*/ 1666626 w 2269964"/>
                    <a:gd name="connsiteY6" fmla="*/ 18922 h 820931"/>
                    <a:gd name="connsiteX7" fmla="*/ 1666107 w 2269964"/>
                    <a:gd name="connsiteY7" fmla="*/ 0 h 820931"/>
                    <a:gd name="connsiteX8" fmla="*/ 1886469 w 2269964"/>
                    <a:gd name="connsiteY8" fmla="*/ 0 h 820931"/>
                    <a:gd name="connsiteX9" fmla="*/ 1942752 w 2269964"/>
                    <a:gd name="connsiteY9" fmla="*/ 121532 h 820931"/>
                    <a:gd name="connsiteX10" fmla="*/ 2037438 w 2269964"/>
                    <a:gd name="connsiteY10" fmla="*/ 287029 h 820931"/>
                    <a:gd name="connsiteX11" fmla="*/ 2044454 w 2269964"/>
                    <a:gd name="connsiteY11" fmla="*/ 287029 h 820931"/>
                    <a:gd name="connsiteX12" fmla="*/ 2141738 w 2269964"/>
                    <a:gd name="connsiteY12" fmla="*/ 384313 h 820931"/>
                    <a:gd name="connsiteX13" fmla="*/ 2113245 w 2269964"/>
                    <a:gd name="connsiteY13" fmla="*/ 453104 h 820931"/>
                    <a:gd name="connsiteX14" fmla="*/ 2089420 w 2269964"/>
                    <a:gd name="connsiteY14" fmla="*/ 469167 h 820931"/>
                    <a:gd name="connsiteX15" fmla="*/ 2163029 w 2269964"/>
                    <a:gd name="connsiteY15" fmla="*/ 570333 h 820931"/>
                    <a:gd name="connsiteX16" fmla="*/ 2267115 w 2269964"/>
                    <a:gd name="connsiteY16" fmla="*/ 807769 h 820931"/>
                    <a:gd name="connsiteX17" fmla="*/ 2269964 w 2269964"/>
                    <a:gd name="connsiteY17" fmla="*/ 820931 h 820931"/>
                    <a:gd name="connsiteX18" fmla="*/ 643343 w 2269964"/>
                    <a:gd name="connsiteY18" fmla="*/ 820931 h 820931"/>
                    <a:gd name="connsiteX19" fmla="*/ 658798 w 2269964"/>
                    <a:gd name="connsiteY19" fmla="*/ 783268 h 820931"/>
                    <a:gd name="connsiteX20" fmla="*/ 515886 w 2269964"/>
                    <a:gd name="connsiteY20" fmla="*/ 609884 h 820931"/>
                    <a:gd name="connsiteX21" fmla="*/ 358031 w 2269964"/>
                    <a:gd name="connsiteY21" fmla="*/ 788801 h 820931"/>
                    <a:gd name="connsiteX22" fmla="*/ 376880 w 2269964"/>
                    <a:gd name="connsiteY22" fmla="*/ 820931 h 820931"/>
                    <a:gd name="connsiteX23" fmla="*/ 0 w 2269964"/>
                    <a:gd name="connsiteY23" fmla="*/ 820931 h 820931"/>
                    <a:gd name="connsiteX24" fmla="*/ 1752 w 2269964"/>
                    <a:gd name="connsiteY24" fmla="*/ 814626 h 820931"/>
                    <a:gd name="connsiteX25" fmla="*/ 106379 w 2269964"/>
                    <a:gd name="connsiteY25" fmla="*/ 594042 h 820931"/>
                    <a:gd name="connsiteX26" fmla="*/ 186984 w 2269964"/>
                    <a:gd name="connsiteY26" fmla="*/ 471921 h 820931"/>
                    <a:gd name="connsiteX27" fmla="*/ 159075 w 2269964"/>
                    <a:gd name="connsiteY27" fmla="*/ 453104 h 820931"/>
                    <a:gd name="connsiteX28" fmla="*/ 130581 w 2269964"/>
                    <a:gd name="connsiteY28" fmla="*/ 384313 h 820931"/>
                    <a:gd name="connsiteX29" fmla="*/ 227865 w 2269964"/>
                    <a:gd name="connsiteY29" fmla="*/ 287029 h 820931"/>
                    <a:gd name="connsiteX30" fmla="*/ 274864 w 2269964"/>
                    <a:gd name="connsiteY30" fmla="*/ 287029 h 820931"/>
                    <a:gd name="connsiteX31" fmla="*/ 367874 w 2269964"/>
                    <a:gd name="connsiteY31" fmla="*/ 107609 h 820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2269964" h="820931">
                      <a:moveTo>
                        <a:pt x="413966" y="0"/>
                      </a:moveTo>
                      <a:lnTo>
                        <a:pt x="1416360" y="0"/>
                      </a:lnTo>
                      <a:lnTo>
                        <a:pt x="1411968" y="25828"/>
                      </a:lnTo>
                      <a:cubicBezTo>
                        <a:pt x="1407133" y="37705"/>
                        <a:pt x="1399350" y="50241"/>
                        <a:pt x="1388594" y="63209"/>
                      </a:cubicBezTo>
                      <a:cubicBezTo>
                        <a:pt x="1318968" y="146827"/>
                        <a:pt x="1354968" y="233213"/>
                        <a:pt x="1531506" y="236594"/>
                      </a:cubicBezTo>
                      <a:cubicBezTo>
                        <a:pt x="1656631" y="241513"/>
                        <a:pt x="1794289" y="175418"/>
                        <a:pt x="1689362" y="57677"/>
                      </a:cubicBezTo>
                      <a:cubicBezTo>
                        <a:pt x="1677398" y="43878"/>
                        <a:pt x="1670193" y="30901"/>
                        <a:pt x="1666626" y="18922"/>
                      </a:cubicBezTo>
                      <a:lnTo>
                        <a:pt x="1666107" y="0"/>
                      </a:lnTo>
                      <a:lnTo>
                        <a:pt x="1886469" y="0"/>
                      </a:lnTo>
                      <a:lnTo>
                        <a:pt x="1942752" y="121532"/>
                      </a:lnTo>
                      <a:lnTo>
                        <a:pt x="2037438" y="287029"/>
                      </a:lnTo>
                      <a:lnTo>
                        <a:pt x="2044454" y="287029"/>
                      </a:lnTo>
                      <a:cubicBezTo>
                        <a:pt x="2098182" y="287029"/>
                        <a:pt x="2141738" y="330585"/>
                        <a:pt x="2141738" y="384313"/>
                      </a:cubicBezTo>
                      <a:cubicBezTo>
                        <a:pt x="2141738" y="411177"/>
                        <a:pt x="2130849" y="435499"/>
                        <a:pt x="2113245" y="453104"/>
                      </a:cubicBezTo>
                      <a:lnTo>
                        <a:pt x="2089420" y="469167"/>
                      </a:lnTo>
                      <a:lnTo>
                        <a:pt x="2163029" y="570333"/>
                      </a:lnTo>
                      <a:cubicBezTo>
                        <a:pt x="2207779" y="643811"/>
                        <a:pt x="2243170" y="724849"/>
                        <a:pt x="2267115" y="807769"/>
                      </a:cubicBezTo>
                      <a:lnTo>
                        <a:pt x="2269964" y="820931"/>
                      </a:lnTo>
                      <a:lnTo>
                        <a:pt x="643343" y="820931"/>
                      </a:lnTo>
                      <a:lnTo>
                        <a:pt x="658798" y="783268"/>
                      </a:lnTo>
                      <a:cubicBezTo>
                        <a:pt x="728424" y="699650"/>
                        <a:pt x="692424" y="613265"/>
                        <a:pt x="515886" y="609884"/>
                      </a:cubicBezTo>
                      <a:cubicBezTo>
                        <a:pt x="390761" y="604964"/>
                        <a:pt x="253104" y="671059"/>
                        <a:pt x="358031" y="788801"/>
                      </a:cubicBezTo>
                      <a:lnTo>
                        <a:pt x="376880" y="820931"/>
                      </a:lnTo>
                      <a:lnTo>
                        <a:pt x="0" y="820931"/>
                      </a:lnTo>
                      <a:lnTo>
                        <a:pt x="1752" y="814626"/>
                      </a:lnTo>
                      <a:cubicBezTo>
                        <a:pt x="26162" y="744000"/>
                        <a:pt x="60991" y="670407"/>
                        <a:pt x="106379" y="594042"/>
                      </a:cubicBezTo>
                      <a:lnTo>
                        <a:pt x="186984" y="471921"/>
                      </a:lnTo>
                      <a:lnTo>
                        <a:pt x="159075" y="453104"/>
                      </a:lnTo>
                      <a:cubicBezTo>
                        <a:pt x="141470" y="435499"/>
                        <a:pt x="130581" y="411177"/>
                        <a:pt x="130581" y="384313"/>
                      </a:cubicBezTo>
                      <a:cubicBezTo>
                        <a:pt x="130581" y="330585"/>
                        <a:pt x="174136" y="287029"/>
                        <a:pt x="227865" y="287029"/>
                      </a:cubicBezTo>
                      <a:lnTo>
                        <a:pt x="274864" y="287029"/>
                      </a:lnTo>
                      <a:lnTo>
                        <a:pt x="367874" y="107609"/>
                      </a:lnTo>
                      <a:close/>
                    </a:path>
                  </a:pathLst>
                </a:custGeom>
                <a:solidFill>
                  <a:srgbClr val="005EB8"/>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125" name="Group 124"/>
                <p:cNvGrpSpPr/>
                <p:nvPr/>
              </p:nvGrpSpPr>
              <p:grpSpPr>
                <a:xfrm>
                  <a:off x="4326554" y="5057223"/>
                  <a:ext cx="490893" cy="414976"/>
                  <a:chOff x="6293887" y="2500564"/>
                  <a:chExt cx="946844" cy="800414"/>
                </a:xfrm>
                <a:solidFill>
                  <a:schemeClr val="bg1"/>
                </a:solidFill>
              </p:grpSpPr>
              <p:sp>
                <p:nvSpPr>
                  <p:cNvPr id="126" name="Freeform 81"/>
                  <p:cNvSpPr>
                    <a:spLocks/>
                  </p:cNvSpPr>
                  <p:nvPr/>
                </p:nvSpPr>
                <p:spPr bwMode="auto">
                  <a:xfrm>
                    <a:off x="6293887" y="2500564"/>
                    <a:ext cx="720131" cy="728043"/>
                  </a:xfrm>
                  <a:custGeom>
                    <a:avLst/>
                    <a:gdLst>
                      <a:gd name="T0" fmla="*/ 137 w 273"/>
                      <a:gd name="T1" fmla="*/ 247 h 276"/>
                      <a:gd name="T2" fmla="*/ 125 w 273"/>
                      <a:gd name="T3" fmla="*/ 251 h 276"/>
                      <a:gd name="T4" fmla="*/ 97 w 273"/>
                      <a:gd name="T5" fmla="*/ 243 h 276"/>
                      <a:gd name="T6" fmla="*/ 72 w 273"/>
                      <a:gd name="T7" fmla="*/ 230 h 276"/>
                      <a:gd name="T8" fmla="*/ 52 w 273"/>
                      <a:gd name="T9" fmla="*/ 211 h 276"/>
                      <a:gd name="T10" fmla="*/ 37 w 273"/>
                      <a:gd name="T11" fmla="*/ 187 h 276"/>
                      <a:gd name="T12" fmla="*/ 28 w 273"/>
                      <a:gd name="T13" fmla="*/ 159 h 276"/>
                      <a:gd name="T14" fmla="*/ 27 w 273"/>
                      <a:gd name="T15" fmla="*/ 132 h 276"/>
                      <a:gd name="T16" fmla="*/ 32 w 273"/>
                      <a:gd name="T17" fmla="*/ 103 h 276"/>
                      <a:gd name="T18" fmla="*/ 44 w 273"/>
                      <a:gd name="T19" fmla="*/ 78 h 276"/>
                      <a:gd name="T20" fmla="*/ 62 w 273"/>
                      <a:gd name="T21" fmla="*/ 56 h 276"/>
                      <a:gd name="T22" fmla="*/ 84 w 273"/>
                      <a:gd name="T23" fmla="*/ 39 h 276"/>
                      <a:gd name="T24" fmla="*/ 110 w 273"/>
                      <a:gd name="T25" fmla="*/ 30 h 276"/>
                      <a:gd name="T26" fmla="*/ 139 w 273"/>
                      <a:gd name="T27" fmla="*/ 26 h 276"/>
                      <a:gd name="T28" fmla="*/ 167 w 273"/>
                      <a:gd name="T29" fmla="*/ 30 h 276"/>
                      <a:gd name="T30" fmla="*/ 193 w 273"/>
                      <a:gd name="T31" fmla="*/ 39 h 276"/>
                      <a:gd name="T32" fmla="*/ 216 w 273"/>
                      <a:gd name="T33" fmla="*/ 56 h 276"/>
                      <a:gd name="T34" fmla="*/ 233 w 273"/>
                      <a:gd name="T35" fmla="*/ 78 h 276"/>
                      <a:gd name="T36" fmla="*/ 247 w 273"/>
                      <a:gd name="T37" fmla="*/ 103 h 276"/>
                      <a:gd name="T38" fmla="*/ 252 w 273"/>
                      <a:gd name="T39" fmla="*/ 132 h 276"/>
                      <a:gd name="T40" fmla="*/ 241 w 273"/>
                      <a:gd name="T41" fmla="*/ 146 h 276"/>
                      <a:gd name="T42" fmla="*/ 262 w 273"/>
                      <a:gd name="T43" fmla="*/ 115 h 276"/>
                      <a:gd name="T44" fmla="*/ 252 w 273"/>
                      <a:gd name="T45" fmla="*/ 85 h 276"/>
                      <a:gd name="T46" fmla="*/ 235 w 273"/>
                      <a:gd name="T47" fmla="*/ 59 h 276"/>
                      <a:gd name="T48" fmla="*/ 213 w 273"/>
                      <a:gd name="T49" fmla="*/ 38 h 276"/>
                      <a:gd name="T50" fmla="*/ 185 w 273"/>
                      <a:gd name="T51" fmla="*/ 22 h 276"/>
                      <a:gd name="T52" fmla="*/ 155 w 273"/>
                      <a:gd name="T53" fmla="*/ 14 h 276"/>
                      <a:gd name="T54" fmla="*/ 123 w 273"/>
                      <a:gd name="T55" fmla="*/ 14 h 276"/>
                      <a:gd name="T56" fmla="*/ 92 w 273"/>
                      <a:gd name="T57" fmla="*/ 22 h 276"/>
                      <a:gd name="T58" fmla="*/ 65 w 273"/>
                      <a:gd name="T59" fmla="*/ 38 h 276"/>
                      <a:gd name="T60" fmla="*/ 42 w 273"/>
                      <a:gd name="T61" fmla="*/ 59 h 276"/>
                      <a:gd name="T62" fmla="*/ 25 w 273"/>
                      <a:gd name="T63" fmla="*/ 85 h 276"/>
                      <a:gd name="T64" fmla="*/ 16 w 273"/>
                      <a:gd name="T65" fmla="*/ 115 h 276"/>
                      <a:gd name="T66" fmla="*/ 14 w 273"/>
                      <a:gd name="T67" fmla="*/ 146 h 276"/>
                      <a:gd name="T68" fmla="*/ 20 w 273"/>
                      <a:gd name="T69" fmla="*/ 178 h 276"/>
                      <a:gd name="T70" fmla="*/ 33 w 273"/>
                      <a:gd name="T71" fmla="*/ 205 h 276"/>
                      <a:gd name="T72" fmla="*/ 53 w 273"/>
                      <a:gd name="T73" fmla="*/ 230 h 276"/>
                      <a:gd name="T74" fmla="*/ 78 w 273"/>
                      <a:gd name="T75" fmla="*/ 248 h 276"/>
                      <a:gd name="T76" fmla="*/ 108 w 273"/>
                      <a:gd name="T77" fmla="*/ 260 h 276"/>
                      <a:gd name="T78" fmla="*/ 139 w 273"/>
                      <a:gd name="T79" fmla="*/ 264 h 276"/>
                      <a:gd name="T80" fmla="*/ 159 w 273"/>
                      <a:gd name="T81" fmla="*/ 272 h 276"/>
                      <a:gd name="T82" fmla="*/ 138 w 273"/>
                      <a:gd name="T83" fmla="*/ 251 h 276"/>
                      <a:gd name="connsiteX0" fmla="*/ 5055 w 10000"/>
                      <a:gd name="connsiteY0" fmla="*/ 9094 h 10000"/>
                      <a:gd name="connsiteX1" fmla="*/ 5018 w 10000"/>
                      <a:gd name="connsiteY1" fmla="*/ 8949 h 10000"/>
                      <a:gd name="connsiteX2" fmla="*/ 4945 w 10000"/>
                      <a:gd name="connsiteY2" fmla="*/ 8804 h 10000"/>
                      <a:gd name="connsiteX3" fmla="*/ 4579 w 10000"/>
                      <a:gd name="connsiteY3" fmla="*/ 9094 h 10000"/>
                      <a:gd name="connsiteX4" fmla="*/ 4139 w 10000"/>
                      <a:gd name="connsiteY4" fmla="*/ 8623 h 10000"/>
                      <a:gd name="connsiteX5" fmla="*/ 3553 w 10000"/>
                      <a:gd name="connsiteY5" fmla="*/ 8804 h 10000"/>
                      <a:gd name="connsiteX6" fmla="*/ 3260 w 10000"/>
                      <a:gd name="connsiteY6" fmla="*/ 8261 h 10000"/>
                      <a:gd name="connsiteX7" fmla="*/ 2637 w 10000"/>
                      <a:gd name="connsiteY7" fmla="*/ 8333 h 10000"/>
                      <a:gd name="connsiteX8" fmla="*/ 2527 w 10000"/>
                      <a:gd name="connsiteY8" fmla="*/ 7717 h 10000"/>
                      <a:gd name="connsiteX9" fmla="*/ 1905 w 10000"/>
                      <a:gd name="connsiteY9" fmla="*/ 7645 h 10000"/>
                      <a:gd name="connsiteX10" fmla="*/ 1941 w 10000"/>
                      <a:gd name="connsiteY10" fmla="*/ 7029 h 10000"/>
                      <a:gd name="connsiteX11" fmla="*/ 1355 w 10000"/>
                      <a:gd name="connsiteY11" fmla="*/ 6775 h 10000"/>
                      <a:gd name="connsiteX12" fmla="*/ 1502 w 10000"/>
                      <a:gd name="connsiteY12" fmla="*/ 6159 h 10000"/>
                      <a:gd name="connsiteX13" fmla="*/ 1026 w 10000"/>
                      <a:gd name="connsiteY13" fmla="*/ 5761 h 10000"/>
                      <a:gd name="connsiteX14" fmla="*/ 1355 w 10000"/>
                      <a:gd name="connsiteY14" fmla="*/ 5254 h 10000"/>
                      <a:gd name="connsiteX15" fmla="*/ 989 w 10000"/>
                      <a:gd name="connsiteY15" fmla="*/ 4783 h 10000"/>
                      <a:gd name="connsiteX16" fmla="*/ 1392 w 10000"/>
                      <a:gd name="connsiteY16" fmla="*/ 4312 h 10000"/>
                      <a:gd name="connsiteX17" fmla="*/ 1172 w 10000"/>
                      <a:gd name="connsiteY17" fmla="*/ 3732 h 10000"/>
                      <a:gd name="connsiteX18" fmla="*/ 1685 w 10000"/>
                      <a:gd name="connsiteY18" fmla="*/ 3442 h 10000"/>
                      <a:gd name="connsiteX19" fmla="*/ 1612 w 10000"/>
                      <a:gd name="connsiteY19" fmla="*/ 2826 h 10000"/>
                      <a:gd name="connsiteX20" fmla="*/ 2234 w 10000"/>
                      <a:gd name="connsiteY20" fmla="*/ 2645 h 10000"/>
                      <a:gd name="connsiteX21" fmla="*/ 2271 w 10000"/>
                      <a:gd name="connsiteY21" fmla="*/ 2029 h 10000"/>
                      <a:gd name="connsiteX22" fmla="*/ 2894 w 10000"/>
                      <a:gd name="connsiteY22" fmla="*/ 2029 h 10000"/>
                      <a:gd name="connsiteX23" fmla="*/ 3077 w 10000"/>
                      <a:gd name="connsiteY23" fmla="*/ 1413 h 10000"/>
                      <a:gd name="connsiteX24" fmla="*/ 3700 w 10000"/>
                      <a:gd name="connsiteY24" fmla="*/ 1594 h 10000"/>
                      <a:gd name="connsiteX25" fmla="*/ 4029 w 10000"/>
                      <a:gd name="connsiteY25" fmla="*/ 1087 h 10000"/>
                      <a:gd name="connsiteX26" fmla="*/ 4615 w 10000"/>
                      <a:gd name="connsiteY26" fmla="*/ 1377 h 10000"/>
                      <a:gd name="connsiteX27" fmla="*/ 5092 w 10000"/>
                      <a:gd name="connsiteY27" fmla="*/ 942 h 10000"/>
                      <a:gd name="connsiteX28" fmla="*/ 5531 w 10000"/>
                      <a:gd name="connsiteY28" fmla="*/ 1377 h 10000"/>
                      <a:gd name="connsiteX29" fmla="*/ 6117 w 10000"/>
                      <a:gd name="connsiteY29" fmla="*/ 1087 h 10000"/>
                      <a:gd name="connsiteX30" fmla="*/ 6447 w 10000"/>
                      <a:gd name="connsiteY30" fmla="*/ 1594 h 10000"/>
                      <a:gd name="connsiteX31" fmla="*/ 7070 w 10000"/>
                      <a:gd name="connsiteY31" fmla="*/ 1413 h 10000"/>
                      <a:gd name="connsiteX32" fmla="*/ 7253 w 10000"/>
                      <a:gd name="connsiteY32" fmla="*/ 2029 h 10000"/>
                      <a:gd name="connsiteX33" fmla="*/ 7912 w 10000"/>
                      <a:gd name="connsiteY33" fmla="*/ 2029 h 10000"/>
                      <a:gd name="connsiteX34" fmla="*/ 7985 w 10000"/>
                      <a:gd name="connsiteY34" fmla="*/ 2645 h 10000"/>
                      <a:gd name="connsiteX35" fmla="*/ 8535 w 10000"/>
                      <a:gd name="connsiteY35" fmla="*/ 2826 h 10000"/>
                      <a:gd name="connsiteX36" fmla="*/ 8462 w 10000"/>
                      <a:gd name="connsiteY36" fmla="*/ 3442 h 10000"/>
                      <a:gd name="connsiteX37" fmla="*/ 9048 w 10000"/>
                      <a:gd name="connsiteY37" fmla="*/ 3732 h 10000"/>
                      <a:gd name="connsiteX38" fmla="*/ 8755 w 10000"/>
                      <a:gd name="connsiteY38" fmla="*/ 4312 h 10000"/>
                      <a:gd name="connsiteX39" fmla="*/ 9231 w 10000"/>
                      <a:gd name="connsiteY39" fmla="*/ 4783 h 10000"/>
                      <a:gd name="connsiteX40" fmla="*/ 8791 w 10000"/>
                      <a:gd name="connsiteY40" fmla="*/ 5254 h 10000"/>
                      <a:gd name="connsiteX41" fmla="*/ 8828 w 10000"/>
                      <a:gd name="connsiteY41" fmla="*/ 5290 h 10000"/>
                      <a:gd name="connsiteX42" fmla="*/ 10000 w 10000"/>
                      <a:gd name="connsiteY42" fmla="*/ 4529 h 10000"/>
                      <a:gd name="connsiteX43" fmla="*/ 9597 w 10000"/>
                      <a:gd name="connsiteY43" fmla="*/ 4167 h 10000"/>
                      <a:gd name="connsiteX44" fmla="*/ 9890 w 10000"/>
                      <a:gd name="connsiteY44" fmla="*/ 3442 h 10000"/>
                      <a:gd name="connsiteX45" fmla="*/ 9231 w 10000"/>
                      <a:gd name="connsiteY45" fmla="*/ 3080 h 10000"/>
                      <a:gd name="connsiteX46" fmla="*/ 9377 w 10000"/>
                      <a:gd name="connsiteY46" fmla="*/ 2319 h 10000"/>
                      <a:gd name="connsiteX47" fmla="*/ 8608 w 10000"/>
                      <a:gd name="connsiteY47" fmla="*/ 2138 h 10000"/>
                      <a:gd name="connsiteX48" fmla="*/ 8535 w 10000"/>
                      <a:gd name="connsiteY48" fmla="*/ 1377 h 10000"/>
                      <a:gd name="connsiteX49" fmla="*/ 7802 w 10000"/>
                      <a:gd name="connsiteY49" fmla="*/ 1377 h 10000"/>
                      <a:gd name="connsiteX50" fmla="*/ 7546 w 10000"/>
                      <a:gd name="connsiteY50" fmla="*/ 616 h 10000"/>
                      <a:gd name="connsiteX51" fmla="*/ 6777 w 10000"/>
                      <a:gd name="connsiteY51" fmla="*/ 797 h 10000"/>
                      <a:gd name="connsiteX52" fmla="*/ 6337 w 10000"/>
                      <a:gd name="connsiteY52" fmla="*/ 181 h 10000"/>
                      <a:gd name="connsiteX53" fmla="*/ 5678 w 10000"/>
                      <a:gd name="connsiteY53" fmla="*/ 507 h 10000"/>
                      <a:gd name="connsiteX54" fmla="*/ 5092 w 10000"/>
                      <a:gd name="connsiteY54" fmla="*/ 0 h 10000"/>
                      <a:gd name="connsiteX55" fmla="*/ 4505 w 10000"/>
                      <a:gd name="connsiteY55" fmla="*/ 507 h 10000"/>
                      <a:gd name="connsiteX56" fmla="*/ 3810 w 10000"/>
                      <a:gd name="connsiteY56" fmla="*/ 181 h 10000"/>
                      <a:gd name="connsiteX57" fmla="*/ 3370 w 10000"/>
                      <a:gd name="connsiteY57" fmla="*/ 797 h 10000"/>
                      <a:gd name="connsiteX58" fmla="*/ 2637 w 10000"/>
                      <a:gd name="connsiteY58" fmla="*/ 616 h 10000"/>
                      <a:gd name="connsiteX59" fmla="*/ 2381 w 10000"/>
                      <a:gd name="connsiteY59" fmla="*/ 1377 h 10000"/>
                      <a:gd name="connsiteX60" fmla="*/ 1612 w 10000"/>
                      <a:gd name="connsiteY60" fmla="*/ 1377 h 10000"/>
                      <a:gd name="connsiteX61" fmla="*/ 1538 w 10000"/>
                      <a:gd name="connsiteY61" fmla="*/ 2138 h 10000"/>
                      <a:gd name="connsiteX62" fmla="*/ 769 w 10000"/>
                      <a:gd name="connsiteY62" fmla="*/ 2319 h 10000"/>
                      <a:gd name="connsiteX63" fmla="*/ 916 w 10000"/>
                      <a:gd name="connsiteY63" fmla="*/ 3080 h 10000"/>
                      <a:gd name="connsiteX64" fmla="*/ 256 w 10000"/>
                      <a:gd name="connsiteY64" fmla="*/ 3442 h 10000"/>
                      <a:gd name="connsiteX65" fmla="*/ 586 w 10000"/>
                      <a:gd name="connsiteY65" fmla="*/ 4167 h 10000"/>
                      <a:gd name="connsiteX66" fmla="*/ 0 w 10000"/>
                      <a:gd name="connsiteY66" fmla="*/ 4674 h 10000"/>
                      <a:gd name="connsiteX67" fmla="*/ 513 w 10000"/>
                      <a:gd name="connsiteY67" fmla="*/ 5290 h 10000"/>
                      <a:gd name="connsiteX68" fmla="*/ 110 w 10000"/>
                      <a:gd name="connsiteY68" fmla="*/ 5978 h 10000"/>
                      <a:gd name="connsiteX69" fmla="*/ 733 w 10000"/>
                      <a:gd name="connsiteY69" fmla="*/ 6449 h 10000"/>
                      <a:gd name="connsiteX70" fmla="*/ 513 w 10000"/>
                      <a:gd name="connsiteY70" fmla="*/ 7138 h 10000"/>
                      <a:gd name="connsiteX71" fmla="*/ 1209 w 10000"/>
                      <a:gd name="connsiteY71" fmla="*/ 7428 h 10000"/>
                      <a:gd name="connsiteX72" fmla="*/ 1172 w 10000"/>
                      <a:gd name="connsiteY72" fmla="*/ 8261 h 10000"/>
                      <a:gd name="connsiteX73" fmla="*/ 1941 w 10000"/>
                      <a:gd name="connsiteY73" fmla="*/ 8333 h 10000"/>
                      <a:gd name="connsiteX74" fmla="*/ 2088 w 10000"/>
                      <a:gd name="connsiteY74" fmla="*/ 9094 h 10000"/>
                      <a:gd name="connsiteX75" fmla="*/ 2857 w 10000"/>
                      <a:gd name="connsiteY75" fmla="*/ 8986 h 10000"/>
                      <a:gd name="connsiteX76" fmla="*/ 3223 w 10000"/>
                      <a:gd name="connsiteY76" fmla="*/ 9710 h 10000"/>
                      <a:gd name="connsiteX77" fmla="*/ 3956 w 10000"/>
                      <a:gd name="connsiteY77" fmla="*/ 9420 h 10000"/>
                      <a:gd name="connsiteX78" fmla="*/ 4432 w 10000"/>
                      <a:gd name="connsiteY78" fmla="*/ 10000 h 10000"/>
                      <a:gd name="connsiteX79" fmla="*/ 5092 w 10000"/>
                      <a:gd name="connsiteY79" fmla="*/ 9565 h 10000"/>
                      <a:gd name="connsiteX80" fmla="*/ 5714 w 10000"/>
                      <a:gd name="connsiteY80" fmla="*/ 10000 h 10000"/>
                      <a:gd name="connsiteX81" fmla="*/ 5824 w 10000"/>
                      <a:gd name="connsiteY81" fmla="*/ 9855 h 10000"/>
                      <a:gd name="connsiteX82" fmla="*/ 5055 w 10000"/>
                      <a:gd name="connsiteY82" fmla="*/ 9094 h 10000"/>
                      <a:gd name="connsiteX0" fmla="*/ 5055 w 10000"/>
                      <a:gd name="connsiteY0" fmla="*/ 9094 h 10000"/>
                      <a:gd name="connsiteX1" fmla="*/ 5018 w 10000"/>
                      <a:gd name="connsiteY1" fmla="*/ 8949 h 10000"/>
                      <a:gd name="connsiteX2" fmla="*/ 4945 w 10000"/>
                      <a:gd name="connsiteY2" fmla="*/ 8804 h 10000"/>
                      <a:gd name="connsiteX3" fmla="*/ 4579 w 10000"/>
                      <a:gd name="connsiteY3" fmla="*/ 9094 h 10000"/>
                      <a:gd name="connsiteX4" fmla="*/ 4139 w 10000"/>
                      <a:gd name="connsiteY4" fmla="*/ 8623 h 10000"/>
                      <a:gd name="connsiteX5" fmla="*/ 3553 w 10000"/>
                      <a:gd name="connsiteY5" fmla="*/ 8804 h 10000"/>
                      <a:gd name="connsiteX6" fmla="*/ 3260 w 10000"/>
                      <a:gd name="connsiteY6" fmla="*/ 8261 h 10000"/>
                      <a:gd name="connsiteX7" fmla="*/ 2637 w 10000"/>
                      <a:gd name="connsiteY7" fmla="*/ 8333 h 10000"/>
                      <a:gd name="connsiteX8" fmla="*/ 2527 w 10000"/>
                      <a:gd name="connsiteY8" fmla="*/ 7717 h 10000"/>
                      <a:gd name="connsiteX9" fmla="*/ 1905 w 10000"/>
                      <a:gd name="connsiteY9" fmla="*/ 7645 h 10000"/>
                      <a:gd name="connsiteX10" fmla="*/ 1941 w 10000"/>
                      <a:gd name="connsiteY10" fmla="*/ 7029 h 10000"/>
                      <a:gd name="connsiteX11" fmla="*/ 1355 w 10000"/>
                      <a:gd name="connsiteY11" fmla="*/ 6775 h 10000"/>
                      <a:gd name="connsiteX12" fmla="*/ 1502 w 10000"/>
                      <a:gd name="connsiteY12" fmla="*/ 6159 h 10000"/>
                      <a:gd name="connsiteX13" fmla="*/ 1026 w 10000"/>
                      <a:gd name="connsiteY13" fmla="*/ 5761 h 10000"/>
                      <a:gd name="connsiteX14" fmla="*/ 1355 w 10000"/>
                      <a:gd name="connsiteY14" fmla="*/ 5254 h 10000"/>
                      <a:gd name="connsiteX15" fmla="*/ 989 w 10000"/>
                      <a:gd name="connsiteY15" fmla="*/ 4783 h 10000"/>
                      <a:gd name="connsiteX16" fmla="*/ 1392 w 10000"/>
                      <a:gd name="connsiteY16" fmla="*/ 4312 h 10000"/>
                      <a:gd name="connsiteX17" fmla="*/ 1172 w 10000"/>
                      <a:gd name="connsiteY17" fmla="*/ 3732 h 10000"/>
                      <a:gd name="connsiteX18" fmla="*/ 1685 w 10000"/>
                      <a:gd name="connsiteY18" fmla="*/ 3442 h 10000"/>
                      <a:gd name="connsiteX19" fmla="*/ 1612 w 10000"/>
                      <a:gd name="connsiteY19" fmla="*/ 2826 h 10000"/>
                      <a:gd name="connsiteX20" fmla="*/ 2234 w 10000"/>
                      <a:gd name="connsiteY20" fmla="*/ 2645 h 10000"/>
                      <a:gd name="connsiteX21" fmla="*/ 2271 w 10000"/>
                      <a:gd name="connsiteY21" fmla="*/ 2029 h 10000"/>
                      <a:gd name="connsiteX22" fmla="*/ 2894 w 10000"/>
                      <a:gd name="connsiteY22" fmla="*/ 2029 h 10000"/>
                      <a:gd name="connsiteX23" fmla="*/ 3077 w 10000"/>
                      <a:gd name="connsiteY23" fmla="*/ 1413 h 10000"/>
                      <a:gd name="connsiteX24" fmla="*/ 3700 w 10000"/>
                      <a:gd name="connsiteY24" fmla="*/ 1594 h 10000"/>
                      <a:gd name="connsiteX25" fmla="*/ 4029 w 10000"/>
                      <a:gd name="connsiteY25" fmla="*/ 1087 h 10000"/>
                      <a:gd name="connsiteX26" fmla="*/ 4615 w 10000"/>
                      <a:gd name="connsiteY26" fmla="*/ 1377 h 10000"/>
                      <a:gd name="connsiteX27" fmla="*/ 5092 w 10000"/>
                      <a:gd name="connsiteY27" fmla="*/ 942 h 10000"/>
                      <a:gd name="connsiteX28" fmla="*/ 5531 w 10000"/>
                      <a:gd name="connsiteY28" fmla="*/ 1377 h 10000"/>
                      <a:gd name="connsiteX29" fmla="*/ 6117 w 10000"/>
                      <a:gd name="connsiteY29" fmla="*/ 1087 h 10000"/>
                      <a:gd name="connsiteX30" fmla="*/ 6447 w 10000"/>
                      <a:gd name="connsiteY30" fmla="*/ 1594 h 10000"/>
                      <a:gd name="connsiteX31" fmla="*/ 7070 w 10000"/>
                      <a:gd name="connsiteY31" fmla="*/ 1413 h 10000"/>
                      <a:gd name="connsiteX32" fmla="*/ 7253 w 10000"/>
                      <a:gd name="connsiteY32" fmla="*/ 2029 h 10000"/>
                      <a:gd name="connsiteX33" fmla="*/ 7912 w 10000"/>
                      <a:gd name="connsiteY33" fmla="*/ 2029 h 10000"/>
                      <a:gd name="connsiteX34" fmla="*/ 7985 w 10000"/>
                      <a:gd name="connsiteY34" fmla="*/ 2645 h 10000"/>
                      <a:gd name="connsiteX35" fmla="*/ 8535 w 10000"/>
                      <a:gd name="connsiteY35" fmla="*/ 2826 h 10000"/>
                      <a:gd name="connsiteX36" fmla="*/ 8462 w 10000"/>
                      <a:gd name="connsiteY36" fmla="*/ 3442 h 10000"/>
                      <a:gd name="connsiteX37" fmla="*/ 9048 w 10000"/>
                      <a:gd name="connsiteY37" fmla="*/ 3732 h 10000"/>
                      <a:gd name="connsiteX38" fmla="*/ 8755 w 10000"/>
                      <a:gd name="connsiteY38" fmla="*/ 4312 h 10000"/>
                      <a:gd name="connsiteX39" fmla="*/ 9231 w 10000"/>
                      <a:gd name="connsiteY39" fmla="*/ 4783 h 10000"/>
                      <a:gd name="connsiteX40" fmla="*/ 8791 w 10000"/>
                      <a:gd name="connsiteY40" fmla="*/ 5254 h 10000"/>
                      <a:gd name="connsiteX41" fmla="*/ 8828 w 10000"/>
                      <a:gd name="connsiteY41" fmla="*/ 5290 h 10000"/>
                      <a:gd name="connsiteX42" fmla="*/ 10000 w 10000"/>
                      <a:gd name="connsiteY42" fmla="*/ 4529 h 10000"/>
                      <a:gd name="connsiteX43" fmla="*/ 9597 w 10000"/>
                      <a:gd name="connsiteY43" fmla="*/ 4167 h 10000"/>
                      <a:gd name="connsiteX44" fmla="*/ 9890 w 10000"/>
                      <a:gd name="connsiteY44" fmla="*/ 3442 h 10000"/>
                      <a:gd name="connsiteX45" fmla="*/ 9231 w 10000"/>
                      <a:gd name="connsiteY45" fmla="*/ 3080 h 10000"/>
                      <a:gd name="connsiteX46" fmla="*/ 9377 w 10000"/>
                      <a:gd name="connsiteY46" fmla="*/ 2319 h 10000"/>
                      <a:gd name="connsiteX47" fmla="*/ 8608 w 10000"/>
                      <a:gd name="connsiteY47" fmla="*/ 2138 h 10000"/>
                      <a:gd name="connsiteX48" fmla="*/ 8535 w 10000"/>
                      <a:gd name="connsiteY48" fmla="*/ 1377 h 10000"/>
                      <a:gd name="connsiteX49" fmla="*/ 7802 w 10000"/>
                      <a:gd name="connsiteY49" fmla="*/ 1377 h 10000"/>
                      <a:gd name="connsiteX50" fmla="*/ 7546 w 10000"/>
                      <a:gd name="connsiteY50" fmla="*/ 616 h 10000"/>
                      <a:gd name="connsiteX51" fmla="*/ 6777 w 10000"/>
                      <a:gd name="connsiteY51" fmla="*/ 797 h 10000"/>
                      <a:gd name="connsiteX52" fmla="*/ 6337 w 10000"/>
                      <a:gd name="connsiteY52" fmla="*/ 181 h 10000"/>
                      <a:gd name="connsiteX53" fmla="*/ 5678 w 10000"/>
                      <a:gd name="connsiteY53" fmla="*/ 507 h 10000"/>
                      <a:gd name="connsiteX54" fmla="*/ 5092 w 10000"/>
                      <a:gd name="connsiteY54" fmla="*/ 0 h 10000"/>
                      <a:gd name="connsiteX55" fmla="*/ 4505 w 10000"/>
                      <a:gd name="connsiteY55" fmla="*/ 507 h 10000"/>
                      <a:gd name="connsiteX56" fmla="*/ 3810 w 10000"/>
                      <a:gd name="connsiteY56" fmla="*/ 181 h 10000"/>
                      <a:gd name="connsiteX57" fmla="*/ 3370 w 10000"/>
                      <a:gd name="connsiteY57" fmla="*/ 797 h 10000"/>
                      <a:gd name="connsiteX58" fmla="*/ 2637 w 10000"/>
                      <a:gd name="connsiteY58" fmla="*/ 616 h 10000"/>
                      <a:gd name="connsiteX59" fmla="*/ 2381 w 10000"/>
                      <a:gd name="connsiteY59" fmla="*/ 1377 h 10000"/>
                      <a:gd name="connsiteX60" fmla="*/ 1612 w 10000"/>
                      <a:gd name="connsiteY60" fmla="*/ 1377 h 10000"/>
                      <a:gd name="connsiteX61" fmla="*/ 1538 w 10000"/>
                      <a:gd name="connsiteY61" fmla="*/ 2138 h 10000"/>
                      <a:gd name="connsiteX62" fmla="*/ 769 w 10000"/>
                      <a:gd name="connsiteY62" fmla="*/ 2319 h 10000"/>
                      <a:gd name="connsiteX63" fmla="*/ 916 w 10000"/>
                      <a:gd name="connsiteY63" fmla="*/ 3080 h 10000"/>
                      <a:gd name="connsiteX64" fmla="*/ 256 w 10000"/>
                      <a:gd name="connsiteY64" fmla="*/ 3442 h 10000"/>
                      <a:gd name="connsiteX65" fmla="*/ 586 w 10000"/>
                      <a:gd name="connsiteY65" fmla="*/ 4167 h 10000"/>
                      <a:gd name="connsiteX66" fmla="*/ 0 w 10000"/>
                      <a:gd name="connsiteY66" fmla="*/ 4674 h 10000"/>
                      <a:gd name="connsiteX67" fmla="*/ 513 w 10000"/>
                      <a:gd name="connsiteY67" fmla="*/ 5290 h 10000"/>
                      <a:gd name="connsiteX68" fmla="*/ 110 w 10000"/>
                      <a:gd name="connsiteY68" fmla="*/ 5978 h 10000"/>
                      <a:gd name="connsiteX69" fmla="*/ 733 w 10000"/>
                      <a:gd name="connsiteY69" fmla="*/ 6449 h 10000"/>
                      <a:gd name="connsiteX70" fmla="*/ 513 w 10000"/>
                      <a:gd name="connsiteY70" fmla="*/ 7138 h 10000"/>
                      <a:gd name="connsiteX71" fmla="*/ 1209 w 10000"/>
                      <a:gd name="connsiteY71" fmla="*/ 7428 h 10000"/>
                      <a:gd name="connsiteX72" fmla="*/ 1172 w 10000"/>
                      <a:gd name="connsiteY72" fmla="*/ 8261 h 10000"/>
                      <a:gd name="connsiteX73" fmla="*/ 1941 w 10000"/>
                      <a:gd name="connsiteY73" fmla="*/ 8333 h 10000"/>
                      <a:gd name="connsiteX74" fmla="*/ 2088 w 10000"/>
                      <a:gd name="connsiteY74" fmla="*/ 9094 h 10000"/>
                      <a:gd name="connsiteX75" fmla="*/ 2857 w 10000"/>
                      <a:gd name="connsiteY75" fmla="*/ 8986 h 10000"/>
                      <a:gd name="connsiteX76" fmla="*/ 3223 w 10000"/>
                      <a:gd name="connsiteY76" fmla="*/ 9710 h 10000"/>
                      <a:gd name="connsiteX77" fmla="*/ 3956 w 10000"/>
                      <a:gd name="connsiteY77" fmla="*/ 9420 h 10000"/>
                      <a:gd name="connsiteX78" fmla="*/ 4432 w 10000"/>
                      <a:gd name="connsiteY78" fmla="*/ 10000 h 10000"/>
                      <a:gd name="connsiteX79" fmla="*/ 5092 w 10000"/>
                      <a:gd name="connsiteY79" fmla="*/ 9565 h 10000"/>
                      <a:gd name="connsiteX80" fmla="*/ 5714 w 10000"/>
                      <a:gd name="connsiteY80" fmla="*/ 10000 h 10000"/>
                      <a:gd name="connsiteX81" fmla="*/ 5824 w 10000"/>
                      <a:gd name="connsiteY81" fmla="*/ 9855 h 10000"/>
                      <a:gd name="connsiteX82" fmla="*/ 5055 w 10000"/>
                      <a:gd name="connsiteY82" fmla="*/ 9094 h 10000"/>
                      <a:gd name="connsiteX0" fmla="*/ 5055 w 10000"/>
                      <a:gd name="connsiteY0" fmla="*/ 9094 h 10000"/>
                      <a:gd name="connsiteX1" fmla="*/ 5018 w 10000"/>
                      <a:gd name="connsiteY1" fmla="*/ 8949 h 10000"/>
                      <a:gd name="connsiteX2" fmla="*/ 4945 w 10000"/>
                      <a:gd name="connsiteY2" fmla="*/ 8804 h 10000"/>
                      <a:gd name="connsiteX3" fmla="*/ 4579 w 10000"/>
                      <a:gd name="connsiteY3" fmla="*/ 9094 h 10000"/>
                      <a:gd name="connsiteX4" fmla="*/ 4139 w 10000"/>
                      <a:gd name="connsiteY4" fmla="*/ 8623 h 10000"/>
                      <a:gd name="connsiteX5" fmla="*/ 3553 w 10000"/>
                      <a:gd name="connsiteY5" fmla="*/ 8804 h 10000"/>
                      <a:gd name="connsiteX6" fmla="*/ 3260 w 10000"/>
                      <a:gd name="connsiteY6" fmla="*/ 8261 h 10000"/>
                      <a:gd name="connsiteX7" fmla="*/ 2637 w 10000"/>
                      <a:gd name="connsiteY7" fmla="*/ 8333 h 10000"/>
                      <a:gd name="connsiteX8" fmla="*/ 2527 w 10000"/>
                      <a:gd name="connsiteY8" fmla="*/ 7717 h 10000"/>
                      <a:gd name="connsiteX9" fmla="*/ 1905 w 10000"/>
                      <a:gd name="connsiteY9" fmla="*/ 7645 h 10000"/>
                      <a:gd name="connsiteX10" fmla="*/ 1941 w 10000"/>
                      <a:gd name="connsiteY10" fmla="*/ 7029 h 10000"/>
                      <a:gd name="connsiteX11" fmla="*/ 1355 w 10000"/>
                      <a:gd name="connsiteY11" fmla="*/ 6775 h 10000"/>
                      <a:gd name="connsiteX12" fmla="*/ 1502 w 10000"/>
                      <a:gd name="connsiteY12" fmla="*/ 6159 h 10000"/>
                      <a:gd name="connsiteX13" fmla="*/ 1026 w 10000"/>
                      <a:gd name="connsiteY13" fmla="*/ 5761 h 10000"/>
                      <a:gd name="connsiteX14" fmla="*/ 1355 w 10000"/>
                      <a:gd name="connsiteY14" fmla="*/ 5254 h 10000"/>
                      <a:gd name="connsiteX15" fmla="*/ 989 w 10000"/>
                      <a:gd name="connsiteY15" fmla="*/ 4783 h 10000"/>
                      <a:gd name="connsiteX16" fmla="*/ 1392 w 10000"/>
                      <a:gd name="connsiteY16" fmla="*/ 4312 h 10000"/>
                      <a:gd name="connsiteX17" fmla="*/ 1172 w 10000"/>
                      <a:gd name="connsiteY17" fmla="*/ 3732 h 10000"/>
                      <a:gd name="connsiteX18" fmla="*/ 1685 w 10000"/>
                      <a:gd name="connsiteY18" fmla="*/ 3442 h 10000"/>
                      <a:gd name="connsiteX19" fmla="*/ 1612 w 10000"/>
                      <a:gd name="connsiteY19" fmla="*/ 2826 h 10000"/>
                      <a:gd name="connsiteX20" fmla="*/ 2234 w 10000"/>
                      <a:gd name="connsiteY20" fmla="*/ 2645 h 10000"/>
                      <a:gd name="connsiteX21" fmla="*/ 2271 w 10000"/>
                      <a:gd name="connsiteY21" fmla="*/ 2029 h 10000"/>
                      <a:gd name="connsiteX22" fmla="*/ 2894 w 10000"/>
                      <a:gd name="connsiteY22" fmla="*/ 2029 h 10000"/>
                      <a:gd name="connsiteX23" fmla="*/ 3077 w 10000"/>
                      <a:gd name="connsiteY23" fmla="*/ 1413 h 10000"/>
                      <a:gd name="connsiteX24" fmla="*/ 3700 w 10000"/>
                      <a:gd name="connsiteY24" fmla="*/ 1594 h 10000"/>
                      <a:gd name="connsiteX25" fmla="*/ 4029 w 10000"/>
                      <a:gd name="connsiteY25" fmla="*/ 1087 h 10000"/>
                      <a:gd name="connsiteX26" fmla="*/ 4615 w 10000"/>
                      <a:gd name="connsiteY26" fmla="*/ 1377 h 10000"/>
                      <a:gd name="connsiteX27" fmla="*/ 5092 w 10000"/>
                      <a:gd name="connsiteY27" fmla="*/ 942 h 10000"/>
                      <a:gd name="connsiteX28" fmla="*/ 5531 w 10000"/>
                      <a:gd name="connsiteY28" fmla="*/ 1377 h 10000"/>
                      <a:gd name="connsiteX29" fmla="*/ 6117 w 10000"/>
                      <a:gd name="connsiteY29" fmla="*/ 1087 h 10000"/>
                      <a:gd name="connsiteX30" fmla="*/ 6447 w 10000"/>
                      <a:gd name="connsiteY30" fmla="*/ 1594 h 10000"/>
                      <a:gd name="connsiteX31" fmla="*/ 7070 w 10000"/>
                      <a:gd name="connsiteY31" fmla="*/ 1413 h 10000"/>
                      <a:gd name="connsiteX32" fmla="*/ 7253 w 10000"/>
                      <a:gd name="connsiteY32" fmla="*/ 2029 h 10000"/>
                      <a:gd name="connsiteX33" fmla="*/ 7912 w 10000"/>
                      <a:gd name="connsiteY33" fmla="*/ 2029 h 10000"/>
                      <a:gd name="connsiteX34" fmla="*/ 7985 w 10000"/>
                      <a:gd name="connsiteY34" fmla="*/ 2645 h 10000"/>
                      <a:gd name="connsiteX35" fmla="*/ 8535 w 10000"/>
                      <a:gd name="connsiteY35" fmla="*/ 2826 h 10000"/>
                      <a:gd name="connsiteX36" fmla="*/ 8462 w 10000"/>
                      <a:gd name="connsiteY36" fmla="*/ 3442 h 10000"/>
                      <a:gd name="connsiteX37" fmla="*/ 9048 w 10000"/>
                      <a:gd name="connsiteY37" fmla="*/ 3732 h 10000"/>
                      <a:gd name="connsiteX38" fmla="*/ 8755 w 10000"/>
                      <a:gd name="connsiteY38" fmla="*/ 4312 h 10000"/>
                      <a:gd name="connsiteX39" fmla="*/ 9231 w 10000"/>
                      <a:gd name="connsiteY39" fmla="*/ 4783 h 10000"/>
                      <a:gd name="connsiteX40" fmla="*/ 8791 w 10000"/>
                      <a:gd name="connsiteY40" fmla="*/ 5254 h 10000"/>
                      <a:gd name="connsiteX41" fmla="*/ 8828 w 10000"/>
                      <a:gd name="connsiteY41" fmla="*/ 5290 h 10000"/>
                      <a:gd name="connsiteX42" fmla="*/ 10000 w 10000"/>
                      <a:gd name="connsiteY42" fmla="*/ 4529 h 10000"/>
                      <a:gd name="connsiteX43" fmla="*/ 9597 w 10000"/>
                      <a:gd name="connsiteY43" fmla="*/ 4167 h 10000"/>
                      <a:gd name="connsiteX44" fmla="*/ 9890 w 10000"/>
                      <a:gd name="connsiteY44" fmla="*/ 3442 h 10000"/>
                      <a:gd name="connsiteX45" fmla="*/ 9231 w 10000"/>
                      <a:gd name="connsiteY45" fmla="*/ 3080 h 10000"/>
                      <a:gd name="connsiteX46" fmla="*/ 9377 w 10000"/>
                      <a:gd name="connsiteY46" fmla="*/ 2319 h 10000"/>
                      <a:gd name="connsiteX47" fmla="*/ 8608 w 10000"/>
                      <a:gd name="connsiteY47" fmla="*/ 2138 h 10000"/>
                      <a:gd name="connsiteX48" fmla="*/ 8535 w 10000"/>
                      <a:gd name="connsiteY48" fmla="*/ 1377 h 10000"/>
                      <a:gd name="connsiteX49" fmla="*/ 7802 w 10000"/>
                      <a:gd name="connsiteY49" fmla="*/ 1377 h 10000"/>
                      <a:gd name="connsiteX50" fmla="*/ 7546 w 10000"/>
                      <a:gd name="connsiteY50" fmla="*/ 616 h 10000"/>
                      <a:gd name="connsiteX51" fmla="*/ 6777 w 10000"/>
                      <a:gd name="connsiteY51" fmla="*/ 797 h 10000"/>
                      <a:gd name="connsiteX52" fmla="*/ 6337 w 10000"/>
                      <a:gd name="connsiteY52" fmla="*/ 181 h 10000"/>
                      <a:gd name="connsiteX53" fmla="*/ 5678 w 10000"/>
                      <a:gd name="connsiteY53" fmla="*/ 507 h 10000"/>
                      <a:gd name="connsiteX54" fmla="*/ 5092 w 10000"/>
                      <a:gd name="connsiteY54" fmla="*/ 0 h 10000"/>
                      <a:gd name="connsiteX55" fmla="*/ 4505 w 10000"/>
                      <a:gd name="connsiteY55" fmla="*/ 507 h 10000"/>
                      <a:gd name="connsiteX56" fmla="*/ 3810 w 10000"/>
                      <a:gd name="connsiteY56" fmla="*/ 181 h 10000"/>
                      <a:gd name="connsiteX57" fmla="*/ 3370 w 10000"/>
                      <a:gd name="connsiteY57" fmla="*/ 797 h 10000"/>
                      <a:gd name="connsiteX58" fmla="*/ 2637 w 10000"/>
                      <a:gd name="connsiteY58" fmla="*/ 616 h 10000"/>
                      <a:gd name="connsiteX59" fmla="*/ 2381 w 10000"/>
                      <a:gd name="connsiteY59" fmla="*/ 1377 h 10000"/>
                      <a:gd name="connsiteX60" fmla="*/ 1612 w 10000"/>
                      <a:gd name="connsiteY60" fmla="*/ 1377 h 10000"/>
                      <a:gd name="connsiteX61" fmla="*/ 1538 w 10000"/>
                      <a:gd name="connsiteY61" fmla="*/ 2138 h 10000"/>
                      <a:gd name="connsiteX62" fmla="*/ 769 w 10000"/>
                      <a:gd name="connsiteY62" fmla="*/ 2319 h 10000"/>
                      <a:gd name="connsiteX63" fmla="*/ 916 w 10000"/>
                      <a:gd name="connsiteY63" fmla="*/ 3080 h 10000"/>
                      <a:gd name="connsiteX64" fmla="*/ 256 w 10000"/>
                      <a:gd name="connsiteY64" fmla="*/ 3442 h 10000"/>
                      <a:gd name="connsiteX65" fmla="*/ 586 w 10000"/>
                      <a:gd name="connsiteY65" fmla="*/ 4167 h 10000"/>
                      <a:gd name="connsiteX66" fmla="*/ 0 w 10000"/>
                      <a:gd name="connsiteY66" fmla="*/ 4674 h 10000"/>
                      <a:gd name="connsiteX67" fmla="*/ 513 w 10000"/>
                      <a:gd name="connsiteY67" fmla="*/ 5290 h 10000"/>
                      <a:gd name="connsiteX68" fmla="*/ 110 w 10000"/>
                      <a:gd name="connsiteY68" fmla="*/ 5978 h 10000"/>
                      <a:gd name="connsiteX69" fmla="*/ 733 w 10000"/>
                      <a:gd name="connsiteY69" fmla="*/ 6449 h 10000"/>
                      <a:gd name="connsiteX70" fmla="*/ 513 w 10000"/>
                      <a:gd name="connsiteY70" fmla="*/ 7138 h 10000"/>
                      <a:gd name="connsiteX71" fmla="*/ 1209 w 10000"/>
                      <a:gd name="connsiteY71" fmla="*/ 7428 h 10000"/>
                      <a:gd name="connsiteX72" fmla="*/ 1172 w 10000"/>
                      <a:gd name="connsiteY72" fmla="*/ 8261 h 10000"/>
                      <a:gd name="connsiteX73" fmla="*/ 1941 w 10000"/>
                      <a:gd name="connsiteY73" fmla="*/ 8333 h 10000"/>
                      <a:gd name="connsiteX74" fmla="*/ 2088 w 10000"/>
                      <a:gd name="connsiteY74" fmla="*/ 9094 h 10000"/>
                      <a:gd name="connsiteX75" fmla="*/ 2857 w 10000"/>
                      <a:gd name="connsiteY75" fmla="*/ 8986 h 10000"/>
                      <a:gd name="connsiteX76" fmla="*/ 3223 w 10000"/>
                      <a:gd name="connsiteY76" fmla="*/ 9710 h 10000"/>
                      <a:gd name="connsiteX77" fmla="*/ 3956 w 10000"/>
                      <a:gd name="connsiteY77" fmla="*/ 9420 h 10000"/>
                      <a:gd name="connsiteX78" fmla="*/ 4432 w 10000"/>
                      <a:gd name="connsiteY78" fmla="*/ 10000 h 10000"/>
                      <a:gd name="connsiteX79" fmla="*/ 5092 w 10000"/>
                      <a:gd name="connsiteY79" fmla="*/ 9565 h 10000"/>
                      <a:gd name="connsiteX80" fmla="*/ 5714 w 10000"/>
                      <a:gd name="connsiteY80" fmla="*/ 10000 h 10000"/>
                      <a:gd name="connsiteX81" fmla="*/ 5824 w 10000"/>
                      <a:gd name="connsiteY81" fmla="*/ 9855 h 10000"/>
                      <a:gd name="connsiteX82" fmla="*/ 5055 w 10000"/>
                      <a:gd name="connsiteY82" fmla="*/ 9094 h 10000"/>
                      <a:gd name="connsiteX0" fmla="*/ 5055 w 10000"/>
                      <a:gd name="connsiteY0" fmla="*/ 9094 h 10000"/>
                      <a:gd name="connsiteX1" fmla="*/ 4945 w 10000"/>
                      <a:gd name="connsiteY1" fmla="*/ 8804 h 10000"/>
                      <a:gd name="connsiteX2" fmla="*/ 4579 w 10000"/>
                      <a:gd name="connsiteY2" fmla="*/ 9094 h 10000"/>
                      <a:gd name="connsiteX3" fmla="*/ 4139 w 10000"/>
                      <a:gd name="connsiteY3" fmla="*/ 8623 h 10000"/>
                      <a:gd name="connsiteX4" fmla="*/ 3553 w 10000"/>
                      <a:gd name="connsiteY4" fmla="*/ 8804 h 10000"/>
                      <a:gd name="connsiteX5" fmla="*/ 3260 w 10000"/>
                      <a:gd name="connsiteY5" fmla="*/ 8261 h 10000"/>
                      <a:gd name="connsiteX6" fmla="*/ 2637 w 10000"/>
                      <a:gd name="connsiteY6" fmla="*/ 8333 h 10000"/>
                      <a:gd name="connsiteX7" fmla="*/ 2527 w 10000"/>
                      <a:gd name="connsiteY7" fmla="*/ 7717 h 10000"/>
                      <a:gd name="connsiteX8" fmla="*/ 1905 w 10000"/>
                      <a:gd name="connsiteY8" fmla="*/ 7645 h 10000"/>
                      <a:gd name="connsiteX9" fmla="*/ 1941 w 10000"/>
                      <a:gd name="connsiteY9" fmla="*/ 7029 h 10000"/>
                      <a:gd name="connsiteX10" fmla="*/ 1355 w 10000"/>
                      <a:gd name="connsiteY10" fmla="*/ 6775 h 10000"/>
                      <a:gd name="connsiteX11" fmla="*/ 1502 w 10000"/>
                      <a:gd name="connsiteY11" fmla="*/ 6159 h 10000"/>
                      <a:gd name="connsiteX12" fmla="*/ 1026 w 10000"/>
                      <a:gd name="connsiteY12" fmla="*/ 5761 h 10000"/>
                      <a:gd name="connsiteX13" fmla="*/ 1355 w 10000"/>
                      <a:gd name="connsiteY13" fmla="*/ 5254 h 10000"/>
                      <a:gd name="connsiteX14" fmla="*/ 989 w 10000"/>
                      <a:gd name="connsiteY14" fmla="*/ 4783 h 10000"/>
                      <a:gd name="connsiteX15" fmla="*/ 1392 w 10000"/>
                      <a:gd name="connsiteY15" fmla="*/ 4312 h 10000"/>
                      <a:gd name="connsiteX16" fmla="*/ 1172 w 10000"/>
                      <a:gd name="connsiteY16" fmla="*/ 3732 h 10000"/>
                      <a:gd name="connsiteX17" fmla="*/ 1685 w 10000"/>
                      <a:gd name="connsiteY17" fmla="*/ 3442 h 10000"/>
                      <a:gd name="connsiteX18" fmla="*/ 1612 w 10000"/>
                      <a:gd name="connsiteY18" fmla="*/ 2826 h 10000"/>
                      <a:gd name="connsiteX19" fmla="*/ 2234 w 10000"/>
                      <a:gd name="connsiteY19" fmla="*/ 2645 h 10000"/>
                      <a:gd name="connsiteX20" fmla="*/ 2271 w 10000"/>
                      <a:gd name="connsiteY20" fmla="*/ 2029 h 10000"/>
                      <a:gd name="connsiteX21" fmla="*/ 2894 w 10000"/>
                      <a:gd name="connsiteY21" fmla="*/ 2029 h 10000"/>
                      <a:gd name="connsiteX22" fmla="*/ 3077 w 10000"/>
                      <a:gd name="connsiteY22" fmla="*/ 1413 h 10000"/>
                      <a:gd name="connsiteX23" fmla="*/ 3700 w 10000"/>
                      <a:gd name="connsiteY23" fmla="*/ 1594 h 10000"/>
                      <a:gd name="connsiteX24" fmla="*/ 4029 w 10000"/>
                      <a:gd name="connsiteY24" fmla="*/ 1087 h 10000"/>
                      <a:gd name="connsiteX25" fmla="*/ 4615 w 10000"/>
                      <a:gd name="connsiteY25" fmla="*/ 1377 h 10000"/>
                      <a:gd name="connsiteX26" fmla="*/ 5092 w 10000"/>
                      <a:gd name="connsiteY26" fmla="*/ 942 h 10000"/>
                      <a:gd name="connsiteX27" fmla="*/ 5531 w 10000"/>
                      <a:gd name="connsiteY27" fmla="*/ 1377 h 10000"/>
                      <a:gd name="connsiteX28" fmla="*/ 6117 w 10000"/>
                      <a:gd name="connsiteY28" fmla="*/ 1087 h 10000"/>
                      <a:gd name="connsiteX29" fmla="*/ 6447 w 10000"/>
                      <a:gd name="connsiteY29" fmla="*/ 1594 h 10000"/>
                      <a:gd name="connsiteX30" fmla="*/ 7070 w 10000"/>
                      <a:gd name="connsiteY30" fmla="*/ 1413 h 10000"/>
                      <a:gd name="connsiteX31" fmla="*/ 7253 w 10000"/>
                      <a:gd name="connsiteY31" fmla="*/ 2029 h 10000"/>
                      <a:gd name="connsiteX32" fmla="*/ 7912 w 10000"/>
                      <a:gd name="connsiteY32" fmla="*/ 2029 h 10000"/>
                      <a:gd name="connsiteX33" fmla="*/ 7985 w 10000"/>
                      <a:gd name="connsiteY33" fmla="*/ 2645 h 10000"/>
                      <a:gd name="connsiteX34" fmla="*/ 8535 w 10000"/>
                      <a:gd name="connsiteY34" fmla="*/ 2826 h 10000"/>
                      <a:gd name="connsiteX35" fmla="*/ 8462 w 10000"/>
                      <a:gd name="connsiteY35" fmla="*/ 3442 h 10000"/>
                      <a:gd name="connsiteX36" fmla="*/ 9048 w 10000"/>
                      <a:gd name="connsiteY36" fmla="*/ 3732 h 10000"/>
                      <a:gd name="connsiteX37" fmla="*/ 8755 w 10000"/>
                      <a:gd name="connsiteY37" fmla="*/ 4312 h 10000"/>
                      <a:gd name="connsiteX38" fmla="*/ 9231 w 10000"/>
                      <a:gd name="connsiteY38" fmla="*/ 4783 h 10000"/>
                      <a:gd name="connsiteX39" fmla="*/ 8791 w 10000"/>
                      <a:gd name="connsiteY39" fmla="*/ 5254 h 10000"/>
                      <a:gd name="connsiteX40" fmla="*/ 8828 w 10000"/>
                      <a:gd name="connsiteY40" fmla="*/ 5290 h 10000"/>
                      <a:gd name="connsiteX41" fmla="*/ 10000 w 10000"/>
                      <a:gd name="connsiteY41" fmla="*/ 4529 h 10000"/>
                      <a:gd name="connsiteX42" fmla="*/ 9597 w 10000"/>
                      <a:gd name="connsiteY42" fmla="*/ 4167 h 10000"/>
                      <a:gd name="connsiteX43" fmla="*/ 9890 w 10000"/>
                      <a:gd name="connsiteY43" fmla="*/ 3442 h 10000"/>
                      <a:gd name="connsiteX44" fmla="*/ 9231 w 10000"/>
                      <a:gd name="connsiteY44" fmla="*/ 3080 h 10000"/>
                      <a:gd name="connsiteX45" fmla="*/ 9377 w 10000"/>
                      <a:gd name="connsiteY45" fmla="*/ 2319 h 10000"/>
                      <a:gd name="connsiteX46" fmla="*/ 8608 w 10000"/>
                      <a:gd name="connsiteY46" fmla="*/ 2138 h 10000"/>
                      <a:gd name="connsiteX47" fmla="*/ 8535 w 10000"/>
                      <a:gd name="connsiteY47" fmla="*/ 1377 h 10000"/>
                      <a:gd name="connsiteX48" fmla="*/ 7802 w 10000"/>
                      <a:gd name="connsiteY48" fmla="*/ 1377 h 10000"/>
                      <a:gd name="connsiteX49" fmla="*/ 7546 w 10000"/>
                      <a:gd name="connsiteY49" fmla="*/ 616 h 10000"/>
                      <a:gd name="connsiteX50" fmla="*/ 6777 w 10000"/>
                      <a:gd name="connsiteY50" fmla="*/ 797 h 10000"/>
                      <a:gd name="connsiteX51" fmla="*/ 6337 w 10000"/>
                      <a:gd name="connsiteY51" fmla="*/ 181 h 10000"/>
                      <a:gd name="connsiteX52" fmla="*/ 5678 w 10000"/>
                      <a:gd name="connsiteY52" fmla="*/ 507 h 10000"/>
                      <a:gd name="connsiteX53" fmla="*/ 5092 w 10000"/>
                      <a:gd name="connsiteY53" fmla="*/ 0 h 10000"/>
                      <a:gd name="connsiteX54" fmla="*/ 4505 w 10000"/>
                      <a:gd name="connsiteY54" fmla="*/ 507 h 10000"/>
                      <a:gd name="connsiteX55" fmla="*/ 3810 w 10000"/>
                      <a:gd name="connsiteY55" fmla="*/ 181 h 10000"/>
                      <a:gd name="connsiteX56" fmla="*/ 3370 w 10000"/>
                      <a:gd name="connsiteY56" fmla="*/ 797 h 10000"/>
                      <a:gd name="connsiteX57" fmla="*/ 2637 w 10000"/>
                      <a:gd name="connsiteY57" fmla="*/ 616 h 10000"/>
                      <a:gd name="connsiteX58" fmla="*/ 2381 w 10000"/>
                      <a:gd name="connsiteY58" fmla="*/ 1377 h 10000"/>
                      <a:gd name="connsiteX59" fmla="*/ 1612 w 10000"/>
                      <a:gd name="connsiteY59" fmla="*/ 1377 h 10000"/>
                      <a:gd name="connsiteX60" fmla="*/ 1538 w 10000"/>
                      <a:gd name="connsiteY60" fmla="*/ 2138 h 10000"/>
                      <a:gd name="connsiteX61" fmla="*/ 769 w 10000"/>
                      <a:gd name="connsiteY61" fmla="*/ 2319 h 10000"/>
                      <a:gd name="connsiteX62" fmla="*/ 916 w 10000"/>
                      <a:gd name="connsiteY62" fmla="*/ 3080 h 10000"/>
                      <a:gd name="connsiteX63" fmla="*/ 256 w 10000"/>
                      <a:gd name="connsiteY63" fmla="*/ 3442 h 10000"/>
                      <a:gd name="connsiteX64" fmla="*/ 586 w 10000"/>
                      <a:gd name="connsiteY64" fmla="*/ 4167 h 10000"/>
                      <a:gd name="connsiteX65" fmla="*/ 0 w 10000"/>
                      <a:gd name="connsiteY65" fmla="*/ 4674 h 10000"/>
                      <a:gd name="connsiteX66" fmla="*/ 513 w 10000"/>
                      <a:gd name="connsiteY66" fmla="*/ 5290 h 10000"/>
                      <a:gd name="connsiteX67" fmla="*/ 110 w 10000"/>
                      <a:gd name="connsiteY67" fmla="*/ 5978 h 10000"/>
                      <a:gd name="connsiteX68" fmla="*/ 733 w 10000"/>
                      <a:gd name="connsiteY68" fmla="*/ 6449 h 10000"/>
                      <a:gd name="connsiteX69" fmla="*/ 513 w 10000"/>
                      <a:gd name="connsiteY69" fmla="*/ 7138 h 10000"/>
                      <a:gd name="connsiteX70" fmla="*/ 1209 w 10000"/>
                      <a:gd name="connsiteY70" fmla="*/ 7428 h 10000"/>
                      <a:gd name="connsiteX71" fmla="*/ 1172 w 10000"/>
                      <a:gd name="connsiteY71" fmla="*/ 8261 h 10000"/>
                      <a:gd name="connsiteX72" fmla="*/ 1941 w 10000"/>
                      <a:gd name="connsiteY72" fmla="*/ 8333 h 10000"/>
                      <a:gd name="connsiteX73" fmla="*/ 2088 w 10000"/>
                      <a:gd name="connsiteY73" fmla="*/ 9094 h 10000"/>
                      <a:gd name="connsiteX74" fmla="*/ 2857 w 10000"/>
                      <a:gd name="connsiteY74" fmla="*/ 8986 h 10000"/>
                      <a:gd name="connsiteX75" fmla="*/ 3223 w 10000"/>
                      <a:gd name="connsiteY75" fmla="*/ 9710 h 10000"/>
                      <a:gd name="connsiteX76" fmla="*/ 3956 w 10000"/>
                      <a:gd name="connsiteY76" fmla="*/ 9420 h 10000"/>
                      <a:gd name="connsiteX77" fmla="*/ 4432 w 10000"/>
                      <a:gd name="connsiteY77" fmla="*/ 10000 h 10000"/>
                      <a:gd name="connsiteX78" fmla="*/ 5092 w 10000"/>
                      <a:gd name="connsiteY78" fmla="*/ 9565 h 10000"/>
                      <a:gd name="connsiteX79" fmla="*/ 5714 w 10000"/>
                      <a:gd name="connsiteY79" fmla="*/ 10000 h 10000"/>
                      <a:gd name="connsiteX80" fmla="*/ 5824 w 10000"/>
                      <a:gd name="connsiteY80" fmla="*/ 9855 h 10000"/>
                      <a:gd name="connsiteX81" fmla="*/ 5055 w 10000"/>
                      <a:gd name="connsiteY81" fmla="*/ 9094 h 10000"/>
                      <a:gd name="connsiteX0" fmla="*/ 5824 w 10000"/>
                      <a:gd name="connsiteY0" fmla="*/ 9855 h 10000"/>
                      <a:gd name="connsiteX1" fmla="*/ 4945 w 10000"/>
                      <a:gd name="connsiteY1" fmla="*/ 8804 h 10000"/>
                      <a:gd name="connsiteX2" fmla="*/ 4579 w 10000"/>
                      <a:gd name="connsiteY2" fmla="*/ 9094 h 10000"/>
                      <a:gd name="connsiteX3" fmla="*/ 4139 w 10000"/>
                      <a:gd name="connsiteY3" fmla="*/ 8623 h 10000"/>
                      <a:gd name="connsiteX4" fmla="*/ 3553 w 10000"/>
                      <a:gd name="connsiteY4" fmla="*/ 8804 h 10000"/>
                      <a:gd name="connsiteX5" fmla="*/ 3260 w 10000"/>
                      <a:gd name="connsiteY5" fmla="*/ 8261 h 10000"/>
                      <a:gd name="connsiteX6" fmla="*/ 2637 w 10000"/>
                      <a:gd name="connsiteY6" fmla="*/ 8333 h 10000"/>
                      <a:gd name="connsiteX7" fmla="*/ 2527 w 10000"/>
                      <a:gd name="connsiteY7" fmla="*/ 7717 h 10000"/>
                      <a:gd name="connsiteX8" fmla="*/ 1905 w 10000"/>
                      <a:gd name="connsiteY8" fmla="*/ 7645 h 10000"/>
                      <a:gd name="connsiteX9" fmla="*/ 1941 w 10000"/>
                      <a:gd name="connsiteY9" fmla="*/ 7029 h 10000"/>
                      <a:gd name="connsiteX10" fmla="*/ 1355 w 10000"/>
                      <a:gd name="connsiteY10" fmla="*/ 6775 h 10000"/>
                      <a:gd name="connsiteX11" fmla="*/ 1502 w 10000"/>
                      <a:gd name="connsiteY11" fmla="*/ 6159 h 10000"/>
                      <a:gd name="connsiteX12" fmla="*/ 1026 w 10000"/>
                      <a:gd name="connsiteY12" fmla="*/ 5761 h 10000"/>
                      <a:gd name="connsiteX13" fmla="*/ 1355 w 10000"/>
                      <a:gd name="connsiteY13" fmla="*/ 5254 h 10000"/>
                      <a:gd name="connsiteX14" fmla="*/ 989 w 10000"/>
                      <a:gd name="connsiteY14" fmla="*/ 4783 h 10000"/>
                      <a:gd name="connsiteX15" fmla="*/ 1392 w 10000"/>
                      <a:gd name="connsiteY15" fmla="*/ 4312 h 10000"/>
                      <a:gd name="connsiteX16" fmla="*/ 1172 w 10000"/>
                      <a:gd name="connsiteY16" fmla="*/ 3732 h 10000"/>
                      <a:gd name="connsiteX17" fmla="*/ 1685 w 10000"/>
                      <a:gd name="connsiteY17" fmla="*/ 3442 h 10000"/>
                      <a:gd name="connsiteX18" fmla="*/ 1612 w 10000"/>
                      <a:gd name="connsiteY18" fmla="*/ 2826 h 10000"/>
                      <a:gd name="connsiteX19" fmla="*/ 2234 w 10000"/>
                      <a:gd name="connsiteY19" fmla="*/ 2645 h 10000"/>
                      <a:gd name="connsiteX20" fmla="*/ 2271 w 10000"/>
                      <a:gd name="connsiteY20" fmla="*/ 2029 h 10000"/>
                      <a:gd name="connsiteX21" fmla="*/ 2894 w 10000"/>
                      <a:gd name="connsiteY21" fmla="*/ 2029 h 10000"/>
                      <a:gd name="connsiteX22" fmla="*/ 3077 w 10000"/>
                      <a:gd name="connsiteY22" fmla="*/ 1413 h 10000"/>
                      <a:gd name="connsiteX23" fmla="*/ 3700 w 10000"/>
                      <a:gd name="connsiteY23" fmla="*/ 1594 h 10000"/>
                      <a:gd name="connsiteX24" fmla="*/ 4029 w 10000"/>
                      <a:gd name="connsiteY24" fmla="*/ 1087 h 10000"/>
                      <a:gd name="connsiteX25" fmla="*/ 4615 w 10000"/>
                      <a:gd name="connsiteY25" fmla="*/ 1377 h 10000"/>
                      <a:gd name="connsiteX26" fmla="*/ 5092 w 10000"/>
                      <a:gd name="connsiteY26" fmla="*/ 942 h 10000"/>
                      <a:gd name="connsiteX27" fmla="*/ 5531 w 10000"/>
                      <a:gd name="connsiteY27" fmla="*/ 1377 h 10000"/>
                      <a:gd name="connsiteX28" fmla="*/ 6117 w 10000"/>
                      <a:gd name="connsiteY28" fmla="*/ 1087 h 10000"/>
                      <a:gd name="connsiteX29" fmla="*/ 6447 w 10000"/>
                      <a:gd name="connsiteY29" fmla="*/ 1594 h 10000"/>
                      <a:gd name="connsiteX30" fmla="*/ 7070 w 10000"/>
                      <a:gd name="connsiteY30" fmla="*/ 1413 h 10000"/>
                      <a:gd name="connsiteX31" fmla="*/ 7253 w 10000"/>
                      <a:gd name="connsiteY31" fmla="*/ 2029 h 10000"/>
                      <a:gd name="connsiteX32" fmla="*/ 7912 w 10000"/>
                      <a:gd name="connsiteY32" fmla="*/ 2029 h 10000"/>
                      <a:gd name="connsiteX33" fmla="*/ 7985 w 10000"/>
                      <a:gd name="connsiteY33" fmla="*/ 2645 h 10000"/>
                      <a:gd name="connsiteX34" fmla="*/ 8535 w 10000"/>
                      <a:gd name="connsiteY34" fmla="*/ 2826 h 10000"/>
                      <a:gd name="connsiteX35" fmla="*/ 8462 w 10000"/>
                      <a:gd name="connsiteY35" fmla="*/ 3442 h 10000"/>
                      <a:gd name="connsiteX36" fmla="*/ 9048 w 10000"/>
                      <a:gd name="connsiteY36" fmla="*/ 3732 h 10000"/>
                      <a:gd name="connsiteX37" fmla="*/ 8755 w 10000"/>
                      <a:gd name="connsiteY37" fmla="*/ 4312 h 10000"/>
                      <a:gd name="connsiteX38" fmla="*/ 9231 w 10000"/>
                      <a:gd name="connsiteY38" fmla="*/ 4783 h 10000"/>
                      <a:gd name="connsiteX39" fmla="*/ 8791 w 10000"/>
                      <a:gd name="connsiteY39" fmla="*/ 5254 h 10000"/>
                      <a:gd name="connsiteX40" fmla="*/ 8828 w 10000"/>
                      <a:gd name="connsiteY40" fmla="*/ 5290 h 10000"/>
                      <a:gd name="connsiteX41" fmla="*/ 10000 w 10000"/>
                      <a:gd name="connsiteY41" fmla="*/ 4529 h 10000"/>
                      <a:gd name="connsiteX42" fmla="*/ 9597 w 10000"/>
                      <a:gd name="connsiteY42" fmla="*/ 4167 h 10000"/>
                      <a:gd name="connsiteX43" fmla="*/ 9890 w 10000"/>
                      <a:gd name="connsiteY43" fmla="*/ 3442 h 10000"/>
                      <a:gd name="connsiteX44" fmla="*/ 9231 w 10000"/>
                      <a:gd name="connsiteY44" fmla="*/ 3080 h 10000"/>
                      <a:gd name="connsiteX45" fmla="*/ 9377 w 10000"/>
                      <a:gd name="connsiteY45" fmla="*/ 2319 h 10000"/>
                      <a:gd name="connsiteX46" fmla="*/ 8608 w 10000"/>
                      <a:gd name="connsiteY46" fmla="*/ 2138 h 10000"/>
                      <a:gd name="connsiteX47" fmla="*/ 8535 w 10000"/>
                      <a:gd name="connsiteY47" fmla="*/ 1377 h 10000"/>
                      <a:gd name="connsiteX48" fmla="*/ 7802 w 10000"/>
                      <a:gd name="connsiteY48" fmla="*/ 1377 h 10000"/>
                      <a:gd name="connsiteX49" fmla="*/ 7546 w 10000"/>
                      <a:gd name="connsiteY49" fmla="*/ 616 h 10000"/>
                      <a:gd name="connsiteX50" fmla="*/ 6777 w 10000"/>
                      <a:gd name="connsiteY50" fmla="*/ 797 h 10000"/>
                      <a:gd name="connsiteX51" fmla="*/ 6337 w 10000"/>
                      <a:gd name="connsiteY51" fmla="*/ 181 h 10000"/>
                      <a:gd name="connsiteX52" fmla="*/ 5678 w 10000"/>
                      <a:gd name="connsiteY52" fmla="*/ 507 h 10000"/>
                      <a:gd name="connsiteX53" fmla="*/ 5092 w 10000"/>
                      <a:gd name="connsiteY53" fmla="*/ 0 h 10000"/>
                      <a:gd name="connsiteX54" fmla="*/ 4505 w 10000"/>
                      <a:gd name="connsiteY54" fmla="*/ 507 h 10000"/>
                      <a:gd name="connsiteX55" fmla="*/ 3810 w 10000"/>
                      <a:gd name="connsiteY55" fmla="*/ 181 h 10000"/>
                      <a:gd name="connsiteX56" fmla="*/ 3370 w 10000"/>
                      <a:gd name="connsiteY56" fmla="*/ 797 h 10000"/>
                      <a:gd name="connsiteX57" fmla="*/ 2637 w 10000"/>
                      <a:gd name="connsiteY57" fmla="*/ 616 h 10000"/>
                      <a:gd name="connsiteX58" fmla="*/ 2381 w 10000"/>
                      <a:gd name="connsiteY58" fmla="*/ 1377 h 10000"/>
                      <a:gd name="connsiteX59" fmla="*/ 1612 w 10000"/>
                      <a:gd name="connsiteY59" fmla="*/ 1377 h 10000"/>
                      <a:gd name="connsiteX60" fmla="*/ 1538 w 10000"/>
                      <a:gd name="connsiteY60" fmla="*/ 2138 h 10000"/>
                      <a:gd name="connsiteX61" fmla="*/ 769 w 10000"/>
                      <a:gd name="connsiteY61" fmla="*/ 2319 h 10000"/>
                      <a:gd name="connsiteX62" fmla="*/ 916 w 10000"/>
                      <a:gd name="connsiteY62" fmla="*/ 3080 h 10000"/>
                      <a:gd name="connsiteX63" fmla="*/ 256 w 10000"/>
                      <a:gd name="connsiteY63" fmla="*/ 3442 h 10000"/>
                      <a:gd name="connsiteX64" fmla="*/ 586 w 10000"/>
                      <a:gd name="connsiteY64" fmla="*/ 4167 h 10000"/>
                      <a:gd name="connsiteX65" fmla="*/ 0 w 10000"/>
                      <a:gd name="connsiteY65" fmla="*/ 4674 h 10000"/>
                      <a:gd name="connsiteX66" fmla="*/ 513 w 10000"/>
                      <a:gd name="connsiteY66" fmla="*/ 5290 h 10000"/>
                      <a:gd name="connsiteX67" fmla="*/ 110 w 10000"/>
                      <a:gd name="connsiteY67" fmla="*/ 5978 h 10000"/>
                      <a:gd name="connsiteX68" fmla="*/ 733 w 10000"/>
                      <a:gd name="connsiteY68" fmla="*/ 6449 h 10000"/>
                      <a:gd name="connsiteX69" fmla="*/ 513 w 10000"/>
                      <a:gd name="connsiteY69" fmla="*/ 7138 h 10000"/>
                      <a:gd name="connsiteX70" fmla="*/ 1209 w 10000"/>
                      <a:gd name="connsiteY70" fmla="*/ 7428 h 10000"/>
                      <a:gd name="connsiteX71" fmla="*/ 1172 w 10000"/>
                      <a:gd name="connsiteY71" fmla="*/ 8261 h 10000"/>
                      <a:gd name="connsiteX72" fmla="*/ 1941 w 10000"/>
                      <a:gd name="connsiteY72" fmla="*/ 8333 h 10000"/>
                      <a:gd name="connsiteX73" fmla="*/ 2088 w 10000"/>
                      <a:gd name="connsiteY73" fmla="*/ 9094 h 10000"/>
                      <a:gd name="connsiteX74" fmla="*/ 2857 w 10000"/>
                      <a:gd name="connsiteY74" fmla="*/ 8986 h 10000"/>
                      <a:gd name="connsiteX75" fmla="*/ 3223 w 10000"/>
                      <a:gd name="connsiteY75" fmla="*/ 9710 h 10000"/>
                      <a:gd name="connsiteX76" fmla="*/ 3956 w 10000"/>
                      <a:gd name="connsiteY76" fmla="*/ 9420 h 10000"/>
                      <a:gd name="connsiteX77" fmla="*/ 4432 w 10000"/>
                      <a:gd name="connsiteY77" fmla="*/ 10000 h 10000"/>
                      <a:gd name="connsiteX78" fmla="*/ 5092 w 10000"/>
                      <a:gd name="connsiteY78" fmla="*/ 9565 h 10000"/>
                      <a:gd name="connsiteX79" fmla="*/ 5714 w 10000"/>
                      <a:gd name="connsiteY79" fmla="*/ 10000 h 10000"/>
                      <a:gd name="connsiteX80" fmla="*/ 5824 w 10000"/>
                      <a:gd name="connsiteY80" fmla="*/ 9855 h 10000"/>
                      <a:gd name="connsiteX0" fmla="*/ 5824 w 10000"/>
                      <a:gd name="connsiteY0" fmla="*/ 9855 h 10000"/>
                      <a:gd name="connsiteX1" fmla="*/ 4945 w 10000"/>
                      <a:gd name="connsiteY1" fmla="*/ 8804 h 10000"/>
                      <a:gd name="connsiteX2" fmla="*/ 4579 w 10000"/>
                      <a:gd name="connsiteY2" fmla="*/ 9094 h 10000"/>
                      <a:gd name="connsiteX3" fmla="*/ 4139 w 10000"/>
                      <a:gd name="connsiteY3" fmla="*/ 8623 h 10000"/>
                      <a:gd name="connsiteX4" fmla="*/ 3553 w 10000"/>
                      <a:gd name="connsiteY4" fmla="*/ 8804 h 10000"/>
                      <a:gd name="connsiteX5" fmla="*/ 3260 w 10000"/>
                      <a:gd name="connsiteY5" fmla="*/ 8261 h 10000"/>
                      <a:gd name="connsiteX6" fmla="*/ 2637 w 10000"/>
                      <a:gd name="connsiteY6" fmla="*/ 8333 h 10000"/>
                      <a:gd name="connsiteX7" fmla="*/ 2527 w 10000"/>
                      <a:gd name="connsiteY7" fmla="*/ 7717 h 10000"/>
                      <a:gd name="connsiteX8" fmla="*/ 1905 w 10000"/>
                      <a:gd name="connsiteY8" fmla="*/ 7645 h 10000"/>
                      <a:gd name="connsiteX9" fmla="*/ 1941 w 10000"/>
                      <a:gd name="connsiteY9" fmla="*/ 7029 h 10000"/>
                      <a:gd name="connsiteX10" fmla="*/ 1355 w 10000"/>
                      <a:gd name="connsiteY10" fmla="*/ 6775 h 10000"/>
                      <a:gd name="connsiteX11" fmla="*/ 1502 w 10000"/>
                      <a:gd name="connsiteY11" fmla="*/ 6159 h 10000"/>
                      <a:gd name="connsiteX12" fmla="*/ 1026 w 10000"/>
                      <a:gd name="connsiteY12" fmla="*/ 5761 h 10000"/>
                      <a:gd name="connsiteX13" fmla="*/ 1355 w 10000"/>
                      <a:gd name="connsiteY13" fmla="*/ 5254 h 10000"/>
                      <a:gd name="connsiteX14" fmla="*/ 989 w 10000"/>
                      <a:gd name="connsiteY14" fmla="*/ 4783 h 10000"/>
                      <a:gd name="connsiteX15" fmla="*/ 1392 w 10000"/>
                      <a:gd name="connsiteY15" fmla="*/ 4312 h 10000"/>
                      <a:gd name="connsiteX16" fmla="*/ 1172 w 10000"/>
                      <a:gd name="connsiteY16" fmla="*/ 3732 h 10000"/>
                      <a:gd name="connsiteX17" fmla="*/ 1685 w 10000"/>
                      <a:gd name="connsiteY17" fmla="*/ 3442 h 10000"/>
                      <a:gd name="connsiteX18" fmla="*/ 1612 w 10000"/>
                      <a:gd name="connsiteY18" fmla="*/ 2826 h 10000"/>
                      <a:gd name="connsiteX19" fmla="*/ 2234 w 10000"/>
                      <a:gd name="connsiteY19" fmla="*/ 2645 h 10000"/>
                      <a:gd name="connsiteX20" fmla="*/ 2271 w 10000"/>
                      <a:gd name="connsiteY20" fmla="*/ 2029 h 10000"/>
                      <a:gd name="connsiteX21" fmla="*/ 2894 w 10000"/>
                      <a:gd name="connsiteY21" fmla="*/ 2029 h 10000"/>
                      <a:gd name="connsiteX22" fmla="*/ 3077 w 10000"/>
                      <a:gd name="connsiteY22" fmla="*/ 1413 h 10000"/>
                      <a:gd name="connsiteX23" fmla="*/ 3700 w 10000"/>
                      <a:gd name="connsiteY23" fmla="*/ 1594 h 10000"/>
                      <a:gd name="connsiteX24" fmla="*/ 4029 w 10000"/>
                      <a:gd name="connsiteY24" fmla="*/ 1087 h 10000"/>
                      <a:gd name="connsiteX25" fmla="*/ 4615 w 10000"/>
                      <a:gd name="connsiteY25" fmla="*/ 1377 h 10000"/>
                      <a:gd name="connsiteX26" fmla="*/ 5092 w 10000"/>
                      <a:gd name="connsiteY26" fmla="*/ 942 h 10000"/>
                      <a:gd name="connsiteX27" fmla="*/ 5531 w 10000"/>
                      <a:gd name="connsiteY27" fmla="*/ 1377 h 10000"/>
                      <a:gd name="connsiteX28" fmla="*/ 6117 w 10000"/>
                      <a:gd name="connsiteY28" fmla="*/ 1087 h 10000"/>
                      <a:gd name="connsiteX29" fmla="*/ 6447 w 10000"/>
                      <a:gd name="connsiteY29" fmla="*/ 1594 h 10000"/>
                      <a:gd name="connsiteX30" fmla="*/ 7070 w 10000"/>
                      <a:gd name="connsiteY30" fmla="*/ 1413 h 10000"/>
                      <a:gd name="connsiteX31" fmla="*/ 7253 w 10000"/>
                      <a:gd name="connsiteY31" fmla="*/ 2029 h 10000"/>
                      <a:gd name="connsiteX32" fmla="*/ 7912 w 10000"/>
                      <a:gd name="connsiteY32" fmla="*/ 2029 h 10000"/>
                      <a:gd name="connsiteX33" fmla="*/ 7985 w 10000"/>
                      <a:gd name="connsiteY33" fmla="*/ 2645 h 10000"/>
                      <a:gd name="connsiteX34" fmla="*/ 8535 w 10000"/>
                      <a:gd name="connsiteY34" fmla="*/ 2826 h 10000"/>
                      <a:gd name="connsiteX35" fmla="*/ 8462 w 10000"/>
                      <a:gd name="connsiteY35" fmla="*/ 3442 h 10000"/>
                      <a:gd name="connsiteX36" fmla="*/ 9048 w 10000"/>
                      <a:gd name="connsiteY36" fmla="*/ 3732 h 10000"/>
                      <a:gd name="connsiteX37" fmla="*/ 8755 w 10000"/>
                      <a:gd name="connsiteY37" fmla="*/ 4312 h 10000"/>
                      <a:gd name="connsiteX38" fmla="*/ 9231 w 10000"/>
                      <a:gd name="connsiteY38" fmla="*/ 4783 h 10000"/>
                      <a:gd name="connsiteX39" fmla="*/ 8791 w 10000"/>
                      <a:gd name="connsiteY39" fmla="*/ 5254 h 10000"/>
                      <a:gd name="connsiteX40" fmla="*/ 8828 w 10000"/>
                      <a:gd name="connsiteY40" fmla="*/ 5290 h 10000"/>
                      <a:gd name="connsiteX41" fmla="*/ 10000 w 10000"/>
                      <a:gd name="connsiteY41" fmla="*/ 4529 h 10000"/>
                      <a:gd name="connsiteX42" fmla="*/ 9597 w 10000"/>
                      <a:gd name="connsiteY42" fmla="*/ 4167 h 10000"/>
                      <a:gd name="connsiteX43" fmla="*/ 9890 w 10000"/>
                      <a:gd name="connsiteY43" fmla="*/ 3442 h 10000"/>
                      <a:gd name="connsiteX44" fmla="*/ 9231 w 10000"/>
                      <a:gd name="connsiteY44" fmla="*/ 3080 h 10000"/>
                      <a:gd name="connsiteX45" fmla="*/ 9377 w 10000"/>
                      <a:gd name="connsiteY45" fmla="*/ 2319 h 10000"/>
                      <a:gd name="connsiteX46" fmla="*/ 8608 w 10000"/>
                      <a:gd name="connsiteY46" fmla="*/ 2138 h 10000"/>
                      <a:gd name="connsiteX47" fmla="*/ 8535 w 10000"/>
                      <a:gd name="connsiteY47" fmla="*/ 1377 h 10000"/>
                      <a:gd name="connsiteX48" fmla="*/ 7802 w 10000"/>
                      <a:gd name="connsiteY48" fmla="*/ 1377 h 10000"/>
                      <a:gd name="connsiteX49" fmla="*/ 7546 w 10000"/>
                      <a:gd name="connsiteY49" fmla="*/ 616 h 10000"/>
                      <a:gd name="connsiteX50" fmla="*/ 6777 w 10000"/>
                      <a:gd name="connsiteY50" fmla="*/ 797 h 10000"/>
                      <a:gd name="connsiteX51" fmla="*/ 6337 w 10000"/>
                      <a:gd name="connsiteY51" fmla="*/ 181 h 10000"/>
                      <a:gd name="connsiteX52" fmla="*/ 5678 w 10000"/>
                      <a:gd name="connsiteY52" fmla="*/ 507 h 10000"/>
                      <a:gd name="connsiteX53" fmla="*/ 5092 w 10000"/>
                      <a:gd name="connsiteY53" fmla="*/ 0 h 10000"/>
                      <a:gd name="connsiteX54" fmla="*/ 4505 w 10000"/>
                      <a:gd name="connsiteY54" fmla="*/ 507 h 10000"/>
                      <a:gd name="connsiteX55" fmla="*/ 3810 w 10000"/>
                      <a:gd name="connsiteY55" fmla="*/ 181 h 10000"/>
                      <a:gd name="connsiteX56" fmla="*/ 3370 w 10000"/>
                      <a:gd name="connsiteY56" fmla="*/ 797 h 10000"/>
                      <a:gd name="connsiteX57" fmla="*/ 2637 w 10000"/>
                      <a:gd name="connsiteY57" fmla="*/ 616 h 10000"/>
                      <a:gd name="connsiteX58" fmla="*/ 2381 w 10000"/>
                      <a:gd name="connsiteY58" fmla="*/ 1377 h 10000"/>
                      <a:gd name="connsiteX59" fmla="*/ 1612 w 10000"/>
                      <a:gd name="connsiteY59" fmla="*/ 1377 h 10000"/>
                      <a:gd name="connsiteX60" fmla="*/ 1538 w 10000"/>
                      <a:gd name="connsiteY60" fmla="*/ 2138 h 10000"/>
                      <a:gd name="connsiteX61" fmla="*/ 769 w 10000"/>
                      <a:gd name="connsiteY61" fmla="*/ 2319 h 10000"/>
                      <a:gd name="connsiteX62" fmla="*/ 916 w 10000"/>
                      <a:gd name="connsiteY62" fmla="*/ 3080 h 10000"/>
                      <a:gd name="connsiteX63" fmla="*/ 256 w 10000"/>
                      <a:gd name="connsiteY63" fmla="*/ 3442 h 10000"/>
                      <a:gd name="connsiteX64" fmla="*/ 586 w 10000"/>
                      <a:gd name="connsiteY64" fmla="*/ 4167 h 10000"/>
                      <a:gd name="connsiteX65" fmla="*/ 0 w 10000"/>
                      <a:gd name="connsiteY65" fmla="*/ 4674 h 10000"/>
                      <a:gd name="connsiteX66" fmla="*/ 513 w 10000"/>
                      <a:gd name="connsiteY66" fmla="*/ 5290 h 10000"/>
                      <a:gd name="connsiteX67" fmla="*/ 110 w 10000"/>
                      <a:gd name="connsiteY67" fmla="*/ 5978 h 10000"/>
                      <a:gd name="connsiteX68" fmla="*/ 733 w 10000"/>
                      <a:gd name="connsiteY68" fmla="*/ 6449 h 10000"/>
                      <a:gd name="connsiteX69" fmla="*/ 513 w 10000"/>
                      <a:gd name="connsiteY69" fmla="*/ 7138 h 10000"/>
                      <a:gd name="connsiteX70" fmla="*/ 1209 w 10000"/>
                      <a:gd name="connsiteY70" fmla="*/ 7428 h 10000"/>
                      <a:gd name="connsiteX71" fmla="*/ 1172 w 10000"/>
                      <a:gd name="connsiteY71" fmla="*/ 8261 h 10000"/>
                      <a:gd name="connsiteX72" fmla="*/ 1941 w 10000"/>
                      <a:gd name="connsiteY72" fmla="*/ 8333 h 10000"/>
                      <a:gd name="connsiteX73" fmla="*/ 2088 w 10000"/>
                      <a:gd name="connsiteY73" fmla="*/ 9094 h 10000"/>
                      <a:gd name="connsiteX74" fmla="*/ 2857 w 10000"/>
                      <a:gd name="connsiteY74" fmla="*/ 8986 h 10000"/>
                      <a:gd name="connsiteX75" fmla="*/ 3223 w 10000"/>
                      <a:gd name="connsiteY75" fmla="*/ 9710 h 10000"/>
                      <a:gd name="connsiteX76" fmla="*/ 3956 w 10000"/>
                      <a:gd name="connsiteY76" fmla="*/ 9420 h 10000"/>
                      <a:gd name="connsiteX77" fmla="*/ 4432 w 10000"/>
                      <a:gd name="connsiteY77" fmla="*/ 10000 h 10000"/>
                      <a:gd name="connsiteX78" fmla="*/ 5092 w 10000"/>
                      <a:gd name="connsiteY78" fmla="*/ 9565 h 10000"/>
                      <a:gd name="connsiteX79" fmla="*/ 5714 w 10000"/>
                      <a:gd name="connsiteY79" fmla="*/ 10000 h 10000"/>
                      <a:gd name="connsiteX80" fmla="*/ 5824 w 10000"/>
                      <a:gd name="connsiteY80" fmla="*/ 9855 h 10000"/>
                      <a:gd name="connsiteX0" fmla="*/ 5824 w 10000"/>
                      <a:gd name="connsiteY0" fmla="*/ 9855 h 10000"/>
                      <a:gd name="connsiteX1" fmla="*/ 4945 w 10000"/>
                      <a:gd name="connsiteY1" fmla="*/ 8804 h 10000"/>
                      <a:gd name="connsiteX2" fmla="*/ 4579 w 10000"/>
                      <a:gd name="connsiteY2" fmla="*/ 9094 h 10000"/>
                      <a:gd name="connsiteX3" fmla="*/ 4139 w 10000"/>
                      <a:gd name="connsiteY3" fmla="*/ 8623 h 10000"/>
                      <a:gd name="connsiteX4" fmla="*/ 3553 w 10000"/>
                      <a:gd name="connsiteY4" fmla="*/ 8804 h 10000"/>
                      <a:gd name="connsiteX5" fmla="*/ 3260 w 10000"/>
                      <a:gd name="connsiteY5" fmla="*/ 8261 h 10000"/>
                      <a:gd name="connsiteX6" fmla="*/ 2637 w 10000"/>
                      <a:gd name="connsiteY6" fmla="*/ 8333 h 10000"/>
                      <a:gd name="connsiteX7" fmla="*/ 2527 w 10000"/>
                      <a:gd name="connsiteY7" fmla="*/ 7717 h 10000"/>
                      <a:gd name="connsiteX8" fmla="*/ 1905 w 10000"/>
                      <a:gd name="connsiteY8" fmla="*/ 7645 h 10000"/>
                      <a:gd name="connsiteX9" fmla="*/ 1941 w 10000"/>
                      <a:gd name="connsiteY9" fmla="*/ 7029 h 10000"/>
                      <a:gd name="connsiteX10" fmla="*/ 1355 w 10000"/>
                      <a:gd name="connsiteY10" fmla="*/ 6775 h 10000"/>
                      <a:gd name="connsiteX11" fmla="*/ 1502 w 10000"/>
                      <a:gd name="connsiteY11" fmla="*/ 6159 h 10000"/>
                      <a:gd name="connsiteX12" fmla="*/ 1026 w 10000"/>
                      <a:gd name="connsiteY12" fmla="*/ 5761 h 10000"/>
                      <a:gd name="connsiteX13" fmla="*/ 1355 w 10000"/>
                      <a:gd name="connsiteY13" fmla="*/ 5254 h 10000"/>
                      <a:gd name="connsiteX14" fmla="*/ 989 w 10000"/>
                      <a:gd name="connsiteY14" fmla="*/ 4783 h 10000"/>
                      <a:gd name="connsiteX15" fmla="*/ 1392 w 10000"/>
                      <a:gd name="connsiteY15" fmla="*/ 4312 h 10000"/>
                      <a:gd name="connsiteX16" fmla="*/ 1172 w 10000"/>
                      <a:gd name="connsiteY16" fmla="*/ 3732 h 10000"/>
                      <a:gd name="connsiteX17" fmla="*/ 1685 w 10000"/>
                      <a:gd name="connsiteY17" fmla="*/ 3442 h 10000"/>
                      <a:gd name="connsiteX18" fmla="*/ 1612 w 10000"/>
                      <a:gd name="connsiteY18" fmla="*/ 2826 h 10000"/>
                      <a:gd name="connsiteX19" fmla="*/ 2234 w 10000"/>
                      <a:gd name="connsiteY19" fmla="*/ 2645 h 10000"/>
                      <a:gd name="connsiteX20" fmla="*/ 2271 w 10000"/>
                      <a:gd name="connsiteY20" fmla="*/ 2029 h 10000"/>
                      <a:gd name="connsiteX21" fmla="*/ 2894 w 10000"/>
                      <a:gd name="connsiteY21" fmla="*/ 2029 h 10000"/>
                      <a:gd name="connsiteX22" fmla="*/ 3077 w 10000"/>
                      <a:gd name="connsiteY22" fmla="*/ 1413 h 10000"/>
                      <a:gd name="connsiteX23" fmla="*/ 3700 w 10000"/>
                      <a:gd name="connsiteY23" fmla="*/ 1594 h 10000"/>
                      <a:gd name="connsiteX24" fmla="*/ 4029 w 10000"/>
                      <a:gd name="connsiteY24" fmla="*/ 1087 h 10000"/>
                      <a:gd name="connsiteX25" fmla="*/ 4615 w 10000"/>
                      <a:gd name="connsiteY25" fmla="*/ 1377 h 10000"/>
                      <a:gd name="connsiteX26" fmla="*/ 5092 w 10000"/>
                      <a:gd name="connsiteY26" fmla="*/ 942 h 10000"/>
                      <a:gd name="connsiteX27" fmla="*/ 5531 w 10000"/>
                      <a:gd name="connsiteY27" fmla="*/ 1377 h 10000"/>
                      <a:gd name="connsiteX28" fmla="*/ 6117 w 10000"/>
                      <a:gd name="connsiteY28" fmla="*/ 1087 h 10000"/>
                      <a:gd name="connsiteX29" fmla="*/ 6447 w 10000"/>
                      <a:gd name="connsiteY29" fmla="*/ 1594 h 10000"/>
                      <a:gd name="connsiteX30" fmla="*/ 7070 w 10000"/>
                      <a:gd name="connsiteY30" fmla="*/ 1413 h 10000"/>
                      <a:gd name="connsiteX31" fmla="*/ 7253 w 10000"/>
                      <a:gd name="connsiteY31" fmla="*/ 2029 h 10000"/>
                      <a:gd name="connsiteX32" fmla="*/ 7912 w 10000"/>
                      <a:gd name="connsiteY32" fmla="*/ 2029 h 10000"/>
                      <a:gd name="connsiteX33" fmla="*/ 7985 w 10000"/>
                      <a:gd name="connsiteY33" fmla="*/ 2645 h 10000"/>
                      <a:gd name="connsiteX34" fmla="*/ 8535 w 10000"/>
                      <a:gd name="connsiteY34" fmla="*/ 2826 h 10000"/>
                      <a:gd name="connsiteX35" fmla="*/ 8462 w 10000"/>
                      <a:gd name="connsiteY35" fmla="*/ 3442 h 10000"/>
                      <a:gd name="connsiteX36" fmla="*/ 9048 w 10000"/>
                      <a:gd name="connsiteY36" fmla="*/ 3732 h 10000"/>
                      <a:gd name="connsiteX37" fmla="*/ 8755 w 10000"/>
                      <a:gd name="connsiteY37" fmla="*/ 4312 h 10000"/>
                      <a:gd name="connsiteX38" fmla="*/ 9231 w 10000"/>
                      <a:gd name="connsiteY38" fmla="*/ 4783 h 10000"/>
                      <a:gd name="connsiteX39" fmla="*/ 8791 w 10000"/>
                      <a:gd name="connsiteY39" fmla="*/ 5254 h 10000"/>
                      <a:gd name="connsiteX40" fmla="*/ 8828 w 10000"/>
                      <a:gd name="connsiteY40" fmla="*/ 5290 h 10000"/>
                      <a:gd name="connsiteX41" fmla="*/ 10000 w 10000"/>
                      <a:gd name="connsiteY41" fmla="*/ 4529 h 10000"/>
                      <a:gd name="connsiteX42" fmla="*/ 9597 w 10000"/>
                      <a:gd name="connsiteY42" fmla="*/ 4167 h 10000"/>
                      <a:gd name="connsiteX43" fmla="*/ 9890 w 10000"/>
                      <a:gd name="connsiteY43" fmla="*/ 3442 h 10000"/>
                      <a:gd name="connsiteX44" fmla="*/ 9231 w 10000"/>
                      <a:gd name="connsiteY44" fmla="*/ 3080 h 10000"/>
                      <a:gd name="connsiteX45" fmla="*/ 9377 w 10000"/>
                      <a:gd name="connsiteY45" fmla="*/ 2319 h 10000"/>
                      <a:gd name="connsiteX46" fmla="*/ 8608 w 10000"/>
                      <a:gd name="connsiteY46" fmla="*/ 2138 h 10000"/>
                      <a:gd name="connsiteX47" fmla="*/ 8535 w 10000"/>
                      <a:gd name="connsiteY47" fmla="*/ 1377 h 10000"/>
                      <a:gd name="connsiteX48" fmla="*/ 7802 w 10000"/>
                      <a:gd name="connsiteY48" fmla="*/ 1377 h 10000"/>
                      <a:gd name="connsiteX49" fmla="*/ 7546 w 10000"/>
                      <a:gd name="connsiteY49" fmla="*/ 616 h 10000"/>
                      <a:gd name="connsiteX50" fmla="*/ 6777 w 10000"/>
                      <a:gd name="connsiteY50" fmla="*/ 797 h 10000"/>
                      <a:gd name="connsiteX51" fmla="*/ 6337 w 10000"/>
                      <a:gd name="connsiteY51" fmla="*/ 181 h 10000"/>
                      <a:gd name="connsiteX52" fmla="*/ 5678 w 10000"/>
                      <a:gd name="connsiteY52" fmla="*/ 507 h 10000"/>
                      <a:gd name="connsiteX53" fmla="*/ 5092 w 10000"/>
                      <a:gd name="connsiteY53" fmla="*/ 0 h 10000"/>
                      <a:gd name="connsiteX54" fmla="*/ 4505 w 10000"/>
                      <a:gd name="connsiteY54" fmla="*/ 507 h 10000"/>
                      <a:gd name="connsiteX55" fmla="*/ 3810 w 10000"/>
                      <a:gd name="connsiteY55" fmla="*/ 181 h 10000"/>
                      <a:gd name="connsiteX56" fmla="*/ 3370 w 10000"/>
                      <a:gd name="connsiteY56" fmla="*/ 797 h 10000"/>
                      <a:gd name="connsiteX57" fmla="*/ 2637 w 10000"/>
                      <a:gd name="connsiteY57" fmla="*/ 616 h 10000"/>
                      <a:gd name="connsiteX58" fmla="*/ 2381 w 10000"/>
                      <a:gd name="connsiteY58" fmla="*/ 1377 h 10000"/>
                      <a:gd name="connsiteX59" fmla="*/ 1612 w 10000"/>
                      <a:gd name="connsiteY59" fmla="*/ 1377 h 10000"/>
                      <a:gd name="connsiteX60" fmla="*/ 1538 w 10000"/>
                      <a:gd name="connsiteY60" fmla="*/ 2138 h 10000"/>
                      <a:gd name="connsiteX61" fmla="*/ 769 w 10000"/>
                      <a:gd name="connsiteY61" fmla="*/ 2319 h 10000"/>
                      <a:gd name="connsiteX62" fmla="*/ 916 w 10000"/>
                      <a:gd name="connsiteY62" fmla="*/ 3080 h 10000"/>
                      <a:gd name="connsiteX63" fmla="*/ 256 w 10000"/>
                      <a:gd name="connsiteY63" fmla="*/ 3442 h 10000"/>
                      <a:gd name="connsiteX64" fmla="*/ 586 w 10000"/>
                      <a:gd name="connsiteY64" fmla="*/ 4167 h 10000"/>
                      <a:gd name="connsiteX65" fmla="*/ 0 w 10000"/>
                      <a:gd name="connsiteY65" fmla="*/ 4674 h 10000"/>
                      <a:gd name="connsiteX66" fmla="*/ 513 w 10000"/>
                      <a:gd name="connsiteY66" fmla="*/ 5290 h 10000"/>
                      <a:gd name="connsiteX67" fmla="*/ 110 w 10000"/>
                      <a:gd name="connsiteY67" fmla="*/ 5978 h 10000"/>
                      <a:gd name="connsiteX68" fmla="*/ 733 w 10000"/>
                      <a:gd name="connsiteY68" fmla="*/ 6449 h 10000"/>
                      <a:gd name="connsiteX69" fmla="*/ 513 w 10000"/>
                      <a:gd name="connsiteY69" fmla="*/ 7138 h 10000"/>
                      <a:gd name="connsiteX70" fmla="*/ 1209 w 10000"/>
                      <a:gd name="connsiteY70" fmla="*/ 7428 h 10000"/>
                      <a:gd name="connsiteX71" fmla="*/ 1172 w 10000"/>
                      <a:gd name="connsiteY71" fmla="*/ 8261 h 10000"/>
                      <a:gd name="connsiteX72" fmla="*/ 1941 w 10000"/>
                      <a:gd name="connsiteY72" fmla="*/ 8333 h 10000"/>
                      <a:gd name="connsiteX73" fmla="*/ 2088 w 10000"/>
                      <a:gd name="connsiteY73" fmla="*/ 9094 h 10000"/>
                      <a:gd name="connsiteX74" fmla="*/ 2857 w 10000"/>
                      <a:gd name="connsiteY74" fmla="*/ 8986 h 10000"/>
                      <a:gd name="connsiteX75" fmla="*/ 3223 w 10000"/>
                      <a:gd name="connsiteY75" fmla="*/ 9710 h 10000"/>
                      <a:gd name="connsiteX76" fmla="*/ 3956 w 10000"/>
                      <a:gd name="connsiteY76" fmla="*/ 9420 h 10000"/>
                      <a:gd name="connsiteX77" fmla="*/ 4432 w 10000"/>
                      <a:gd name="connsiteY77" fmla="*/ 10000 h 10000"/>
                      <a:gd name="connsiteX78" fmla="*/ 5092 w 10000"/>
                      <a:gd name="connsiteY78" fmla="*/ 9565 h 10000"/>
                      <a:gd name="connsiteX79" fmla="*/ 5714 w 10000"/>
                      <a:gd name="connsiteY79" fmla="*/ 10000 h 10000"/>
                      <a:gd name="connsiteX80" fmla="*/ 5824 w 10000"/>
                      <a:gd name="connsiteY80" fmla="*/ 985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10000" h="10000">
                        <a:moveTo>
                          <a:pt x="5824" y="9855"/>
                        </a:moveTo>
                        <a:cubicBezTo>
                          <a:pt x="5633" y="9755"/>
                          <a:pt x="4953" y="9278"/>
                          <a:pt x="4945" y="8804"/>
                        </a:cubicBezTo>
                        <a:lnTo>
                          <a:pt x="4579" y="9094"/>
                        </a:lnTo>
                        <a:lnTo>
                          <a:pt x="4139" y="8623"/>
                        </a:lnTo>
                        <a:lnTo>
                          <a:pt x="3553" y="8804"/>
                        </a:lnTo>
                        <a:lnTo>
                          <a:pt x="3260" y="8261"/>
                        </a:lnTo>
                        <a:lnTo>
                          <a:pt x="2637" y="8333"/>
                        </a:lnTo>
                        <a:cubicBezTo>
                          <a:pt x="2600" y="8128"/>
                          <a:pt x="2564" y="7922"/>
                          <a:pt x="2527" y="7717"/>
                        </a:cubicBezTo>
                        <a:lnTo>
                          <a:pt x="1905" y="7645"/>
                        </a:lnTo>
                        <a:cubicBezTo>
                          <a:pt x="1917" y="7440"/>
                          <a:pt x="1929" y="7234"/>
                          <a:pt x="1941" y="7029"/>
                        </a:cubicBezTo>
                        <a:lnTo>
                          <a:pt x="1355" y="6775"/>
                        </a:lnTo>
                        <a:lnTo>
                          <a:pt x="1502" y="6159"/>
                        </a:lnTo>
                        <a:lnTo>
                          <a:pt x="1026" y="5761"/>
                        </a:lnTo>
                        <a:lnTo>
                          <a:pt x="1355" y="5254"/>
                        </a:lnTo>
                        <a:lnTo>
                          <a:pt x="989" y="4783"/>
                        </a:lnTo>
                        <a:lnTo>
                          <a:pt x="1392" y="4312"/>
                        </a:lnTo>
                        <a:lnTo>
                          <a:pt x="1172" y="3732"/>
                        </a:lnTo>
                        <a:lnTo>
                          <a:pt x="1685" y="3442"/>
                        </a:lnTo>
                        <a:cubicBezTo>
                          <a:pt x="1661" y="3237"/>
                          <a:pt x="1636" y="3031"/>
                          <a:pt x="1612" y="2826"/>
                        </a:cubicBezTo>
                        <a:lnTo>
                          <a:pt x="2234" y="2645"/>
                        </a:lnTo>
                        <a:cubicBezTo>
                          <a:pt x="2246" y="2440"/>
                          <a:pt x="2259" y="2234"/>
                          <a:pt x="2271" y="2029"/>
                        </a:cubicBezTo>
                        <a:lnTo>
                          <a:pt x="2894" y="2029"/>
                        </a:lnTo>
                        <a:lnTo>
                          <a:pt x="3077" y="1413"/>
                        </a:lnTo>
                        <a:lnTo>
                          <a:pt x="3700" y="1594"/>
                        </a:lnTo>
                        <a:lnTo>
                          <a:pt x="4029" y="1087"/>
                        </a:lnTo>
                        <a:lnTo>
                          <a:pt x="4615" y="1377"/>
                        </a:lnTo>
                        <a:lnTo>
                          <a:pt x="5092" y="942"/>
                        </a:lnTo>
                        <a:lnTo>
                          <a:pt x="5531" y="1377"/>
                        </a:lnTo>
                        <a:lnTo>
                          <a:pt x="6117" y="1087"/>
                        </a:lnTo>
                        <a:lnTo>
                          <a:pt x="6447" y="1594"/>
                        </a:lnTo>
                        <a:lnTo>
                          <a:pt x="7070" y="1413"/>
                        </a:lnTo>
                        <a:lnTo>
                          <a:pt x="7253" y="2029"/>
                        </a:lnTo>
                        <a:lnTo>
                          <a:pt x="7912" y="2029"/>
                        </a:lnTo>
                        <a:cubicBezTo>
                          <a:pt x="7936" y="2234"/>
                          <a:pt x="7961" y="2440"/>
                          <a:pt x="7985" y="2645"/>
                        </a:cubicBezTo>
                        <a:lnTo>
                          <a:pt x="8535" y="2826"/>
                        </a:lnTo>
                        <a:cubicBezTo>
                          <a:pt x="8511" y="3031"/>
                          <a:pt x="8486" y="3237"/>
                          <a:pt x="8462" y="3442"/>
                        </a:cubicBezTo>
                        <a:lnTo>
                          <a:pt x="9048" y="3732"/>
                        </a:lnTo>
                        <a:cubicBezTo>
                          <a:pt x="8950" y="3925"/>
                          <a:pt x="8853" y="4119"/>
                          <a:pt x="8755" y="4312"/>
                        </a:cubicBezTo>
                        <a:lnTo>
                          <a:pt x="9231" y="4783"/>
                        </a:lnTo>
                        <a:lnTo>
                          <a:pt x="8791" y="5254"/>
                        </a:lnTo>
                        <a:cubicBezTo>
                          <a:pt x="8803" y="5266"/>
                          <a:pt x="8816" y="5278"/>
                          <a:pt x="8828" y="5290"/>
                        </a:cubicBezTo>
                        <a:lnTo>
                          <a:pt x="10000" y="4529"/>
                        </a:lnTo>
                        <a:lnTo>
                          <a:pt x="9597" y="4167"/>
                        </a:lnTo>
                        <a:lnTo>
                          <a:pt x="9890" y="3442"/>
                        </a:lnTo>
                        <a:lnTo>
                          <a:pt x="9231" y="3080"/>
                        </a:lnTo>
                        <a:cubicBezTo>
                          <a:pt x="9280" y="2826"/>
                          <a:pt x="9328" y="2573"/>
                          <a:pt x="9377" y="2319"/>
                        </a:cubicBezTo>
                        <a:lnTo>
                          <a:pt x="8608" y="2138"/>
                        </a:lnTo>
                        <a:cubicBezTo>
                          <a:pt x="8584" y="1884"/>
                          <a:pt x="8559" y="1631"/>
                          <a:pt x="8535" y="1377"/>
                        </a:cubicBezTo>
                        <a:lnTo>
                          <a:pt x="7802" y="1377"/>
                        </a:lnTo>
                        <a:cubicBezTo>
                          <a:pt x="7717" y="1123"/>
                          <a:pt x="7631" y="870"/>
                          <a:pt x="7546" y="616"/>
                        </a:cubicBezTo>
                        <a:lnTo>
                          <a:pt x="6777" y="797"/>
                        </a:lnTo>
                        <a:lnTo>
                          <a:pt x="6337" y="181"/>
                        </a:lnTo>
                        <a:lnTo>
                          <a:pt x="5678" y="507"/>
                        </a:lnTo>
                        <a:lnTo>
                          <a:pt x="5092" y="0"/>
                        </a:lnTo>
                        <a:lnTo>
                          <a:pt x="4505" y="507"/>
                        </a:lnTo>
                        <a:lnTo>
                          <a:pt x="3810" y="181"/>
                        </a:lnTo>
                        <a:lnTo>
                          <a:pt x="3370" y="797"/>
                        </a:lnTo>
                        <a:lnTo>
                          <a:pt x="2637" y="616"/>
                        </a:lnTo>
                        <a:cubicBezTo>
                          <a:pt x="2552" y="870"/>
                          <a:pt x="2466" y="1123"/>
                          <a:pt x="2381" y="1377"/>
                        </a:cubicBezTo>
                        <a:lnTo>
                          <a:pt x="1612" y="1377"/>
                        </a:lnTo>
                        <a:cubicBezTo>
                          <a:pt x="1587" y="1631"/>
                          <a:pt x="1563" y="1884"/>
                          <a:pt x="1538" y="2138"/>
                        </a:cubicBezTo>
                        <a:lnTo>
                          <a:pt x="769" y="2319"/>
                        </a:lnTo>
                        <a:lnTo>
                          <a:pt x="916" y="3080"/>
                        </a:lnTo>
                        <a:lnTo>
                          <a:pt x="256" y="3442"/>
                        </a:lnTo>
                        <a:lnTo>
                          <a:pt x="586" y="4167"/>
                        </a:lnTo>
                        <a:lnTo>
                          <a:pt x="0" y="4674"/>
                        </a:lnTo>
                        <a:lnTo>
                          <a:pt x="513" y="5290"/>
                        </a:lnTo>
                        <a:lnTo>
                          <a:pt x="110" y="5978"/>
                        </a:lnTo>
                        <a:lnTo>
                          <a:pt x="733" y="6449"/>
                        </a:lnTo>
                        <a:cubicBezTo>
                          <a:pt x="660" y="6679"/>
                          <a:pt x="586" y="6908"/>
                          <a:pt x="513" y="7138"/>
                        </a:cubicBezTo>
                        <a:lnTo>
                          <a:pt x="1209" y="7428"/>
                        </a:lnTo>
                        <a:cubicBezTo>
                          <a:pt x="1197" y="7706"/>
                          <a:pt x="1184" y="7983"/>
                          <a:pt x="1172" y="8261"/>
                        </a:cubicBezTo>
                        <a:lnTo>
                          <a:pt x="1941" y="8333"/>
                        </a:lnTo>
                        <a:lnTo>
                          <a:pt x="2088" y="9094"/>
                        </a:lnTo>
                        <a:lnTo>
                          <a:pt x="2857" y="8986"/>
                        </a:lnTo>
                        <a:lnTo>
                          <a:pt x="3223" y="9710"/>
                        </a:lnTo>
                        <a:lnTo>
                          <a:pt x="3956" y="9420"/>
                        </a:lnTo>
                        <a:lnTo>
                          <a:pt x="4432" y="10000"/>
                        </a:lnTo>
                        <a:lnTo>
                          <a:pt x="5092" y="9565"/>
                        </a:lnTo>
                        <a:lnTo>
                          <a:pt x="5714" y="10000"/>
                        </a:lnTo>
                        <a:cubicBezTo>
                          <a:pt x="5751" y="9952"/>
                          <a:pt x="5787" y="9903"/>
                          <a:pt x="5824" y="9855"/>
                        </a:cubicBezTo>
                        <a:close/>
                      </a:path>
                    </a:pathLst>
                  </a:custGeom>
                  <a:grpFill/>
                  <a:ln w="19050">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a:defRPr/>
                    </a:pPr>
                    <a:endParaRPr lang="en-US" kern="0">
                      <a:solidFill>
                        <a:prstClr val="black"/>
                      </a:solidFill>
                      <a:latin typeface="Univers for KPMG" panose="020B0603020202020204" pitchFamily="34" charset="0"/>
                      <a:cs typeface="Arial" panose="020B0604020202020204" pitchFamily="34" charset="0"/>
                    </a:endParaRPr>
                  </a:p>
                </p:txBody>
              </p:sp>
              <p:sp>
                <p:nvSpPr>
                  <p:cNvPr id="127" name="Freeform 126"/>
                  <p:cNvSpPr/>
                  <p:nvPr/>
                </p:nvSpPr>
                <p:spPr>
                  <a:xfrm rot="19588578">
                    <a:off x="6682744" y="2858703"/>
                    <a:ext cx="557987" cy="442275"/>
                  </a:xfrm>
                  <a:custGeom>
                    <a:avLst/>
                    <a:gdLst>
                      <a:gd name="connsiteX0" fmla="*/ 3300339 w 3932598"/>
                      <a:gd name="connsiteY0" fmla="*/ 635604 h 3117074"/>
                      <a:gd name="connsiteX1" fmla="*/ 861319 w 3932598"/>
                      <a:gd name="connsiteY1" fmla="*/ 634239 h 3117074"/>
                      <a:gd name="connsiteX2" fmla="*/ 819599 w 3932598"/>
                      <a:gd name="connsiteY2" fmla="*/ 859327 h 3117074"/>
                      <a:gd name="connsiteX3" fmla="*/ 3248395 w 3932598"/>
                      <a:gd name="connsiteY3" fmla="*/ 903431 h 3117074"/>
                      <a:gd name="connsiteX4" fmla="*/ 3929953 w 3932598"/>
                      <a:gd name="connsiteY4" fmla="*/ 67429 h 3117074"/>
                      <a:gd name="connsiteX5" fmla="*/ 3710213 w 3932598"/>
                      <a:gd name="connsiteY5" fmla="*/ 1262030 h 3117074"/>
                      <a:gd name="connsiteX6" fmla="*/ 3725226 w 3932598"/>
                      <a:gd name="connsiteY6" fmla="*/ 1266315 h 3117074"/>
                      <a:gd name="connsiteX7" fmla="*/ 3785057 w 3932598"/>
                      <a:gd name="connsiteY7" fmla="*/ 1297654 h 3117074"/>
                      <a:gd name="connsiteX8" fmla="*/ 3874915 w 3932598"/>
                      <a:gd name="connsiteY8" fmla="*/ 1765647 h 3117074"/>
                      <a:gd name="connsiteX9" fmla="*/ 3596438 w 3932598"/>
                      <a:gd name="connsiteY9" fmla="*/ 1919866 h 3117074"/>
                      <a:gd name="connsiteX10" fmla="*/ 3589311 w 3932598"/>
                      <a:gd name="connsiteY10" fmla="*/ 1919303 h 3117074"/>
                      <a:gd name="connsiteX11" fmla="*/ 3369166 w 3932598"/>
                      <a:gd name="connsiteY11" fmla="*/ 3116110 h 3117074"/>
                      <a:gd name="connsiteX12" fmla="*/ 3319812 w 3932598"/>
                      <a:gd name="connsiteY12" fmla="*/ 3117074 h 3117074"/>
                      <a:gd name="connsiteX13" fmla="*/ 3078498 w 3932598"/>
                      <a:gd name="connsiteY13" fmla="*/ 3073241 h 3117074"/>
                      <a:gd name="connsiteX14" fmla="*/ 2943323 w 3932598"/>
                      <a:gd name="connsiteY14" fmla="*/ 2878059 h 3117074"/>
                      <a:gd name="connsiteX15" fmla="*/ 2936878 w 3932598"/>
                      <a:gd name="connsiteY15" fmla="*/ 2512150 h 3117074"/>
                      <a:gd name="connsiteX16" fmla="*/ 513809 w 3932598"/>
                      <a:gd name="connsiteY16" fmla="*/ 1610794 h 3117074"/>
                      <a:gd name="connsiteX17" fmla="*/ 7378 w 3932598"/>
                      <a:gd name="connsiteY17" fmla="*/ 916676 h 3117074"/>
                      <a:gd name="connsiteX18" fmla="*/ 701496 w 3932598"/>
                      <a:gd name="connsiteY18" fmla="*/ 410244 h 3117074"/>
                      <a:gd name="connsiteX19" fmla="*/ 3359890 w 3932598"/>
                      <a:gd name="connsiteY19" fmla="*/ 473476 h 3117074"/>
                      <a:gd name="connsiteX20" fmla="*/ 3441051 w 3932598"/>
                      <a:gd name="connsiteY20" fmla="*/ 137907 h 3117074"/>
                      <a:gd name="connsiteX21" fmla="*/ 3636232 w 3932598"/>
                      <a:gd name="connsiteY21" fmla="*/ 2732 h 3117074"/>
                      <a:gd name="connsiteX22" fmla="*/ 3877547 w 3932598"/>
                      <a:gd name="connsiteY22" fmla="*/ 46564 h 3117074"/>
                      <a:gd name="connsiteX0" fmla="*/ 3309781 w 3932598"/>
                      <a:gd name="connsiteY0" fmla="*/ 682129 h 3117074"/>
                      <a:gd name="connsiteX1" fmla="*/ 861319 w 3932598"/>
                      <a:gd name="connsiteY1" fmla="*/ 634239 h 3117074"/>
                      <a:gd name="connsiteX2" fmla="*/ 819599 w 3932598"/>
                      <a:gd name="connsiteY2" fmla="*/ 859327 h 3117074"/>
                      <a:gd name="connsiteX3" fmla="*/ 3248395 w 3932598"/>
                      <a:gd name="connsiteY3" fmla="*/ 903431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19599 w 3932598"/>
                      <a:gd name="connsiteY2" fmla="*/ 859327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24330 w 3932598"/>
                      <a:gd name="connsiteY2" fmla="*/ 882586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309781 w 3932598"/>
                      <a:gd name="connsiteY0" fmla="*/ 682129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309781 w 3932598"/>
                      <a:gd name="connsiteY4" fmla="*/ 682129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263256 w 3932598"/>
                      <a:gd name="connsiteY0" fmla="*/ 691575 h 3117074"/>
                      <a:gd name="connsiteX1" fmla="*/ 861319 w 3932598"/>
                      <a:gd name="connsiteY1" fmla="*/ 634239 h 3117074"/>
                      <a:gd name="connsiteX2" fmla="*/ 852133 w 3932598"/>
                      <a:gd name="connsiteY2" fmla="*/ 840618 h 3117074"/>
                      <a:gd name="connsiteX3" fmla="*/ 3262387 w 3932598"/>
                      <a:gd name="connsiteY3" fmla="*/ 912699 h 3117074"/>
                      <a:gd name="connsiteX4" fmla="*/ 3263256 w 3932598"/>
                      <a:gd name="connsiteY4" fmla="*/ 691575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263256 w 3932598"/>
                      <a:gd name="connsiteY0" fmla="*/ 691575 h 3117074"/>
                      <a:gd name="connsiteX1" fmla="*/ 861319 w 3932598"/>
                      <a:gd name="connsiteY1" fmla="*/ 634239 h 3117074"/>
                      <a:gd name="connsiteX2" fmla="*/ 852133 w 3932598"/>
                      <a:gd name="connsiteY2" fmla="*/ 840618 h 3117074"/>
                      <a:gd name="connsiteX3" fmla="*/ 3234397 w 3932598"/>
                      <a:gd name="connsiteY3" fmla="*/ 894156 h 3117074"/>
                      <a:gd name="connsiteX4" fmla="*/ 3263256 w 3932598"/>
                      <a:gd name="connsiteY4" fmla="*/ 691575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 name="connsiteX0" fmla="*/ 3263256 w 3932598"/>
                      <a:gd name="connsiteY0" fmla="*/ 691575 h 3117074"/>
                      <a:gd name="connsiteX1" fmla="*/ 861319 w 3932598"/>
                      <a:gd name="connsiteY1" fmla="*/ 634239 h 3117074"/>
                      <a:gd name="connsiteX2" fmla="*/ 852133 w 3932598"/>
                      <a:gd name="connsiteY2" fmla="*/ 840618 h 3117074"/>
                      <a:gd name="connsiteX3" fmla="*/ 3239116 w 3932598"/>
                      <a:gd name="connsiteY3" fmla="*/ 917429 h 3117074"/>
                      <a:gd name="connsiteX4" fmla="*/ 3263256 w 3932598"/>
                      <a:gd name="connsiteY4" fmla="*/ 691575 h 3117074"/>
                      <a:gd name="connsiteX5" fmla="*/ 3929953 w 3932598"/>
                      <a:gd name="connsiteY5" fmla="*/ 67429 h 3117074"/>
                      <a:gd name="connsiteX6" fmla="*/ 3710213 w 3932598"/>
                      <a:gd name="connsiteY6" fmla="*/ 1262030 h 3117074"/>
                      <a:gd name="connsiteX7" fmla="*/ 3725226 w 3932598"/>
                      <a:gd name="connsiteY7" fmla="*/ 1266315 h 3117074"/>
                      <a:gd name="connsiteX8" fmla="*/ 3785057 w 3932598"/>
                      <a:gd name="connsiteY8" fmla="*/ 1297654 h 3117074"/>
                      <a:gd name="connsiteX9" fmla="*/ 3874915 w 3932598"/>
                      <a:gd name="connsiteY9" fmla="*/ 1765647 h 3117074"/>
                      <a:gd name="connsiteX10" fmla="*/ 3596438 w 3932598"/>
                      <a:gd name="connsiteY10" fmla="*/ 1919866 h 3117074"/>
                      <a:gd name="connsiteX11" fmla="*/ 3589311 w 3932598"/>
                      <a:gd name="connsiteY11" fmla="*/ 1919303 h 3117074"/>
                      <a:gd name="connsiteX12" fmla="*/ 3369166 w 3932598"/>
                      <a:gd name="connsiteY12" fmla="*/ 3116110 h 3117074"/>
                      <a:gd name="connsiteX13" fmla="*/ 3319812 w 3932598"/>
                      <a:gd name="connsiteY13" fmla="*/ 3117074 h 3117074"/>
                      <a:gd name="connsiteX14" fmla="*/ 3078498 w 3932598"/>
                      <a:gd name="connsiteY14" fmla="*/ 3073241 h 3117074"/>
                      <a:gd name="connsiteX15" fmla="*/ 2943323 w 3932598"/>
                      <a:gd name="connsiteY15" fmla="*/ 2878059 h 3117074"/>
                      <a:gd name="connsiteX16" fmla="*/ 2936878 w 3932598"/>
                      <a:gd name="connsiteY16" fmla="*/ 2512150 h 3117074"/>
                      <a:gd name="connsiteX17" fmla="*/ 513809 w 3932598"/>
                      <a:gd name="connsiteY17" fmla="*/ 1610794 h 3117074"/>
                      <a:gd name="connsiteX18" fmla="*/ 7378 w 3932598"/>
                      <a:gd name="connsiteY18" fmla="*/ 916676 h 3117074"/>
                      <a:gd name="connsiteX19" fmla="*/ 701496 w 3932598"/>
                      <a:gd name="connsiteY19" fmla="*/ 410244 h 3117074"/>
                      <a:gd name="connsiteX20" fmla="*/ 3359890 w 3932598"/>
                      <a:gd name="connsiteY20" fmla="*/ 473476 h 3117074"/>
                      <a:gd name="connsiteX21" fmla="*/ 3441051 w 3932598"/>
                      <a:gd name="connsiteY21" fmla="*/ 137907 h 3117074"/>
                      <a:gd name="connsiteX22" fmla="*/ 3636232 w 3932598"/>
                      <a:gd name="connsiteY22" fmla="*/ 2732 h 3117074"/>
                      <a:gd name="connsiteX23" fmla="*/ 3877547 w 3932598"/>
                      <a:gd name="connsiteY23" fmla="*/ 46564 h 3117074"/>
                      <a:gd name="connsiteX24" fmla="*/ 3929953 w 3932598"/>
                      <a:gd name="connsiteY24" fmla="*/ 67429 h 3117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932598" h="3117074">
                        <a:moveTo>
                          <a:pt x="3263256" y="691575"/>
                        </a:moveTo>
                        <a:lnTo>
                          <a:pt x="861319" y="634239"/>
                        </a:lnTo>
                        <a:lnTo>
                          <a:pt x="852133" y="840618"/>
                        </a:lnTo>
                        <a:lnTo>
                          <a:pt x="3239116" y="917429"/>
                        </a:lnTo>
                        <a:cubicBezTo>
                          <a:pt x="3256431" y="828153"/>
                          <a:pt x="3245941" y="780851"/>
                          <a:pt x="3263256" y="691575"/>
                        </a:cubicBezTo>
                        <a:close/>
                        <a:moveTo>
                          <a:pt x="3929953" y="67429"/>
                        </a:moveTo>
                        <a:lnTo>
                          <a:pt x="3710213" y="1262030"/>
                        </a:lnTo>
                        <a:lnTo>
                          <a:pt x="3725226" y="1266315"/>
                        </a:lnTo>
                        <a:cubicBezTo>
                          <a:pt x="3745822" y="1274519"/>
                          <a:pt x="3765870" y="1284943"/>
                          <a:pt x="3785057" y="1297654"/>
                        </a:cubicBezTo>
                        <a:cubicBezTo>
                          <a:pt x="3938548" y="1399339"/>
                          <a:pt x="3978779" y="1608867"/>
                          <a:pt x="3874915" y="1765647"/>
                        </a:cubicBezTo>
                        <a:cubicBezTo>
                          <a:pt x="3810000" y="1863635"/>
                          <a:pt x="3704162" y="1917827"/>
                          <a:pt x="3596438" y="1919866"/>
                        </a:cubicBezTo>
                        <a:lnTo>
                          <a:pt x="3589311" y="1919303"/>
                        </a:lnTo>
                        <a:lnTo>
                          <a:pt x="3369166" y="3116110"/>
                        </a:lnTo>
                        <a:lnTo>
                          <a:pt x="3319812" y="3117074"/>
                        </a:lnTo>
                        <a:lnTo>
                          <a:pt x="3078498" y="3073241"/>
                        </a:lnTo>
                        <a:cubicBezTo>
                          <a:pt x="2987272" y="3056670"/>
                          <a:pt x="2952559" y="2986380"/>
                          <a:pt x="2943323" y="2878059"/>
                        </a:cubicBezTo>
                        <a:cubicBezTo>
                          <a:pt x="2934236" y="2779878"/>
                          <a:pt x="2937376" y="2643961"/>
                          <a:pt x="2936878" y="2512150"/>
                        </a:cubicBezTo>
                        <a:lnTo>
                          <a:pt x="513809" y="1610794"/>
                        </a:lnTo>
                        <a:cubicBezTo>
                          <a:pt x="182288" y="1558966"/>
                          <a:pt x="-44450" y="1248199"/>
                          <a:pt x="7378" y="916676"/>
                        </a:cubicBezTo>
                        <a:cubicBezTo>
                          <a:pt x="59207" y="585154"/>
                          <a:pt x="366260" y="395720"/>
                          <a:pt x="701496" y="410244"/>
                        </a:cubicBezTo>
                        <a:cubicBezTo>
                          <a:pt x="1615611" y="449849"/>
                          <a:pt x="2450674" y="517636"/>
                          <a:pt x="3359890" y="473476"/>
                        </a:cubicBezTo>
                        <a:lnTo>
                          <a:pt x="3441051" y="137907"/>
                        </a:lnTo>
                        <a:cubicBezTo>
                          <a:pt x="3457621" y="46682"/>
                          <a:pt x="3545008" y="-13839"/>
                          <a:pt x="3636232" y="2732"/>
                        </a:cubicBezTo>
                        <a:lnTo>
                          <a:pt x="3877547" y="46564"/>
                        </a:lnTo>
                        <a:lnTo>
                          <a:pt x="3929953" y="67429"/>
                        </a:ln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sp>
                <p:nvSpPr>
                  <p:cNvPr id="128" name="Freeform 127"/>
                  <p:cNvSpPr/>
                  <p:nvPr/>
                </p:nvSpPr>
                <p:spPr>
                  <a:xfrm rot="19588578">
                    <a:off x="6443474" y="2652894"/>
                    <a:ext cx="439729" cy="398065"/>
                  </a:xfrm>
                  <a:custGeom>
                    <a:avLst/>
                    <a:gdLst/>
                    <a:ahLst/>
                    <a:cxnLst/>
                    <a:rect l="l" t="t" r="r" b="b"/>
                    <a:pathLst>
                      <a:path w="439729" h="398065">
                        <a:moveTo>
                          <a:pt x="208577" y="161833"/>
                        </a:moveTo>
                        <a:lnTo>
                          <a:pt x="208635" y="161872"/>
                        </a:lnTo>
                        <a:lnTo>
                          <a:pt x="198087" y="200910"/>
                        </a:lnTo>
                        <a:lnTo>
                          <a:pt x="176743" y="186769"/>
                        </a:lnTo>
                        <a:close/>
                        <a:moveTo>
                          <a:pt x="314695" y="211464"/>
                        </a:moveTo>
                        <a:cubicBezTo>
                          <a:pt x="313416" y="210617"/>
                          <a:pt x="312089" y="210282"/>
                          <a:pt x="310716" y="210460"/>
                        </a:cubicBezTo>
                        <a:cubicBezTo>
                          <a:pt x="309343" y="210638"/>
                          <a:pt x="308091" y="211580"/>
                          <a:pt x="306961" y="213286"/>
                        </a:cubicBezTo>
                        <a:lnTo>
                          <a:pt x="263500" y="278889"/>
                        </a:lnTo>
                        <a:cubicBezTo>
                          <a:pt x="262370" y="280595"/>
                          <a:pt x="261991" y="282115"/>
                          <a:pt x="262362" y="283449"/>
                        </a:cubicBezTo>
                        <a:cubicBezTo>
                          <a:pt x="262733" y="284783"/>
                          <a:pt x="263559" y="285874"/>
                          <a:pt x="264839" y="286721"/>
                        </a:cubicBezTo>
                        <a:lnTo>
                          <a:pt x="302642" y="311765"/>
                        </a:lnTo>
                        <a:cubicBezTo>
                          <a:pt x="302991" y="311997"/>
                          <a:pt x="303381" y="312102"/>
                          <a:pt x="303813" y="312081"/>
                        </a:cubicBezTo>
                        <a:cubicBezTo>
                          <a:pt x="304245" y="312061"/>
                          <a:pt x="304713" y="311882"/>
                          <a:pt x="305215" y="311545"/>
                        </a:cubicBezTo>
                        <a:cubicBezTo>
                          <a:pt x="305717" y="311208"/>
                          <a:pt x="306267" y="310694"/>
                          <a:pt x="306864" y="310002"/>
                        </a:cubicBezTo>
                        <a:cubicBezTo>
                          <a:pt x="307462" y="309310"/>
                          <a:pt x="308133" y="308402"/>
                          <a:pt x="308878" y="307278"/>
                        </a:cubicBezTo>
                        <a:cubicBezTo>
                          <a:pt x="309623" y="306153"/>
                          <a:pt x="310198" y="305181"/>
                          <a:pt x="310602" y="304361"/>
                        </a:cubicBezTo>
                        <a:cubicBezTo>
                          <a:pt x="311006" y="303541"/>
                          <a:pt x="311265" y="302833"/>
                          <a:pt x="311379" y="302240"/>
                        </a:cubicBezTo>
                        <a:cubicBezTo>
                          <a:pt x="311494" y="301646"/>
                          <a:pt x="311476" y="301146"/>
                          <a:pt x="311327" y="300740"/>
                        </a:cubicBezTo>
                        <a:cubicBezTo>
                          <a:pt x="311177" y="300334"/>
                          <a:pt x="310928" y="300016"/>
                          <a:pt x="310579" y="299785"/>
                        </a:cubicBezTo>
                        <a:lnTo>
                          <a:pt x="283477" y="281830"/>
                        </a:lnTo>
                        <a:lnTo>
                          <a:pt x="297540" y="260602"/>
                        </a:lnTo>
                        <a:lnTo>
                          <a:pt x="320280" y="275667"/>
                        </a:lnTo>
                        <a:cubicBezTo>
                          <a:pt x="320629" y="275898"/>
                          <a:pt x="321013" y="276013"/>
                          <a:pt x="321432" y="276012"/>
                        </a:cubicBezTo>
                        <a:cubicBezTo>
                          <a:pt x="321851" y="276011"/>
                          <a:pt x="322305" y="275852"/>
                          <a:pt x="322795" y="275534"/>
                        </a:cubicBezTo>
                        <a:cubicBezTo>
                          <a:pt x="323284" y="275217"/>
                          <a:pt x="323821" y="274722"/>
                          <a:pt x="324406" y="274049"/>
                        </a:cubicBezTo>
                        <a:cubicBezTo>
                          <a:pt x="324991" y="273377"/>
                          <a:pt x="325656" y="272478"/>
                          <a:pt x="326401" y="271354"/>
                        </a:cubicBezTo>
                        <a:cubicBezTo>
                          <a:pt x="327120" y="270268"/>
                          <a:pt x="327682" y="269315"/>
                          <a:pt x="328086" y="268495"/>
                        </a:cubicBezTo>
                        <a:cubicBezTo>
                          <a:pt x="328490" y="267675"/>
                          <a:pt x="328742" y="266977"/>
                          <a:pt x="328844" y="266403"/>
                        </a:cubicBezTo>
                        <a:cubicBezTo>
                          <a:pt x="328945" y="265829"/>
                          <a:pt x="328922" y="265339"/>
                          <a:pt x="328772" y="264933"/>
                        </a:cubicBezTo>
                        <a:cubicBezTo>
                          <a:pt x="328623" y="264527"/>
                          <a:pt x="328373" y="264208"/>
                          <a:pt x="328024" y="263977"/>
                        </a:cubicBezTo>
                        <a:lnTo>
                          <a:pt x="305284" y="248912"/>
                        </a:lnTo>
                        <a:lnTo>
                          <a:pt x="317459" y="230534"/>
                        </a:lnTo>
                        <a:lnTo>
                          <a:pt x="344328" y="248335"/>
                        </a:lnTo>
                        <a:cubicBezTo>
                          <a:pt x="344677" y="248566"/>
                          <a:pt x="345058" y="248665"/>
                          <a:pt x="345471" y="248631"/>
                        </a:cubicBezTo>
                        <a:cubicBezTo>
                          <a:pt x="345884" y="248598"/>
                          <a:pt x="346341" y="248413"/>
                          <a:pt x="346843" y="248076"/>
                        </a:cubicBezTo>
                        <a:cubicBezTo>
                          <a:pt x="347345" y="247739"/>
                          <a:pt x="347895" y="247225"/>
                          <a:pt x="348493" y="246533"/>
                        </a:cubicBezTo>
                        <a:cubicBezTo>
                          <a:pt x="349091" y="245841"/>
                          <a:pt x="349749" y="244952"/>
                          <a:pt x="350468" y="243866"/>
                        </a:cubicBezTo>
                        <a:cubicBezTo>
                          <a:pt x="351239" y="242703"/>
                          <a:pt x="351826" y="241712"/>
                          <a:pt x="352230" y="240891"/>
                        </a:cubicBezTo>
                        <a:cubicBezTo>
                          <a:pt x="352634" y="240071"/>
                          <a:pt x="352900" y="239354"/>
                          <a:pt x="353027" y="238741"/>
                        </a:cubicBezTo>
                        <a:cubicBezTo>
                          <a:pt x="353154" y="238128"/>
                          <a:pt x="353146" y="237635"/>
                          <a:pt x="353004" y="237261"/>
                        </a:cubicBezTo>
                        <a:cubicBezTo>
                          <a:pt x="352861" y="236888"/>
                          <a:pt x="352614" y="236585"/>
                          <a:pt x="352265" y="236354"/>
                        </a:cubicBezTo>
                        <a:close/>
                        <a:moveTo>
                          <a:pt x="270423" y="181633"/>
                        </a:moveTo>
                        <a:cubicBezTo>
                          <a:pt x="268950" y="180657"/>
                          <a:pt x="267681" y="179900"/>
                          <a:pt x="266615" y="179361"/>
                        </a:cubicBezTo>
                        <a:cubicBezTo>
                          <a:pt x="265549" y="178822"/>
                          <a:pt x="264661" y="178457"/>
                          <a:pt x="263951" y="178266"/>
                        </a:cubicBezTo>
                        <a:cubicBezTo>
                          <a:pt x="263241" y="178074"/>
                          <a:pt x="262657" y="178050"/>
                          <a:pt x="262200" y="178193"/>
                        </a:cubicBezTo>
                        <a:cubicBezTo>
                          <a:pt x="261742" y="178337"/>
                          <a:pt x="261385" y="178602"/>
                          <a:pt x="261128" y="178990"/>
                        </a:cubicBezTo>
                        <a:lnTo>
                          <a:pt x="215856" y="247326"/>
                        </a:lnTo>
                        <a:cubicBezTo>
                          <a:pt x="214726" y="249032"/>
                          <a:pt x="214347" y="250552"/>
                          <a:pt x="214719" y="251886"/>
                        </a:cubicBezTo>
                        <a:cubicBezTo>
                          <a:pt x="215090" y="253220"/>
                          <a:pt x="215916" y="254311"/>
                          <a:pt x="217195" y="255159"/>
                        </a:cubicBezTo>
                        <a:lnTo>
                          <a:pt x="251683" y="278006"/>
                        </a:lnTo>
                        <a:cubicBezTo>
                          <a:pt x="252071" y="278263"/>
                          <a:pt x="252487" y="278371"/>
                          <a:pt x="252932" y="278332"/>
                        </a:cubicBezTo>
                        <a:cubicBezTo>
                          <a:pt x="253377" y="278292"/>
                          <a:pt x="253870" y="278074"/>
                          <a:pt x="254410" y="277679"/>
                        </a:cubicBezTo>
                        <a:cubicBezTo>
                          <a:pt x="254951" y="277284"/>
                          <a:pt x="255533" y="276721"/>
                          <a:pt x="256157" y="275991"/>
                        </a:cubicBezTo>
                        <a:cubicBezTo>
                          <a:pt x="256780" y="275260"/>
                          <a:pt x="257477" y="274313"/>
                          <a:pt x="258247" y="273150"/>
                        </a:cubicBezTo>
                        <a:cubicBezTo>
                          <a:pt x="259018" y="271987"/>
                          <a:pt x="259618" y="270976"/>
                          <a:pt x="260048" y="270117"/>
                        </a:cubicBezTo>
                        <a:cubicBezTo>
                          <a:pt x="260478" y="269258"/>
                          <a:pt x="260756" y="268522"/>
                          <a:pt x="260883" y="267908"/>
                        </a:cubicBezTo>
                        <a:cubicBezTo>
                          <a:pt x="261010" y="267295"/>
                          <a:pt x="260999" y="266786"/>
                          <a:pt x="260850" y="266380"/>
                        </a:cubicBezTo>
                        <a:cubicBezTo>
                          <a:pt x="260700" y="265974"/>
                          <a:pt x="260432" y="265643"/>
                          <a:pt x="260044" y="265386"/>
                        </a:cubicBezTo>
                        <a:lnTo>
                          <a:pt x="236373" y="249705"/>
                        </a:lnTo>
                        <a:lnTo>
                          <a:pt x="276482" y="189162"/>
                        </a:lnTo>
                        <a:cubicBezTo>
                          <a:pt x="276739" y="188774"/>
                          <a:pt x="276844" y="188341"/>
                          <a:pt x="276797" y="187864"/>
                        </a:cubicBezTo>
                        <a:cubicBezTo>
                          <a:pt x="276751" y="187387"/>
                          <a:pt x="276501" y="186859"/>
                          <a:pt x="276048" y="186280"/>
                        </a:cubicBezTo>
                        <a:cubicBezTo>
                          <a:pt x="275595" y="185701"/>
                          <a:pt x="274922" y="185032"/>
                          <a:pt x="274030" y="184273"/>
                        </a:cubicBezTo>
                        <a:cubicBezTo>
                          <a:pt x="273138" y="183515"/>
                          <a:pt x="271935" y="182635"/>
                          <a:pt x="270423" y="181633"/>
                        </a:cubicBezTo>
                        <a:close/>
                        <a:moveTo>
                          <a:pt x="218557" y="147273"/>
                        </a:moveTo>
                        <a:cubicBezTo>
                          <a:pt x="216580" y="145963"/>
                          <a:pt x="214971" y="144939"/>
                          <a:pt x="213731" y="144201"/>
                        </a:cubicBezTo>
                        <a:cubicBezTo>
                          <a:pt x="212490" y="143463"/>
                          <a:pt x="211460" y="142976"/>
                          <a:pt x="210640" y="142739"/>
                        </a:cubicBezTo>
                        <a:cubicBezTo>
                          <a:pt x="209820" y="142503"/>
                          <a:pt x="209121" y="142486"/>
                          <a:pt x="208541" y="142687"/>
                        </a:cubicBezTo>
                        <a:cubicBezTo>
                          <a:pt x="207961" y="142889"/>
                          <a:pt x="207336" y="143242"/>
                          <a:pt x="206667" y="143747"/>
                        </a:cubicBezTo>
                        <a:lnTo>
                          <a:pt x="139231" y="195140"/>
                        </a:lnTo>
                        <a:cubicBezTo>
                          <a:pt x="137866" y="196189"/>
                          <a:pt x="136856" y="197082"/>
                          <a:pt x="136201" y="197819"/>
                        </a:cubicBezTo>
                        <a:cubicBezTo>
                          <a:pt x="135545" y="198556"/>
                          <a:pt x="135263" y="199276"/>
                          <a:pt x="135355" y="199979"/>
                        </a:cubicBezTo>
                        <a:cubicBezTo>
                          <a:pt x="135448" y="200682"/>
                          <a:pt x="135959" y="201425"/>
                          <a:pt x="136890" y="202209"/>
                        </a:cubicBezTo>
                        <a:cubicBezTo>
                          <a:pt x="137822" y="202994"/>
                          <a:pt x="139179" y="203976"/>
                          <a:pt x="140962" y="205158"/>
                        </a:cubicBezTo>
                        <a:cubicBezTo>
                          <a:pt x="142630" y="206262"/>
                          <a:pt x="144002" y="207116"/>
                          <a:pt x="145081" y="207719"/>
                        </a:cubicBezTo>
                        <a:cubicBezTo>
                          <a:pt x="146160" y="208322"/>
                          <a:pt x="147051" y="208704"/>
                          <a:pt x="147755" y="208863"/>
                        </a:cubicBezTo>
                        <a:cubicBezTo>
                          <a:pt x="148458" y="209022"/>
                          <a:pt x="149058" y="209001"/>
                          <a:pt x="149554" y="208800"/>
                        </a:cubicBezTo>
                        <a:cubicBezTo>
                          <a:pt x="150050" y="208598"/>
                          <a:pt x="150556" y="208277"/>
                          <a:pt x="151070" y="207838"/>
                        </a:cubicBezTo>
                        <a:lnTo>
                          <a:pt x="165587" y="196283"/>
                        </a:lnTo>
                        <a:lnTo>
                          <a:pt x="193852" y="215008"/>
                        </a:lnTo>
                        <a:lnTo>
                          <a:pt x="188894" y="233481"/>
                        </a:lnTo>
                        <a:cubicBezTo>
                          <a:pt x="188716" y="234088"/>
                          <a:pt x="188640" y="234623"/>
                          <a:pt x="188667" y="235088"/>
                        </a:cubicBezTo>
                        <a:cubicBezTo>
                          <a:pt x="188694" y="235552"/>
                          <a:pt x="188941" y="236064"/>
                          <a:pt x="189407" y="236624"/>
                        </a:cubicBezTo>
                        <a:cubicBezTo>
                          <a:pt x="189872" y="237183"/>
                          <a:pt x="190639" y="237858"/>
                          <a:pt x="191705" y="238649"/>
                        </a:cubicBezTo>
                        <a:cubicBezTo>
                          <a:pt x="192772" y="239439"/>
                          <a:pt x="194294" y="240489"/>
                          <a:pt x="196271" y="241799"/>
                        </a:cubicBezTo>
                        <a:cubicBezTo>
                          <a:pt x="198171" y="243058"/>
                          <a:pt x="199696" y="243998"/>
                          <a:pt x="200845" y="244620"/>
                        </a:cubicBezTo>
                        <a:cubicBezTo>
                          <a:pt x="201995" y="245243"/>
                          <a:pt x="202919" y="245491"/>
                          <a:pt x="203615" y="245367"/>
                        </a:cubicBezTo>
                        <a:cubicBezTo>
                          <a:pt x="204311" y="245242"/>
                          <a:pt x="204870" y="244734"/>
                          <a:pt x="205294" y="243843"/>
                        </a:cubicBezTo>
                        <a:cubicBezTo>
                          <a:pt x="205717" y="242952"/>
                          <a:pt x="206158" y="241654"/>
                          <a:pt x="206617" y="239950"/>
                        </a:cubicBezTo>
                        <a:lnTo>
                          <a:pt x="227547" y="157831"/>
                        </a:lnTo>
                        <a:cubicBezTo>
                          <a:pt x="227802" y="156940"/>
                          <a:pt x="227906" y="156172"/>
                          <a:pt x="227859" y="155527"/>
                        </a:cubicBezTo>
                        <a:cubicBezTo>
                          <a:pt x="227812" y="154882"/>
                          <a:pt x="227481" y="154203"/>
                          <a:pt x="226867" y="153489"/>
                        </a:cubicBezTo>
                        <a:cubicBezTo>
                          <a:pt x="226252" y="152775"/>
                          <a:pt x="225285" y="151939"/>
                          <a:pt x="223967" y="150982"/>
                        </a:cubicBezTo>
                        <a:cubicBezTo>
                          <a:pt x="222648" y="150025"/>
                          <a:pt x="220845" y="148788"/>
                          <a:pt x="218557" y="147273"/>
                        </a:cubicBezTo>
                        <a:close/>
                        <a:moveTo>
                          <a:pt x="158336" y="105955"/>
                        </a:moveTo>
                        <a:cubicBezTo>
                          <a:pt x="154885" y="103669"/>
                          <a:pt x="151323" y="101951"/>
                          <a:pt x="147650" y="100800"/>
                        </a:cubicBezTo>
                        <a:cubicBezTo>
                          <a:pt x="143977" y="99650"/>
                          <a:pt x="140409" y="99225"/>
                          <a:pt x="136946" y="99525"/>
                        </a:cubicBezTo>
                        <a:cubicBezTo>
                          <a:pt x="133484" y="99826"/>
                          <a:pt x="130178" y="100900"/>
                          <a:pt x="127030" y="102746"/>
                        </a:cubicBezTo>
                        <a:cubicBezTo>
                          <a:pt x="123881" y="104594"/>
                          <a:pt x="121113" y="107321"/>
                          <a:pt x="118724" y="110926"/>
                        </a:cubicBezTo>
                        <a:cubicBezTo>
                          <a:pt x="116643" y="114067"/>
                          <a:pt x="115323" y="117070"/>
                          <a:pt x="114764" y="119935"/>
                        </a:cubicBezTo>
                        <a:cubicBezTo>
                          <a:pt x="114205" y="122800"/>
                          <a:pt x="114126" y="125551"/>
                          <a:pt x="114527" y="128188"/>
                        </a:cubicBezTo>
                        <a:cubicBezTo>
                          <a:pt x="114928" y="130825"/>
                          <a:pt x="115686" y="133364"/>
                          <a:pt x="116803" y="135805"/>
                        </a:cubicBezTo>
                        <a:cubicBezTo>
                          <a:pt x="117919" y="138246"/>
                          <a:pt x="119178" y="140600"/>
                          <a:pt x="120577" y="142866"/>
                        </a:cubicBezTo>
                        <a:cubicBezTo>
                          <a:pt x="121977" y="145132"/>
                          <a:pt x="123351" y="147311"/>
                          <a:pt x="124698" y="149404"/>
                        </a:cubicBezTo>
                        <a:cubicBezTo>
                          <a:pt x="126046" y="151496"/>
                          <a:pt x="127151" y="153511"/>
                          <a:pt x="128015" y="155450"/>
                        </a:cubicBezTo>
                        <a:cubicBezTo>
                          <a:pt x="128878" y="157389"/>
                          <a:pt x="129370" y="159277"/>
                          <a:pt x="129492" y="161115"/>
                        </a:cubicBezTo>
                        <a:cubicBezTo>
                          <a:pt x="129613" y="162953"/>
                          <a:pt x="129109" y="164725"/>
                          <a:pt x="127979" y="166431"/>
                        </a:cubicBezTo>
                        <a:cubicBezTo>
                          <a:pt x="127003" y="167904"/>
                          <a:pt x="125845" y="169062"/>
                          <a:pt x="124506" y="169904"/>
                        </a:cubicBezTo>
                        <a:cubicBezTo>
                          <a:pt x="123167" y="170747"/>
                          <a:pt x="121714" y="171235"/>
                          <a:pt x="120147" y="171368"/>
                        </a:cubicBezTo>
                        <a:cubicBezTo>
                          <a:pt x="118580" y="171502"/>
                          <a:pt x="116913" y="171303"/>
                          <a:pt x="115144" y="170773"/>
                        </a:cubicBezTo>
                        <a:cubicBezTo>
                          <a:pt x="113375" y="170243"/>
                          <a:pt x="111560" y="169361"/>
                          <a:pt x="109699" y="168128"/>
                        </a:cubicBezTo>
                        <a:cubicBezTo>
                          <a:pt x="106869" y="166253"/>
                          <a:pt x="104590" y="164283"/>
                          <a:pt x="102861" y="162218"/>
                        </a:cubicBezTo>
                        <a:cubicBezTo>
                          <a:pt x="101134" y="160153"/>
                          <a:pt x="99751" y="158218"/>
                          <a:pt x="98713" y="156415"/>
                        </a:cubicBezTo>
                        <a:cubicBezTo>
                          <a:pt x="97677" y="154613"/>
                          <a:pt x="96875" y="153064"/>
                          <a:pt x="96310" y="151769"/>
                        </a:cubicBezTo>
                        <a:cubicBezTo>
                          <a:pt x="95745" y="150474"/>
                          <a:pt x="95192" y="149647"/>
                          <a:pt x="94649" y="149288"/>
                        </a:cubicBezTo>
                        <a:cubicBezTo>
                          <a:pt x="94261" y="149031"/>
                          <a:pt x="93851" y="148913"/>
                          <a:pt x="93419" y="148933"/>
                        </a:cubicBezTo>
                        <a:cubicBezTo>
                          <a:pt x="92987" y="148954"/>
                          <a:pt x="92517" y="149158"/>
                          <a:pt x="92009" y="149547"/>
                        </a:cubicBezTo>
                        <a:cubicBezTo>
                          <a:pt x="91500" y="149935"/>
                          <a:pt x="90937" y="150511"/>
                          <a:pt x="90321" y="151274"/>
                        </a:cubicBezTo>
                        <a:cubicBezTo>
                          <a:pt x="89704" y="152037"/>
                          <a:pt x="88997" y="153019"/>
                          <a:pt x="88201" y="154221"/>
                        </a:cubicBezTo>
                        <a:cubicBezTo>
                          <a:pt x="87019" y="156005"/>
                          <a:pt x="86220" y="157442"/>
                          <a:pt x="85805" y="158533"/>
                        </a:cubicBezTo>
                        <a:cubicBezTo>
                          <a:pt x="85388" y="159624"/>
                          <a:pt x="85266" y="160589"/>
                          <a:pt x="85436" y="161427"/>
                        </a:cubicBezTo>
                        <a:cubicBezTo>
                          <a:pt x="85606" y="162265"/>
                          <a:pt x="86044" y="163392"/>
                          <a:pt x="86752" y="164809"/>
                        </a:cubicBezTo>
                        <a:cubicBezTo>
                          <a:pt x="87459" y="166226"/>
                          <a:pt x="88466" y="167800"/>
                          <a:pt x="89774" y="169531"/>
                        </a:cubicBezTo>
                        <a:cubicBezTo>
                          <a:pt x="91082" y="171262"/>
                          <a:pt x="92709" y="173079"/>
                          <a:pt x="94656" y="174983"/>
                        </a:cubicBezTo>
                        <a:cubicBezTo>
                          <a:pt x="96603" y="176886"/>
                          <a:pt x="98875" y="178699"/>
                          <a:pt x="101473" y="180420"/>
                        </a:cubicBezTo>
                        <a:cubicBezTo>
                          <a:pt x="105312" y="182963"/>
                          <a:pt x="109251" y="184847"/>
                          <a:pt x="113292" y="186074"/>
                        </a:cubicBezTo>
                        <a:cubicBezTo>
                          <a:pt x="117333" y="187300"/>
                          <a:pt x="121275" y="187750"/>
                          <a:pt x="125118" y="187423"/>
                        </a:cubicBezTo>
                        <a:cubicBezTo>
                          <a:pt x="128961" y="187096"/>
                          <a:pt x="132608" y="185927"/>
                          <a:pt x="136060" y="183918"/>
                        </a:cubicBezTo>
                        <a:cubicBezTo>
                          <a:pt x="139511" y="181909"/>
                          <a:pt x="142546" y="178927"/>
                          <a:pt x="145166" y="174972"/>
                        </a:cubicBezTo>
                        <a:cubicBezTo>
                          <a:pt x="147170" y="171948"/>
                          <a:pt x="148445" y="169013"/>
                          <a:pt x="148991" y="166167"/>
                        </a:cubicBezTo>
                        <a:cubicBezTo>
                          <a:pt x="149537" y="163321"/>
                          <a:pt x="149601" y="160573"/>
                          <a:pt x="149180" y="157923"/>
                        </a:cubicBezTo>
                        <a:cubicBezTo>
                          <a:pt x="148759" y="155274"/>
                          <a:pt x="147972" y="152716"/>
                          <a:pt x="146816" y="150249"/>
                        </a:cubicBezTo>
                        <a:cubicBezTo>
                          <a:pt x="145661" y="147782"/>
                          <a:pt x="144384" y="145415"/>
                          <a:pt x="142984" y="143149"/>
                        </a:cubicBezTo>
                        <a:cubicBezTo>
                          <a:pt x="141584" y="140883"/>
                          <a:pt x="140191" y="138691"/>
                          <a:pt x="138805" y="136573"/>
                        </a:cubicBezTo>
                        <a:cubicBezTo>
                          <a:pt x="137419" y="134455"/>
                          <a:pt x="136275" y="132414"/>
                          <a:pt x="135372" y="130449"/>
                        </a:cubicBezTo>
                        <a:cubicBezTo>
                          <a:pt x="134470" y="128485"/>
                          <a:pt x="133968" y="126590"/>
                          <a:pt x="133866" y="124765"/>
                        </a:cubicBezTo>
                        <a:cubicBezTo>
                          <a:pt x="133764" y="122940"/>
                          <a:pt x="134265" y="121194"/>
                          <a:pt x="135369" y="119527"/>
                        </a:cubicBezTo>
                        <a:cubicBezTo>
                          <a:pt x="136114" y="118402"/>
                          <a:pt x="137024" y="117471"/>
                          <a:pt x="138099" y="116733"/>
                        </a:cubicBezTo>
                        <a:cubicBezTo>
                          <a:pt x="139174" y="115994"/>
                          <a:pt x="140366" y="115543"/>
                          <a:pt x="141675" y="115378"/>
                        </a:cubicBezTo>
                        <a:cubicBezTo>
                          <a:pt x="142984" y="115212"/>
                          <a:pt x="144393" y="115337"/>
                          <a:pt x="145904" y="115752"/>
                        </a:cubicBezTo>
                        <a:cubicBezTo>
                          <a:pt x="147414" y="116167"/>
                          <a:pt x="149003" y="116927"/>
                          <a:pt x="150670" y="118031"/>
                        </a:cubicBezTo>
                        <a:cubicBezTo>
                          <a:pt x="152803" y="119444"/>
                          <a:pt x="154587" y="121003"/>
                          <a:pt x="156024" y="122708"/>
                        </a:cubicBezTo>
                        <a:cubicBezTo>
                          <a:pt x="157461" y="124413"/>
                          <a:pt x="158646" y="126035"/>
                          <a:pt x="159579" y="127573"/>
                        </a:cubicBezTo>
                        <a:cubicBezTo>
                          <a:pt x="160512" y="129112"/>
                          <a:pt x="161264" y="130461"/>
                          <a:pt x="161835" y="131620"/>
                        </a:cubicBezTo>
                        <a:cubicBezTo>
                          <a:pt x="162406" y="132780"/>
                          <a:pt x="162905" y="133501"/>
                          <a:pt x="163331" y="133783"/>
                        </a:cubicBezTo>
                        <a:cubicBezTo>
                          <a:pt x="163758" y="134066"/>
                          <a:pt x="164174" y="134174"/>
                          <a:pt x="164580" y="134109"/>
                        </a:cubicBezTo>
                        <a:cubicBezTo>
                          <a:pt x="164987" y="134043"/>
                          <a:pt x="165424" y="133803"/>
                          <a:pt x="165894" y="133389"/>
                        </a:cubicBezTo>
                        <a:cubicBezTo>
                          <a:pt x="166364" y="132975"/>
                          <a:pt x="166884" y="132399"/>
                          <a:pt x="167456" y="131662"/>
                        </a:cubicBezTo>
                        <a:cubicBezTo>
                          <a:pt x="168028" y="130925"/>
                          <a:pt x="168686" y="129994"/>
                          <a:pt x="169431" y="128870"/>
                        </a:cubicBezTo>
                        <a:cubicBezTo>
                          <a:pt x="170099" y="127862"/>
                          <a:pt x="170638" y="127006"/>
                          <a:pt x="171049" y="126302"/>
                        </a:cubicBezTo>
                        <a:cubicBezTo>
                          <a:pt x="171460" y="125598"/>
                          <a:pt x="171764" y="124990"/>
                          <a:pt x="171963" y="124480"/>
                        </a:cubicBezTo>
                        <a:cubicBezTo>
                          <a:pt x="172161" y="123970"/>
                          <a:pt x="172283" y="123535"/>
                          <a:pt x="172327" y="123173"/>
                        </a:cubicBezTo>
                        <a:cubicBezTo>
                          <a:pt x="172371" y="122812"/>
                          <a:pt x="172327" y="122309"/>
                          <a:pt x="172197" y="121665"/>
                        </a:cubicBezTo>
                        <a:cubicBezTo>
                          <a:pt x="172066" y="121020"/>
                          <a:pt x="171592" y="120009"/>
                          <a:pt x="170775" y="118631"/>
                        </a:cubicBezTo>
                        <a:cubicBezTo>
                          <a:pt x="169959" y="117253"/>
                          <a:pt x="168929" y="115818"/>
                          <a:pt x="167686" y="114325"/>
                        </a:cubicBezTo>
                        <a:cubicBezTo>
                          <a:pt x="166444" y="112832"/>
                          <a:pt x="165020" y="111359"/>
                          <a:pt x="163417" y="109907"/>
                        </a:cubicBezTo>
                        <a:cubicBezTo>
                          <a:pt x="161813" y="108454"/>
                          <a:pt x="160119" y="107136"/>
                          <a:pt x="158336" y="105955"/>
                        </a:cubicBezTo>
                        <a:close/>
                        <a:moveTo>
                          <a:pt x="341279" y="36593"/>
                        </a:moveTo>
                        <a:cubicBezTo>
                          <a:pt x="442498" y="103648"/>
                          <a:pt x="470192" y="240061"/>
                          <a:pt x="403137" y="341280"/>
                        </a:cubicBezTo>
                        <a:cubicBezTo>
                          <a:pt x="394755" y="353932"/>
                          <a:pt x="385290" y="365436"/>
                          <a:pt x="374945" y="375749"/>
                        </a:cubicBezTo>
                        <a:lnTo>
                          <a:pt x="367420" y="382537"/>
                        </a:lnTo>
                        <a:lnTo>
                          <a:pt x="348634" y="383170"/>
                        </a:lnTo>
                        <a:cubicBezTo>
                          <a:pt x="284124" y="385584"/>
                          <a:pt x="219614" y="387998"/>
                          <a:pt x="160037" y="378684"/>
                        </a:cubicBezTo>
                        <a:cubicBezTo>
                          <a:pt x="136518" y="375007"/>
                          <a:pt x="113734" y="381212"/>
                          <a:pt x="95911" y="394215"/>
                        </a:cubicBezTo>
                        <a:lnTo>
                          <a:pt x="91574" y="398065"/>
                        </a:lnTo>
                        <a:lnTo>
                          <a:pt x="80339" y="389778"/>
                        </a:lnTo>
                        <a:cubicBezTo>
                          <a:pt x="-5859" y="319168"/>
                          <a:pt x="-26272" y="193343"/>
                          <a:pt x="36593" y="98451"/>
                        </a:cubicBezTo>
                        <a:cubicBezTo>
                          <a:pt x="103648" y="-2768"/>
                          <a:pt x="240061" y="-30462"/>
                          <a:pt x="341279" y="36593"/>
                        </a:cubicBezTo>
                        <a:close/>
                      </a:path>
                    </a:pathLst>
                  </a:custGeom>
                  <a:grpFill/>
                  <a:ln w="19050" cap="flat" cmpd="sng" algn="ctr">
                    <a:solidFill>
                      <a:schemeClr val="bg1"/>
                    </a:solidFill>
                    <a:prstDash val="solid"/>
                    <a:miter lim="800000"/>
                  </a:ln>
                  <a:effectLst/>
                </p:spPr>
                <p:txBody>
                  <a:bodyPr wrap="square" rtlCol="0" anchor="ctr">
                    <a:noAutofit/>
                  </a:bodyP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sp>
                <p:nvSpPr>
                  <p:cNvPr id="129" name="Freeform 128"/>
                  <p:cNvSpPr/>
                  <p:nvPr/>
                </p:nvSpPr>
                <p:spPr>
                  <a:xfrm rot="20843499">
                    <a:off x="6831744" y="3177745"/>
                    <a:ext cx="217051" cy="82241"/>
                  </a:xfrm>
                  <a:custGeom>
                    <a:avLst/>
                    <a:gdLst>
                      <a:gd name="connsiteX0" fmla="*/ 1529738 w 1529738"/>
                      <a:gd name="connsiteY0" fmla="*/ 0 h 579616"/>
                      <a:gd name="connsiteX1" fmla="*/ 1525769 w 1529738"/>
                      <a:gd name="connsiteY1" fmla="*/ 405501 h 579616"/>
                      <a:gd name="connsiteX2" fmla="*/ 1348222 w 1529738"/>
                      <a:gd name="connsiteY2" fmla="*/ 579608 h 579616"/>
                      <a:gd name="connsiteX3" fmla="*/ 174116 w 1529738"/>
                      <a:gd name="connsiteY3" fmla="*/ 568122 h 579616"/>
                      <a:gd name="connsiteX4" fmla="*/ 9 w 1529738"/>
                      <a:gd name="connsiteY4" fmla="*/ 390574 h 579616"/>
                      <a:gd name="connsiteX5" fmla="*/ 3830 w 1529738"/>
                      <a:gd name="connsiteY5" fmla="*/ 1 h 579616"/>
                      <a:gd name="connsiteX6" fmla="*/ 226951 w 1529738"/>
                      <a:gd name="connsiteY6" fmla="*/ 0 h 579616"/>
                      <a:gd name="connsiteX7" fmla="*/ 211099 w 1529738"/>
                      <a:gd name="connsiteY7" fmla="*/ 340157 h 579616"/>
                      <a:gd name="connsiteX8" fmla="*/ 1245250 w 1529738"/>
                      <a:gd name="connsiteY8" fmla="*/ 317581 h 579616"/>
                      <a:gd name="connsiteX9" fmla="*/ 1288569 w 1529738"/>
                      <a:gd name="connsiteY9" fmla="*/ 0 h 579616"/>
                      <a:gd name="connsiteX10" fmla="*/ 1529738 w 1529738"/>
                      <a:gd name="connsiteY10" fmla="*/ 0 h 579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29738" h="579616">
                        <a:moveTo>
                          <a:pt x="1529738" y="0"/>
                        </a:moveTo>
                        <a:lnTo>
                          <a:pt x="1525769" y="405501"/>
                        </a:lnTo>
                        <a:cubicBezTo>
                          <a:pt x="1524819" y="502608"/>
                          <a:pt x="1445329" y="580558"/>
                          <a:pt x="1348222" y="579608"/>
                        </a:cubicBezTo>
                        <a:lnTo>
                          <a:pt x="174116" y="568122"/>
                        </a:lnTo>
                        <a:cubicBezTo>
                          <a:pt x="77009" y="567172"/>
                          <a:pt x="-941" y="487682"/>
                          <a:pt x="9" y="390574"/>
                        </a:cubicBezTo>
                        <a:lnTo>
                          <a:pt x="3830" y="1"/>
                        </a:lnTo>
                        <a:lnTo>
                          <a:pt x="226951" y="0"/>
                        </a:lnTo>
                        <a:lnTo>
                          <a:pt x="211099" y="340157"/>
                        </a:lnTo>
                        <a:lnTo>
                          <a:pt x="1245250" y="317581"/>
                        </a:lnTo>
                        <a:lnTo>
                          <a:pt x="1288569" y="0"/>
                        </a:lnTo>
                        <a:lnTo>
                          <a:pt x="1529738" y="0"/>
                        </a:lnTo>
                        <a:close/>
                      </a:path>
                    </a:pathLst>
                  </a:custGeom>
                  <a:grpFill/>
                  <a:ln w="19050" cap="flat" cmpd="sng" algn="ctr">
                    <a:solidFill>
                      <a:schemeClr val="bg1"/>
                    </a:solidFill>
                    <a:prstDash val="solid"/>
                    <a:miter lim="800000"/>
                  </a:ln>
                  <a:effectLst/>
                </p:spPr>
                <p:txBody>
                  <a:bodyPr rtlCol="0" anchor="ctr"/>
                  <a:lstStyle/>
                  <a:p>
                    <a:pPr algn="ctr">
                      <a:defRPr/>
                    </a:pPr>
                    <a:endParaRPr lang="en-US" kern="0">
                      <a:solidFill>
                        <a:prstClr val="white"/>
                      </a:solidFill>
                      <a:latin typeface="Univers for KPMG" panose="020B0603020202020204" pitchFamily="34" charset="0"/>
                      <a:cs typeface="Arial" panose="020B0604020202020204" pitchFamily="34" charset="0"/>
                    </a:endParaRPr>
                  </a:p>
                </p:txBody>
              </p:sp>
            </p:grpSp>
          </p:grpSp>
          <p:grpSp>
            <p:nvGrpSpPr>
              <p:cNvPr id="74" name="Group 73"/>
              <p:cNvGrpSpPr/>
              <p:nvPr/>
            </p:nvGrpSpPr>
            <p:grpSpPr>
              <a:xfrm>
                <a:off x="3400023" y="5403738"/>
                <a:ext cx="2343954" cy="1046408"/>
                <a:chOff x="3400023" y="5403738"/>
                <a:chExt cx="2343954" cy="1046408"/>
              </a:xfrm>
            </p:grpSpPr>
            <p:sp>
              <p:nvSpPr>
                <p:cNvPr id="118" name="Freeform 117"/>
                <p:cNvSpPr/>
                <p:nvPr/>
              </p:nvSpPr>
              <p:spPr>
                <a:xfrm>
                  <a:off x="3400023" y="5403738"/>
                  <a:ext cx="2343954" cy="1046408"/>
                </a:xfrm>
                <a:custGeom>
                  <a:avLst/>
                  <a:gdLst>
                    <a:gd name="connsiteX0" fmla="*/ 506445 w 2130215"/>
                    <a:gd name="connsiteY0" fmla="*/ 233 h 950989"/>
                    <a:gd name="connsiteX1" fmla="*/ 636325 w 2130215"/>
                    <a:gd name="connsiteY1" fmla="*/ 157807 h 950989"/>
                    <a:gd name="connsiteX2" fmla="*/ 622279 w 2130215"/>
                    <a:gd name="connsiteY2" fmla="*/ 192036 h 950989"/>
                    <a:gd name="connsiteX3" fmla="*/ 2103358 w 2130215"/>
                    <a:gd name="connsiteY3" fmla="*/ 192036 h 950989"/>
                    <a:gd name="connsiteX4" fmla="*/ 2122585 w 2130215"/>
                    <a:gd name="connsiteY4" fmla="*/ 280870 h 950989"/>
                    <a:gd name="connsiteX5" fmla="*/ 1961734 w 2130215"/>
                    <a:gd name="connsiteY5" fmla="*/ 752227 h 950989"/>
                    <a:gd name="connsiteX6" fmla="*/ 1894249 w 2130215"/>
                    <a:gd name="connsiteY6" fmla="*/ 752538 h 950989"/>
                    <a:gd name="connsiteX7" fmla="*/ 1985886 w 2130215"/>
                    <a:gd name="connsiteY7" fmla="*/ 752538 h 950989"/>
                    <a:gd name="connsiteX8" fmla="*/ 2096244 w 2130215"/>
                    <a:gd name="connsiteY8" fmla="*/ 851769 h 950989"/>
                    <a:gd name="connsiteX9" fmla="*/ 2096244 w 2130215"/>
                    <a:gd name="connsiteY9" fmla="*/ 950989 h 950989"/>
                    <a:gd name="connsiteX10" fmla="*/ 16078 w 2130215"/>
                    <a:gd name="connsiteY10" fmla="*/ 950989 h 950989"/>
                    <a:gd name="connsiteX11" fmla="*/ 16078 w 2130215"/>
                    <a:gd name="connsiteY11" fmla="*/ 851769 h 950989"/>
                    <a:gd name="connsiteX12" fmla="*/ 126436 w 2130215"/>
                    <a:gd name="connsiteY12" fmla="*/ 752538 h 950989"/>
                    <a:gd name="connsiteX13" fmla="*/ 161845 w 2130215"/>
                    <a:gd name="connsiteY13" fmla="*/ 752538 h 950989"/>
                    <a:gd name="connsiteX14" fmla="*/ 91733 w 2130215"/>
                    <a:gd name="connsiteY14" fmla="*/ 673645 h 950989"/>
                    <a:gd name="connsiteX15" fmla="*/ 12999 w 2130215"/>
                    <a:gd name="connsiteY15" fmla="*/ 267664 h 950989"/>
                    <a:gd name="connsiteX16" fmla="*/ 34019 w 2130215"/>
                    <a:gd name="connsiteY16" fmla="*/ 192036 h 950989"/>
                    <a:gd name="connsiteX17" fmla="*/ 380114 w 2130215"/>
                    <a:gd name="connsiteY17" fmla="*/ 192036 h 950989"/>
                    <a:gd name="connsiteX18" fmla="*/ 362984 w 2130215"/>
                    <a:gd name="connsiteY18" fmla="*/ 162835 h 950989"/>
                    <a:gd name="connsiteX19" fmla="*/ 506445 w 2130215"/>
                    <a:gd name="connsiteY19" fmla="*/ 233 h 950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130215" h="950989">
                      <a:moveTo>
                        <a:pt x="506445" y="233"/>
                      </a:moveTo>
                      <a:cubicBezTo>
                        <a:pt x="666885" y="3306"/>
                        <a:pt x="699602" y="81814"/>
                        <a:pt x="636325" y="157807"/>
                      </a:cubicBezTo>
                      <a:lnTo>
                        <a:pt x="622279" y="192036"/>
                      </a:lnTo>
                      <a:lnTo>
                        <a:pt x="2103358" y="192036"/>
                      </a:lnTo>
                      <a:lnTo>
                        <a:pt x="2122585" y="280870"/>
                      </a:lnTo>
                      <a:cubicBezTo>
                        <a:pt x="2149797" y="470315"/>
                        <a:pt x="2106064" y="654317"/>
                        <a:pt x="1961734" y="752227"/>
                      </a:cubicBezTo>
                      <a:lnTo>
                        <a:pt x="1894249" y="752538"/>
                      </a:lnTo>
                      <a:lnTo>
                        <a:pt x="1985886" y="752538"/>
                      </a:lnTo>
                      <a:cubicBezTo>
                        <a:pt x="2046836" y="752538"/>
                        <a:pt x="2096244" y="796965"/>
                        <a:pt x="2096244" y="851769"/>
                      </a:cubicBezTo>
                      <a:lnTo>
                        <a:pt x="2096244" y="950989"/>
                      </a:lnTo>
                      <a:lnTo>
                        <a:pt x="16078" y="950989"/>
                      </a:lnTo>
                      <a:lnTo>
                        <a:pt x="16078" y="851769"/>
                      </a:lnTo>
                      <a:cubicBezTo>
                        <a:pt x="16078" y="796965"/>
                        <a:pt x="65487" y="752538"/>
                        <a:pt x="126436" y="752538"/>
                      </a:cubicBezTo>
                      <a:lnTo>
                        <a:pt x="161845" y="752538"/>
                      </a:lnTo>
                      <a:lnTo>
                        <a:pt x="91733" y="673645"/>
                      </a:lnTo>
                      <a:cubicBezTo>
                        <a:pt x="8039" y="557516"/>
                        <a:pt x="-18870" y="421283"/>
                        <a:pt x="12999" y="267664"/>
                      </a:cubicBezTo>
                      <a:lnTo>
                        <a:pt x="34019" y="192036"/>
                      </a:lnTo>
                      <a:lnTo>
                        <a:pt x="380114" y="192036"/>
                      </a:lnTo>
                      <a:lnTo>
                        <a:pt x="362984" y="162835"/>
                      </a:lnTo>
                      <a:cubicBezTo>
                        <a:pt x="267625" y="55830"/>
                        <a:pt x="392730" y="-4238"/>
                        <a:pt x="506445" y="233"/>
                      </a:cubicBezTo>
                      <a:close/>
                    </a:path>
                  </a:pathLst>
                </a:custGeom>
                <a:solidFill>
                  <a:srgbClr val="00338D"/>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119" name="Group 118"/>
                <p:cNvGrpSpPr/>
                <p:nvPr/>
              </p:nvGrpSpPr>
              <p:grpSpPr>
                <a:xfrm>
                  <a:off x="4309669" y="5826020"/>
                  <a:ext cx="524663" cy="408183"/>
                  <a:chOff x="-973718" y="-352830"/>
                  <a:chExt cx="9966913" cy="7754156"/>
                </a:xfrm>
                <a:solidFill>
                  <a:schemeClr val="bg1"/>
                </a:solidFill>
              </p:grpSpPr>
              <p:sp>
                <p:nvSpPr>
                  <p:cNvPr id="120" name="Freeform 119"/>
                  <p:cNvSpPr>
                    <a:spLocks/>
                  </p:cNvSpPr>
                  <p:nvPr/>
                </p:nvSpPr>
                <p:spPr bwMode="auto">
                  <a:xfrm>
                    <a:off x="288415" y="1423573"/>
                    <a:ext cx="2468733" cy="2458823"/>
                  </a:xfrm>
                  <a:custGeom>
                    <a:avLst/>
                    <a:gdLst>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376627 w 985025"/>
                      <a:gd name="connsiteY95" fmla="*/ 15573 h 978864"/>
                      <a:gd name="connsiteX96" fmla="*/ 434570 w 985025"/>
                      <a:gd name="connsiteY96" fmla="*/ 104560 h 978864"/>
                      <a:gd name="connsiteX97" fmla="*/ 439027 w 985025"/>
                      <a:gd name="connsiteY97" fmla="*/ 109010 h 978864"/>
                      <a:gd name="connsiteX98" fmla="*/ 481370 w 985025"/>
                      <a:gd name="connsiteY98" fmla="*/ 104560 h 978864"/>
                      <a:gd name="connsiteX99" fmla="*/ 488055 w 985025"/>
                      <a:gd name="connsiteY99" fmla="*/ 100111 h 978864"/>
                      <a:gd name="connsiteX100" fmla="*/ 532627 w 985025"/>
                      <a:gd name="connsiteY100" fmla="*/ 2225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4570 w 985025"/>
                      <a:gd name="connsiteY95" fmla="*/ 104560 h 978864"/>
                      <a:gd name="connsiteX96" fmla="*/ 439027 w 985025"/>
                      <a:gd name="connsiteY96" fmla="*/ 109010 h 978864"/>
                      <a:gd name="connsiteX97" fmla="*/ 481370 w 985025"/>
                      <a:gd name="connsiteY97" fmla="*/ 104560 h 978864"/>
                      <a:gd name="connsiteX98" fmla="*/ 488055 w 985025"/>
                      <a:gd name="connsiteY98" fmla="*/ 100111 h 978864"/>
                      <a:gd name="connsiteX99" fmla="*/ 532627 w 985025"/>
                      <a:gd name="connsiteY99" fmla="*/ 2225 h 978864"/>
                      <a:gd name="connsiteX100" fmla="*/ 537084 w 985025"/>
                      <a:gd name="connsiteY100"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9027 w 985025"/>
                      <a:gd name="connsiteY95" fmla="*/ 109010 h 978864"/>
                      <a:gd name="connsiteX96" fmla="*/ 481370 w 985025"/>
                      <a:gd name="connsiteY96" fmla="*/ 104560 h 978864"/>
                      <a:gd name="connsiteX97" fmla="*/ 488055 w 985025"/>
                      <a:gd name="connsiteY97" fmla="*/ 100111 h 978864"/>
                      <a:gd name="connsiteX98" fmla="*/ 532627 w 985025"/>
                      <a:gd name="connsiteY98" fmla="*/ 2225 h 978864"/>
                      <a:gd name="connsiteX99" fmla="*/ 537084 w 985025"/>
                      <a:gd name="connsiteY99"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369942 w 985025"/>
                      <a:gd name="connsiteY93" fmla="*/ 13348 h 978864"/>
                      <a:gd name="connsiteX94" fmla="*/ 439027 w 985025"/>
                      <a:gd name="connsiteY94" fmla="*/ 109010 h 978864"/>
                      <a:gd name="connsiteX95" fmla="*/ 481370 w 985025"/>
                      <a:gd name="connsiteY95" fmla="*/ 104560 h 978864"/>
                      <a:gd name="connsiteX96" fmla="*/ 488055 w 985025"/>
                      <a:gd name="connsiteY96" fmla="*/ 100111 h 978864"/>
                      <a:gd name="connsiteX97" fmla="*/ 532627 w 985025"/>
                      <a:gd name="connsiteY97" fmla="*/ 2225 h 978864"/>
                      <a:gd name="connsiteX98" fmla="*/ 537084 w 985025"/>
                      <a:gd name="connsiteY98"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488055 w 985025"/>
                      <a:gd name="connsiteY95" fmla="*/ 100111 h 978864"/>
                      <a:gd name="connsiteX96" fmla="*/ 532627 w 985025"/>
                      <a:gd name="connsiteY96" fmla="*/ 2225 h 978864"/>
                      <a:gd name="connsiteX97" fmla="*/ 537084 w 985025"/>
                      <a:gd name="connsiteY97"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532627 w 985025"/>
                      <a:gd name="connsiteY95" fmla="*/ 2225 h 978864"/>
                      <a:gd name="connsiteX96" fmla="*/ 537084 w 985025"/>
                      <a:gd name="connsiteY96" fmla="*/ 0 h 978864"/>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0684 w 985025"/>
                      <a:gd name="connsiteY7" fmla="*/ 20022 h 976639"/>
                      <a:gd name="connsiteX8" fmla="*/ 637369 w 985025"/>
                      <a:gd name="connsiteY8" fmla="*/ 124582 h 976639"/>
                      <a:gd name="connsiteX9" fmla="*/ 641826 w 985025"/>
                      <a:gd name="connsiteY9" fmla="*/ 131256 h 976639"/>
                      <a:gd name="connsiteX10" fmla="*/ 677483 w 985025"/>
                      <a:gd name="connsiteY10" fmla="*/ 151279 h 976639"/>
                      <a:gd name="connsiteX11" fmla="*/ 686398 w 985025"/>
                      <a:gd name="connsiteY11" fmla="*/ 146829 h 976639"/>
                      <a:gd name="connsiteX12" fmla="*/ 773312 w 985025"/>
                      <a:gd name="connsiteY12" fmla="*/ 86763 h 976639"/>
                      <a:gd name="connsiteX13" fmla="*/ 779997 w 985025"/>
                      <a:gd name="connsiteY13" fmla="*/ 86763 h 976639"/>
                      <a:gd name="connsiteX14" fmla="*/ 846854 w 985025"/>
                      <a:gd name="connsiteY14" fmla="*/ 144605 h 976639"/>
                      <a:gd name="connsiteX15" fmla="*/ 846854 w 985025"/>
                      <a:gd name="connsiteY15" fmla="*/ 151279 h 976639"/>
                      <a:gd name="connsiteX16" fmla="*/ 800054 w 985025"/>
                      <a:gd name="connsiteY16" fmla="*/ 246940 h 976639"/>
                      <a:gd name="connsiteX17" fmla="*/ 800054 w 985025"/>
                      <a:gd name="connsiteY17" fmla="*/ 253614 h 976639"/>
                      <a:gd name="connsiteX18" fmla="*/ 822340 w 985025"/>
                      <a:gd name="connsiteY18" fmla="*/ 286985 h 976639"/>
                      <a:gd name="connsiteX19" fmla="*/ 829026 w 985025"/>
                      <a:gd name="connsiteY19" fmla="*/ 289209 h 976639"/>
                      <a:gd name="connsiteX20" fmla="*/ 938225 w 985025"/>
                      <a:gd name="connsiteY20" fmla="*/ 278086 h 976639"/>
                      <a:gd name="connsiteX21" fmla="*/ 940454 w 985025"/>
                      <a:gd name="connsiteY21" fmla="*/ 284760 h 976639"/>
                      <a:gd name="connsiteX22" fmla="*/ 971654 w 985025"/>
                      <a:gd name="connsiteY22" fmla="*/ 367074 h 976639"/>
                      <a:gd name="connsiteX23" fmla="*/ 967197 w 985025"/>
                      <a:gd name="connsiteY23" fmla="*/ 373748 h 976639"/>
                      <a:gd name="connsiteX24" fmla="*/ 878054 w 985025"/>
                      <a:gd name="connsiteY24" fmla="*/ 431590 h 976639"/>
                      <a:gd name="connsiteX25" fmla="*/ 875825 w 985025"/>
                      <a:gd name="connsiteY25" fmla="*/ 436039 h 976639"/>
                      <a:gd name="connsiteX26" fmla="*/ 878054 w 985025"/>
                      <a:gd name="connsiteY26" fmla="*/ 478308 h 976639"/>
                      <a:gd name="connsiteX27" fmla="*/ 884740 w 985025"/>
                      <a:gd name="connsiteY27" fmla="*/ 484982 h 976639"/>
                      <a:gd name="connsiteX28" fmla="*/ 982797 w 985025"/>
                      <a:gd name="connsiteY28" fmla="*/ 529476 h 976639"/>
                      <a:gd name="connsiteX29" fmla="*/ 985025 w 985025"/>
                      <a:gd name="connsiteY29" fmla="*/ 533926 h 976639"/>
                      <a:gd name="connsiteX30" fmla="*/ 967197 w 985025"/>
                      <a:gd name="connsiteY30" fmla="*/ 620689 h 976639"/>
                      <a:gd name="connsiteX31" fmla="*/ 962739 w 985025"/>
                      <a:gd name="connsiteY31" fmla="*/ 625138 h 976639"/>
                      <a:gd name="connsiteX32" fmla="*/ 855768 w 985025"/>
                      <a:gd name="connsiteY32" fmla="*/ 631812 h 976639"/>
                      <a:gd name="connsiteX33" fmla="*/ 851311 w 985025"/>
                      <a:gd name="connsiteY33" fmla="*/ 634037 h 976639"/>
                      <a:gd name="connsiteX34" fmla="*/ 831254 w 985025"/>
                      <a:gd name="connsiteY34" fmla="*/ 674081 h 976639"/>
                      <a:gd name="connsiteX35" fmla="*/ 831254 w 985025"/>
                      <a:gd name="connsiteY35" fmla="*/ 678531 h 976639"/>
                      <a:gd name="connsiteX36" fmla="*/ 895883 w 985025"/>
                      <a:gd name="connsiteY36" fmla="*/ 767518 h 976639"/>
                      <a:gd name="connsiteX37" fmla="*/ 895883 w 985025"/>
                      <a:gd name="connsiteY37" fmla="*/ 774192 h 976639"/>
                      <a:gd name="connsiteX38" fmla="*/ 835711 w 985025"/>
                      <a:gd name="connsiteY38" fmla="*/ 840933 h 976639"/>
                      <a:gd name="connsiteX39" fmla="*/ 831254 w 985025"/>
                      <a:gd name="connsiteY39" fmla="*/ 840933 h 976639"/>
                      <a:gd name="connsiteX40" fmla="*/ 733197 w 985025"/>
                      <a:gd name="connsiteY40" fmla="*/ 791990 h 976639"/>
                      <a:gd name="connsiteX41" fmla="*/ 728740 w 985025"/>
                      <a:gd name="connsiteY41" fmla="*/ 791990 h 976639"/>
                      <a:gd name="connsiteX42" fmla="*/ 695312 w 985025"/>
                      <a:gd name="connsiteY42" fmla="*/ 814237 h 976639"/>
                      <a:gd name="connsiteX43" fmla="*/ 690855 w 985025"/>
                      <a:gd name="connsiteY43" fmla="*/ 823135 h 976639"/>
                      <a:gd name="connsiteX44" fmla="*/ 701998 w 985025"/>
                      <a:gd name="connsiteY44" fmla="*/ 929921 h 976639"/>
                      <a:gd name="connsiteX45" fmla="*/ 697540 w 985025"/>
                      <a:gd name="connsiteY45" fmla="*/ 934370 h 976639"/>
                      <a:gd name="connsiteX46" fmla="*/ 612855 w 985025"/>
                      <a:gd name="connsiteY46" fmla="*/ 963291 h 976639"/>
                      <a:gd name="connsiteX47" fmla="*/ 608398 w 985025"/>
                      <a:gd name="connsiteY47" fmla="*/ 963291 h 976639"/>
                      <a:gd name="connsiteX48" fmla="*/ 548227 w 985025"/>
                      <a:gd name="connsiteY48" fmla="*/ 874303 h 976639"/>
                      <a:gd name="connsiteX49" fmla="*/ 543770 w 985025"/>
                      <a:gd name="connsiteY49" fmla="*/ 869854 h 976639"/>
                      <a:gd name="connsiteX50" fmla="*/ 501427 w 985025"/>
                      <a:gd name="connsiteY50" fmla="*/ 874303 h 976639"/>
                      <a:gd name="connsiteX51" fmla="*/ 494741 w 985025"/>
                      <a:gd name="connsiteY51" fmla="*/ 876528 h 976639"/>
                      <a:gd name="connsiteX52" fmla="*/ 450170 w 985025"/>
                      <a:gd name="connsiteY52" fmla="*/ 974414 h 976639"/>
                      <a:gd name="connsiteX53" fmla="*/ 445713 w 985025"/>
                      <a:gd name="connsiteY53" fmla="*/ 976639 h 976639"/>
                      <a:gd name="connsiteX54" fmla="*/ 356570 w 985025"/>
                      <a:gd name="connsiteY54" fmla="*/ 958842 h 976639"/>
                      <a:gd name="connsiteX55" fmla="*/ 352113 w 985025"/>
                      <a:gd name="connsiteY55" fmla="*/ 956617 h 976639"/>
                      <a:gd name="connsiteX56" fmla="*/ 347656 w 985025"/>
                      <a:gd name="connsiteY56" fmla="*/ 847607 h 976639"/>
                      <a:gd name="connsiteX57" fmla="*/ 340970 w 985025"/>
                      <a:gd name="connsiteY57" fmla="*/ 843158 h 976639"/>
                      <a:gd name="connsiteX58" fmla="*/ 305313 w 985025"/>
                      <a:gd name="connsiteY58" fmla="*/ 825360 h 976639"/>
                      <a:gd name="connsiteX59" fmla="*/ 296399 w 985025"/>
                      <a:gd name="connsiteY59" fmla="*/ 825360 h 976639"/>
                      <a:gd name="connsiteX60" fmla="*/ 211713 w 985025"/>
                      <a:gd name="connsiteY60" fmla="*/ 887652 h 976639"/>
                      <a:gd name="connsiteX61" fmla="*/ 205028 w 985025"/>
                      <a:gd name="connsiteY61" fmla="*/ 887652 h 976639"/>
                      <a:gd name="connsiteX62" fmla="*/ 138171 w 985025"/>
                      <a:gd name="connsiteY62" fmla="*/ 829810 h 976639"/>
                      <a:gd name="connsiteX63" fmla="*/ 135942 w 985025"/>
                      <a:gd name="connsiteY63" fmla="*/ 823135 h 976639"/>
                      <a:gd name="connsiteX64" fmla="*/ 182742 w 985025"/>
                      <a:gd name="connsiteY64" fmla="*/ 725249 h 976639"/>
                      <a:gd name="connsiteX65" fmla="*/ 182742 w 985025"/>
                      <a:gd name="connsiteY65" fmla="*/ 720800 h 976639"/>
                      <a:gd name="connsiteX66" fmla="*/ 160457 w 985025"/>
                      <a:gd name="connsiteY66" fmla="*/ 687429 h 976639"/>
                      <a:gd name="connsiteX67" fmla="*/ 153771 w 985025"/>
                      <a:gd name="connsiteY67" fmla="*/ 685205 h 976639"/>
                      <a:gd name="connsiteX68" fmla="*/ 49028 w 985025"/>
                      <a:gd name="connsiteY68" fmla="*/ 696328 h 976639"/>
                      <a:gd name="connsiteX69" fmla="*/ 42343 w 985025"/>
                      <a:gd name="connsiteY69" fmla="*/ 691879 h 976639"/>
                      <a:gd name="connsiteX70" fmla="*/ 11143 w 985025"/>
                      <a:gd name="connsiteY70" fmla="*/ 609565 h 976639"/>
                      <a:gd name="connsiteX71" fmla="*/ 15600 w 985025"/>
                      <a:gd name="connsiteY71" fmla="*/ 602891 h 976639"/>
                      <a:gd name="connsiteX72" fmla="*/ 104742 w 985025"/>
                      <a:gd name="connsiteY72" fmla="*/ 542824 h 976639"/>
                      <a:gd name="connsiteX73" fmla="*/ 106971 w 985025"/>
                      <a:gd name="connsiteY73" fmla="*/ 536150 h 976639"/>
                      <a:gd name="connsiteX74" fmla="*/ 104742 w 985025"/>
                      <a:gd name="connsiteY74" fmla="*/ 496106 h 976639"/>
                      <a:gd name="connsiteX75" fmla="*/ 102514 w 985025"/>
                      <a:gd name="connsiteY75" fmla="*/ 489432 h 976639"/>
                      <a:gd name="connsiteX76" fmla="*/ 4457 w 985025"/>
                      <a:gd name="connsiteY76" fmla="*/ 444938 h 976639"/>
                      <a:gd name="connsiteX77" fmla="*/ 0 w 985025"/>
                      <a:gd name="connsiteY77" fmla="*/ 440489 h 976639"/>
                      <a:gd name="connsiteX78" fmla="*/ 15600 w 985025"/>
                      <a:gd name="connsiteY78" fmla="*/ 353726 h 976639"/>
                      <a:gd name="connsiteX79" fmla="*/ 20057 w 985025"/>
                      <a:gd name="connsiteY79" fmla="*/ 351501 h 976639"/>
                      <a:gd name="connsiteX80" fmla="*/ 129257 w 985025"/>
                      <a:gd name="connsiteY80" fmla="*/ 342602 h 976639"/>
                      <a:gd name="connsiteX81" fmla="*/ 135942 w 985025"/>
                      <a:gd name="connsiteY81" fmla="*/ 340377 h 976639"/>
                      <a:gd name="connsiteX82" fmla="*/ 151542 w 985025"/>
                      <a:gd name="connsiteY82" fmla="*/ 302558 h 976639"/>
                      <a:gd name="connsiteX83" fmla="*/ 151542 w 985025"/>
                      <a:gd name="connsiteY83" fmla="*/ 295884 h 976639"/>
                      <a:gd name="connsiteX84" fmla="*/ 91371 w 985025"/>
                      <a:gd name="connsiteY84" fmla="*/ 209121 h 976639"/>
                      <a:gd name="connsiteX85" fmla="*/ 91371 w 985025"/>
                      <a:gd name="connsiteY85" fmla="*/ 200222 h 976639"/>
                      <a:gd name="connsiteX86" fmla="*/ 147085 w 985025"/>
                      <a:gd name="connsiteY86" fmla="*/ 133481 h 976639"/>
                      <a:gd name="connsiteX87" fmla="*/ 153771 w 985025"/>
                      <a:gd name="connsiteY87" fmla="*/ 133481 h 976639"/>
                      <a:gd name="connsiteX88" fmla="*/ 249599 w 985025"/>
                      <a:gd name="connsiteY88" fmla="*/ 180200 h 976639"/>
                      <a:gd name="connsiteX89" fmla="*/ 256285 w 985025"/>
                      <a:gd name="connsiteY89" fmla="*/ 180200 h 976639"/>
                      <a:gd name="connsiteX90" fmla="*/ 289713 w 985025"/>
                      <a:gd name="connsiteY90" fmla="*/ 157953 h 976639"/>
                      <a:gd name="connsiteX91" fmla="*/ 283027 w 985025"/>
                      <a:gd name="connsiteY91" fmla="*/ 44493 h 976639"/>
                      <a:gd name="connsiteX92" fmla="*/ 369942 w 985025"/>
                      <a:gd name="connsiteY92" fmla="*/ 11123 h 976639"/>
                      <a:gd name="connsiteX93" fmla="*/ 439027 w 985025"/>
                      <a:gd name="connsiteY93" fmla="*/ 106785 h 976639"/>
                      <a:gd name="connsiteX94" fmla="*/ 481370 w 985025"/>
                      <a:gd name="connsiteY94" fmla="*/ 102335 h 976639"/>
                      <a:gd name="connsiteX95" fmla="*/ 532627 w 985025"/>
                      <a:gd name="connsiteY9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7369 w 985025"/>
                      <a:gd name="connsiteY7" fmla="*/ 124582 h 976639"/>
                      <a:gd name="connsiteX8" fmla="*/ 641826 w 985025"/>
                      <a:gd name="connsiteY8" fmla="*/ 131256 h 976639"/>
                      <a:gd name="connsiteX9" fmla="*/ 677483 w 985025"/>
                      <a:gd name="connsiteY9" fmla="*/ 151279 h 976639"/>
                      <a:gd name="connsiteX10" fmla="*/ 686398 w 985025"/>
                      <a:gd name="connsiteY10" fmla="*/ 146829 h 976639"/>
                      <a:gd name="connsiteX11" fmla="*/ 773312 w 985025"/>
                      <a:gd name="connsiteY11" fmla="*/ 86763 h 976639"/>
                      <a:gd name="connsiteX12" fmla="*/ 779997 w 985025"/>
                      <a:gd name="connsiteY12" fmla="*/ 86763 h 976639"/>
                      <a:gd name="connsiteX13" fmla="*/ 846854 w 985025"/>
                      <a:gd name="connsiteY13" fmla="*/ 144605 h 976639"/>
                      <a:gd name="connsiteX14" fmla="*/ 846854 w 985025"/>
                      <a:gd name="connsiteY14" fmla="*/ 151279 h 976639"/>
                      <a:gd name="connsiteX15" fmla="*/ 800054 w 985025"/>
                      <a:gd name="connsiteY15" fmla="*/ 246940 h 976639"/>
                      <a:gd name="connsiteX16" fmla="*/ 800054 w 985025"/>
                      <a:gd name="connsiteY16" fmla="*/ 253614 h 976639"/>
                      <a:gd name="connsiteX17" fmla="*/ 822340 w 985025"/>
                      <a:gd name="connsiteY17" fmla="*/ 286985 h 976639"/>
                      <a:gd name="connsiteX18" fmla="*/ 829026 w 985025"/>
                      <a:gd name="connsiteY18" fmla="*/ 289209 h 976639"/>
                      <a:gd name="connsiteX19" fmla="*/ 938225 w 985025"/>
                      <a:gd name="connsiteY19" fmla="*/ 278086 h 976639"/>
                      <a:gd name="connsiteX20" fmla="*/ 940454 w 985025"/>
                      <a:gd name="connsiteY20" fmla="*/ 284760 h 976639"/>
                      <a:gd name="connsiteX21" fmla="*/ 971654 w 985025"/>
                      <a:gd name="connsiteY21" fmla="*/ 367074 h 976639"/>
                      <a:gd name="connsiteX22" fmla="*/ 967197 w 985025"/>
                      <a:gd name="connsiteY22" fmla="*/ 373748 h 976639"/>
                      <a:gd name="connsiteX23" fmla="*/ 878054 w 985025"/>
                      <a:gd name="connsiteY23" fmla="*/ 431590 h 976639"/>
                      <a:gd name="connsiteX24" fmla="*/ 875825 w 985025"/>
                      <a:gd name="connsiteY24" fmla="*/ 436039 h 976639"/>
                      <a:gd name="connsiteX25" fmla="*/ 878054 w 985025"/>
                      <a:gd name="connsiteY25" fmla="*/ 478308 h 976639"/>
                      <a:gd name="connsiteX26" fmla="*/ 884740 w 985025"/>
                      <a:gd name="connsiteY26" fmla="*/ 484982 h 976639"/>
                      <a:gd name="connsiteX27" fmla="*/ 982797 w 985025"/>
                      <a:gd name="connsiteY27" fmla="*/ 529476 h 976639"/>
                      <a:gd name="connsiteX28" fmla="*/ 985025 w 985025"/>
                      <a:gd name="connsiteY28" fmla="*/ 533926 h 976639"/>
                      <a:gd name="connsiteX29" fmla="*/ 967197 w 985025"/>
                      <a:gd name="connsiteY29" fmla="*/ 620689 h 976639"/>
                      <a:gd name="connsiteX30" fmla="*/ 962739 w 985025"/>
                      <a:gd name="connsiteY30" fmla="*/ 625138 h 976639"/>
                      <a:gd name="connsiteX31" fmla="*/ 855768 w 985025"/>
                      <a:gd name="connsiteY31" fmla="*/ 631812 h 976639"/>
                      <a:gd name="connsiteX32" fmla="*/ 851311 w 985025"/>
                      <a:gd name="connsiteY32" fmla="*/ 634037 h 976639"/>
                      <a:gd name="connsiteX33" fmla="*/ 831254 w 985025"/>
                      <a:gd name="connsiteY33" fmla="*/ 674081 h 976639"/>
                      <a:gd name="connsiteX34" fmla="*/ 831254 w 985025"/>
                      <a:gd name="connsiteY34" fmla="*/ 678531 h 976639"/>
                      <a:gd name="connsiteX35" fmla="*/ 895883 w 985025"/>
                      <a:gd name="connsiteY35" fmla="*/ 767518 h 976639"/>
                      <a:gd name="connsiteX36" fmla="*/ 895883 w 985025"/>
                      <a:gd name="connsiteY36" fmla="*/ 774192 h 976639"/>
                      <a:gd name="connsiteX37" fmla="*/ 835711 w 985025"/>
                      <a:gd name="connsiteY37" fmla="*/ 840933 h 976639"/>
                      <a:gd name="connsiteX38" fmla="*/ 831254 w 985025"/>
                      <a:gd name="connsiteY38" fmla="*/ 840933 h 976639"/>
                      <a:gd name="connsiteX39" fmla="*/ 733197 w 985025"/>
                      <a:gd name="connsiteY39" fmla="*/ 791990 h 976639"/>
                      <a:gd name="connsiteX40" fmla="*/ 728740 w 985025"/>
                      <a:gd name="connsiteY40" fmla="*/ 791990 h 976639"/>
                      <a:gd name="connsiteX41" fmla="*/ 695312 w 985025"/>
                      <a:gd name="connsiteY41" fmla="*/ 814237 h 976639"/>
                      <a:gd name="connsiteX42" fmla="*/ 690855 w 985025"/>
                      <a:gd name="connsiteY42" fmla="*/ 823135 h 976639"/>
                      <a:gd name="connsiteX43" fmla="*/ 701998 w 985025"/>
                      <a:gd name="connsiteY43" fmla="*/ 929921 h 976639"/>
                      <a:gd name="connsiteX44" fmla="*/ 697540 w 985025"/>
                      <a:gd name="connsiteY44" fmla="*/ 934370 h 976639"/>
                      <a:gd name="connsiteX45" fmla="*/ 612855 w 985025"/>
                      <a:gd name="connsiteY45" fmla="*/ 963291 h 976639"/>
                      <a:gd name="connsiteX46" fmla="*/ 608398 w 985025"/>
                      <a:gd name="connsiteY46" fmla="*/ 963291 h 976639"/>
                      <a:gd name="connsiteX47" fmla="*/ 548227 w 985025"/>
                      <a:gd name="connsiteY47" fmla="*/ 874303 h 976639"/>
                      <a:gd name="connsiteX48" fmla="*/ 543770 w 985025"/>
                      <a:gd name="connsiteY48" fmla="*/ 869854 h 976639"/>
                      <a:gd name="connsiteX49" fmla="*/ 501427 w 985025"/>
                      <a:gd name="connsiteY49" fmla="*/ 874303 h 976639"/>
                      <a:gd name="connsiteX50" fmla="*/ 494741 w 985025"/>
                      <a:gd name="connsiteY50" fmla="*/ 876528 h 976639"/>
                      <a:gd name="connsiteX51" fmla="*/ 450170 w 985025"/>
                      <a:gd name="connsiteY51" fmla="*/ 974414 h 976639"/>
                      <a:gd name="connsiteX52" fmla="*/ 445713 w 985025"/>
                      <a:gd name="connsiteY52" fmla="*/ 976639 h 976639"/>
                      <a:gd name="connsiteX53" fmla="*/ 356570 w 985025"/>
                      <a:gd name="connsiteY53" fmla="*/ 958842 h 976639"/>
                      <a:gd name="connsiteX54" fmla="*/ 352113 w 985025"/>
                      <a:gd name="connsiteY54" fmla="*/ 956617 h 976639"/>
                      <a:gd name="connsiteX55" fmla="*/ 347656 w 985025"/>
                      <a:gd name="connsiteY55" fmla="*/ 847607 h 976639"/>
                      <a:gd name="connsiteX56" fmla="*/ 340970 w 985025"/>
                      <a:gd name="connsiteY56" fmla="*/ 843158 h 976639"/>
                      <a:gd name="connsiteX57" fmla="*/ 305313 w 985025"/>
                      <a:gd name="connsiteY57" fmla="*/ 825360 h 976639"/>
                      <a:gd name="connsiteX58" fmla="*/ 296399 w 985025"/>
                      <a:gd name="connsiteY58" fmla="*/ 825360 h 976639"/>
                      <a:gd name="connsiteX59" fmla="*/ 211713 w 985025"/>
                      <a:gd name="connsiteY59" fmla="*/ 887652 h 976639"/>
                      <a:gd name="connsiteX60" fmla="*/ 205028 w 985025"/>
                      <a:gd name="connsiteY60" fmla="*/ 887652 h 976639"/>
                      <a:gd name="connsiteX61" fmla="*/ 138171 w 985025"/>
                      <a:gd name="connsiteY61" fmla="*/ 829810 h 976639"/>
                      <a:gd name="connsiteX62" fmla="*/ 135942 w 985025"/>
                      <a:gd name="connsiteY62" fmla="*/ 823135 h 976639"/>
                      <a:gd name="connsiteX63" fmla="*/ 182742 w 985025"/>
                      <a:gd name="connsiteY63" fmla="*/ 725249 h 976639"/>
                      <a:gd name="connsiteX64" fmla="*/ 182742 w 985025"/>
                      <a:gd name="connsiteY64" fmla="*/ 720800 h 976639"/>
                      <a:gd name="connsiteX65" fmla="*/ 160457 w 985025"/>
                      <a:gd name="connsiteY65" fmla="*/ 687429 h 976639"/>
                      <a:gd name="connsiteX66" fmla="*/ 153771 w 985025"/>
                      <a:gd name="connsiteY66" fmla="*/ 685205 h 976639"/>
                      <a:gd name="connsiteX67" fmla="*/ 49028 w 985025"/>
                      <a:gd name="connsiteY67" fmla="*/ 696328 h 976639"/>
                      <a:gd name="connsiteX68" fmla="*/ 42343 w 985025"/>
                      <a:gd name="connsiteY68" fmla="*/ 691879 h 976639"/>
                      <a:gd name="connsiteX69" fmla="*/ 11143 w 985025"/>
                      <a:gd name="connsiteY69" fmla="*/ 609565 h 976639"/>
                      <a:gd name="connsiteX70" fmla="*/ 15600 w 985025"/>
                      <a:gd name="connsiteY70" fmla="*/ 602891 h 976639"/>
                      <a:gd name="connsiteX71" fmla="*/ 104742 w 985025"/>
                      <a:gd name="connsiteY71" fmla="*/ 542824 h 976639"/>
                      <a:gd name="connsiteX72" fmla="*/ 106971 w 985025"/>
                      <a:gd name="connsiteY72" fmla="*/ 536150 h 976639"/>
                      <a:gd name="connsiteX73" fmla="*/ 104742 w 985025"/>
                      <a:gd name="connsiteY73" fmla="*/ 496106 h 976639"/>
                      <a:gd name="connsiteX74" fmla="*/ 102514 w 985025"/>
                      <a:gd name="connsiteY74" fmla="*/ 489432 h 976639"/>
                      <a:gd name="connsiteX75" fmla="*/ 4457 w 985025"/>
                      <a:gd name="connsiteY75" fmla="*/ 444938 h 976639"/>
                      <a:gd name="connsiteX76" fmla="*/ 0 w 985025"/>
                      <a:gd name="connsiteY76" fmla="*/ 440489 h 976639"/>
                      <a:gd name="connsiteX77" fmla="*/ 15600 w 985025"/>
                      <a:gd name="connsiteY77" fmla="*/ 353726 h 976639"/>
                      <a:gd name="connsiteX78" fmla="*/ 20057 w 985025"/>
                      <a:gd name="connsiteY78" fmla="*/ 351501 h 976639"/>
                      <a:gd name="connsiteX79" fmla="*/ 129257 w 985025"/>
                      <a:gd name="connsiteY79" fmla="*/ 342602 h 976639"/>
                      <a:gd name="connsiteX80" fmla="*/ 135942 w 985025"/>
                      <a:gd name="connsiteY80" fmla="*/ 340377 h 976639"/>
                      <a:gd name="connsiteX81" fmla="*/ 151542 w 985025"/>
                      <a:gd name="connsiteY81" fmla="*/ 302558 h 976639"/>
                      <a:gd name="connsiteX82" fmla="*/ 151542 w 985025"/>
                      <a:gd name="connsiteY82" fmla="*/ 295884 h 976639"/>
                      <a:gd name="connsiteX83" fmla="*/ 91371 w 985025"/>
                      <a:gd name="connsiteY83" fmla="*/ 209121 h 976639"/>
                      <a:gd name="connsiteX84" fmla="*/ 91371 w 985025"/>
                      <a:gd name="connsiteY84" fmla="*/ 200222 h 976639"/>
                      <a:gd name="connsiteX85" fmla="*/ 147085 w 985025"/>
                      <a:gd name="connsiteY85" fmla="*/ 133481 h 976639"/>
                      <a:gd name="connsiteX86" fmla="*/ 153771 w 985025"/>
                      <a:gd name="connsiteY86" fmla="*/ 133481 h 976639"/>
                      <a:gd name="connsiteX87" fmla="*/ 249599 w 985025"/>
                      <a:gd name="connsiteY87" fmla="*/ 180200 h 976639"/>
                      <a:gd name="connsiteX88" fmla="*/ 256285 w 985025"/>
                      <a:gd name="connsiteY88" fmla="*/ 180200 h 976639"/>
                      <a:gd name="connsiteX89" fmla="*/ 289713 w 985025"/>
                      <a:gd name="connsiteY89" fmla="*/ 157953 h 976639"/>
                      <a:gd name="connsiteX90" fmla="*/ 283027 w 985025"/>
                      <a:gd name="connsiteY90" fmla="*/ 44493 h 976639"/>
                      <a:gd name="connsiteX91" fmla="*/ 369942 w 985025"/>
                      <a:gd name="connsiteY91" fmla="*/ 11123 h 976639"/>
                      <a:gd name="connsiteX92" fmla="*/ 439027 w 985025"/>
                      <a:gd name="connsiteY92" fmla="*/ 106785 h 976639"/>
                      <a:gd name="connsiteX93" fmla="*/ 481370 w 985025"/>
                      <a:gd name="connsiteY93" fmla="*/ 102335 h 976639"/>
                      <a:gd name="connsiteX94" fmla="*/ 532627 w 985025"/>
                      <a:gd name="connsiteY94"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686398 w 985025"/>
                      <a:gd name="connsiteY9" fmla="*/ 146829 h 976639"/>
                      <a:gd name="connsiteX10" fmla="*/ 773312 w 985025"/>
                      <a:gd name="connsiteY10" fmla="*/ 86763 h 976639"/>
                      <a:gd name="connsiteX11" fmla="*/ 779997 w 985025"/>
                      <a:gd name="connsiteY11" fmla="*/ 86763 h 976639"/>
                      <a:gd name="connsiteX12" fmla="*/ 846854 w 985025"/>
                      <a:gd name="connsiteY12" fmla="*/ 144605 h 976639"/>
                      <a:gd name="connsiteX13" fmla="*/ 846854 w 985025"/>
                      <a:gd name="connsiteY13" fmla="*/ 151279 h 976639"/>
                      <a:gd name="connsiteX14" fmla="*/ 800054 w 985025"/>
                      <a:gd name="connsiteY14" fmla="*/ 246940 h 976639"/>
                      <a:gd name="connsiteX15" fmla="*/ 800054 w 985025"/>
                      <a:gd name="connsiteY15" fmla="*/ 253614 h 976639"/>
                      <a:gd name="connsiteX16" fmla="*/ 822340 w 985025"/>
                      <a:gd name="connsiteY16" fmla="*/ 286985 h 976639"/>
                      <a:gd name="connsiteX17" fmla="*/ 829026 w 985025"/>
                      <a:gd name="connsiteY17" fmla="*/ 289209 h 976639"/>
                      <a:gd name="connsiteX18" fmla="*/ 938225 w 985025"/>
                      <a:gd name="connsiteY18" fmla="*/ 278086 h 976639"/>
                      <a:gd name="connsiteX19" fmla="*/ 940454 w 985025"/>
                      <a:gd name="connsiteY19" fmla="*/ 284760 h 976639"/>
                      <a:gd name="connsiteX20" fmla="*/ 971654 w 985025"/>
                      <a:gd name="connsiteY20" fmla="*/ 367074 h 976639"/>
                      <a:gd name="connsiteX21" fmla="*/ 967197 w 985025"/>
                      <a:gd name="connsiteY21" fmla="*/ 373748 h 976639"/>
                      <a:gd name="connsiteX22" fmla="*/ 878054 w 985025"/>
                      <a:gd name="connsiteY22" fmla="*/ 431590 h 976639"/>
                      <a:gd name="connsiteX23" fmla="*/ 875825 w 985025"/>
                      <a:gd name="connsiteY23" fmla="*/ 436039 h 976639"/>
                      <a:gd name="connsiteX24" fmla="*/ 878054 w 985025"/>
                      <a:gd name="connsiteY24" fmla="*/ 478308 h 976639"/>
                      <a:gd name="connsiteX25" fmla="*/ 884740 w 985025"/>
                      <a:gd name="connsiteY25" fmla="*/ 484982 h 976639"/>
                      <a:gd name="connsiteX26" fmla="*/ 982797 w 985025"/>
                      <a:gd name="connsiteY26" fmla="*/ 529476 h 976639"/>
                      <a:gd name="connsiteX27" fmla="*/ 985025 w 985025"/>
                      <a:gd name="connsiteY27" fmla="*/ 533926 h 976639"/>
                      <a:gd name="connsiteX28" fmla="*/ 967197 w 985025"/>
                      <a:gd name="connsiteY28" fmla="*/ 620689 h 976639"/>
                      <a:gd name="connsiteX29" fmla="*/ 962739 w 985025"/>
                      <a:gd name="connsiteY29" fmla="*/ 625138 h 976639"/>
                      <a:gd name="connsiteX30" fmla="*/ 855768 w 985025"/>
                      <a:gd name="connsiteY30" fmla="*/ 631812 h 976639"/>
                      <a:gd name="connsiteX31" fmla="*/ 851311 w 985025"/>
                      <a:gd name="connsiteY31" fmla="*/ 634037 h 976639"/>
                      <a:gd name="connsiteX32" fmla="*/ 831254 w 985025"/>
                      <a:gd name="connsiteY32" fmla="*/ 674081 h 976639"/>
                      <a:gd name="connsiteX33" fmla="*/ 831254 w 985025"/>
                      <a:gd name="connsiteY33" fmla="*/ 678531 h 976639"/>
                      <a:gd name="connsiteX34" fmla="*/ 895883 w 985025"/>
                      <a:gd name="connsiteY34" fmla="*/ 767518 h 976639"/>
                      <a:gd name="connsiteX35" fmla="*/ 895883 w 985025"/>
                      <a:gd name="connsiteY35" fmla="*/ 774192 h 976639"/>
                      <a:gd name="connsiteX36" fmla="*/ 835711 w 985025"/>
                      <a:gd name="connsiteY36" fmla="*/ 840933 h 976639"/>
                      <a:gd name="connsiteX37" fmla="*/ 831254 w 985025"/>
                      <a:gd name="connsiteY37" fmla="*/ 840933 h 976639"/>
                      <a:gd name="connsiteX38" fmla="*/ 733197 w 985025"/>
                      <a:gd name="connsiteY38" fmla="*/ 791990 h 976639"/>
                      <a:gd name="connsiteX39" fmla="*/ 728740 w 985025"/>
                      <a:gd name="connsiteY39" fmla="*/ 791990 h 976639"/>
                      <a:gd name="connsiteX40" fmla="*/ 695312 w 985025"/>
                      <a:gd name="connsiteY40" fmla="*/ 814237 h 976639"/>
                      <a:gd name="connsiteX41" fmla="*/ 690855 w 985025"/>
                      <a:gd name="connsiteY41" fmla="*/ 823135 h 976639"/>
                      <a:gd name="connsiteX42" fmla="*/ 701998 w 985025"/>
                      <a:gd name="connsiteY42" fmla="*/ 929921 h 976639"/>
                      <a:gd name="connsiteX43" fmla="*/ 697540 w 985025"/>
                      <a:gd name="connsiteY43" fmla="*/ 934370 h 976639"/>
                      <a:gd name="connsiteX44" fmla="*/ 612855 w 985025"/>
                      <a:gd name="connsiteY44" fmla="*/ 963291 h 976639"/>
                      <a:gd name="connsiteX45" fmla="*/ 608398 w 985025"/>
                      <a:gd name="connsiteY45" fmla="*/ 963291 h 976639"/>
                      <a:gd name="connsiteX46" fmla="*/ 548227 w 985025"/>
                      <a:gd name="connsiteY46" fmla="*/ 874303 h 976639"/>
                      <a:gd name="connsiteX47" fmla="*/ 543770 w 985025"/>
                      <a:gd name="connsiteY47" fmla="*/ 869854 h 976639"/>
                      <a:gd name="connsiteX48" fmla="*/ 501427 w 985025"/>
                      <a:gd name="connsiteY48" fmla="*/ 874303 h 976639"/>
                      <a:gd name="connsiteX49" fmla="*/ 494741 w 985025"/>
                      <a:gd name="connsiteY49" fmla="*/ 876528 h 976639"/>
                      <a:gd name="connsiteX50" fmla="*/ 450170 w 985025"/>
                      <a:gd name="connsiteY50" fmla="*/ 974414 h 976639"/>
                      <a:gd name="connsiteX51" fmla="*/ 445713 w 985025"/>
                      <a:gd name="connsiteY51" fmla="*/ 976639 h 976639"/>
                      <a:gd name="connsiteX52" fmla="*/ 356570 w 985025"/>
                      <a:gd name="connsiteY52" fmla="*/ 958842 h 976639"/>
                      <a:gd name="connsiteX53" fmla="*/ 352113 w 985025"/>
                      <a:gd name="connsiteY53" fmla="*/ 956617 h 976639"/>
                      <a:gd name="connsiteX54" fmla="*/ 347656 w 985025"/>
                      <a:gd name="connsiteY54" fmla="*/ 847607 h 976639"/>
                      <a:gd name="connsiteX55" fmla="*/ 340970 w 985025"/>
                      <a:gd name="connsiteY55" fmla="*/ 843158 h 976639"/>
                      <a:gd name="connsiteX56" fmla="*/ 305313 w 985025"/>
                      <a:gd name="connsiteY56" fmla="*/ 825360 h 976639"/>
                      <a:gd name="connsiteX57" fmla="*/ 296399 w 985025"/>
                      <a:gd name="connsiteY57" fmla="*/ 825360 h 976639"/>
                      <a:gd name="connsiteX58" fmla="*/ 211713 w 985025"/>
                      <a:gd name="connsiteY58" fmla="*/ 887652 h 976639"/>
                      <a:gd name="connsiteX59" fmla="*/ 205028 w 985025"/>
                      <a:gd name="connsiteY59" fmla="*/ 887652 h 976639"/>
                      <a:gd name="connsiteX60" fmla="*/ 138171 w 985025"/>
                      <a:gd name="connsiteY60" fmla="*/ 829810 h 976639"/>
                      <a:gd name="connsiteX61" fmla="*/ 135942 w 985025"/>
                      <a:gd name="connsiteY61" fmla="*/ 823135 h 976639"/>
                      <a:gd name="connsiteX62" fmla="*/ 182742 w 985025"/>
                      <a:gd name="connsiteY62" fmla="*/ 725249 h 976639"/>
                      <a:gd name="connsiteX63" fmla="*/ 182742 w 985025"/>
                      <a:gd name="connsiteY63" fmla="*/ 720800 h 976639"/>
                      <a:gd name="connsiteX64" fmla="*/ 160457 w 985025"/>
                      <a:gd name="connsiteY64" fmla="*/ 687429 h 976639"/>
                      <a:gd name="connsiteX65" fmla="*/ 153771 w 985025"/>
                      <a:gd name="connsiteY65" fmla="*/ 685205 h 976639"/>
                      <a:gd name="connsiteX66" fmla="*/ 49028 w 985025"/>
                      <a:gd name="connsiteY66" fmla="*/ 696328 h 976639"/>
                      <a:gd name="connsiteX67" fmla="*/ 42343 w 985025"/>
                      <a:gd name="connsiteY67" fmla="*/ 691879 h 976639"/>
                      <a:gd name="connsiteX68" fmla="*/ 11143 w 985025"/>
                      <a:gd name="connsiteY68" fmla="*/ 609565 h 976639"/>
                      <a:gd name="connsiteX69" fmla="*/ 15600 w 985025"/>
                      <a:gd name="connsiteY69" fmla="*/ 602891 h 976639"/>
                      <a:gd name="connsiteX70" fmla="*/ 104742 w 985025"/>
                      <a:gd name="connsiteY70" fmla="*/ 542824 h 976639"/>
                      <a:gd name="connsiteX71" fmla="*/ 106971 w 985025"/>
                      <a:gd name="connsiteY71" fmla="*/ 536150 h 976639"/>
                      <a:gd name="connsiteX72" fmla="*/ 104742 w 985025"/>
                      <a:gd name="connsiteY72" fmla="*/ 496106 h 976639"/>
                      <a:gd name="connsiteX73" fmla="*/ 102514 w 985025"/>
                      <a:gd name="connsiteY73" fmla="*/ 489432 h 976639"/>
                      <a:gd name="connsiteX74" fmla="*/ 4457 w 985025"/>
                      <a:gd name="connsiteY74" fmla="*/ 444938 h 976639"/>
                      <a:gd name="connsiteX75" fmla="*/ 0 w 985025"/>
                      <a:gd name="connsiteY75" fmla="*/ 440489 h 976639"/>
                      <a:gd name="connsiteX76" fmla="*/ 15600 w 985025"/>
                      <a:gd name="connsiteY76" fmla="*/ 353726 h 976639"/>
                      <a:gd name="connsiteX77" fmla="*/ 20057 w 985025"/>
                      <a:gd name="connsiteY77" fmla="*/ 351501 h 976639"/>
                      <a:gd name="connsiteX78" fmla="*/ 129257 w 985025"/>
                      <a:gd name="connsiteY78" fmla="*/ 342602 h 976639"/>
                      <a:gd name="connsiteX79" fmla="*/ 135942 w 985025"/>
                      <a:gd name="connsiteY79" fmla="*/ 340377 h 976639"/>
                      <a:gd name="connsiteX80" fmla="*/ 151542 w 985025"/>
                      <a:gd name="connsiteY80" fmla="*/ 302558 h 976639"/>
                      <a:gd name="connsiteX81" fmla="*/ 151542 w 985025"/>
                      <a:gd name="connsiteY81" fmla="*/ 295884 h 976639"/>
                      <a:gd name="connsiteX82" fmla="*/ 91371 w 985025"/>
                      <a:gd name="connsiteY82" fmla="*/ 209121 h 976639"/>
                      <a:gd name="connsiteX83" fmla="*/ 91371 w 985025"/>
                      <a:gd name="connsiteY83" fmla="*/ 200222 h 976639"/>
                      <a:gd name="connsiteX84" fmla="*/ 147085 w 985025"/>
                      <a:gd name="connsiteY84" fmla="*/ 133481 h 976639"/>
                      <a:gd name="connsiteX85" fmla="*/ 153771 w 985025"/>
                      <a:gd name="connsiteY85" fmla="*/ 133481 h 976639"/>
                      <a:gd name="connsiteX86" fmla="*/ 249599 w 985025"/>
                      <a:gd name="connsiteY86" fmla="*/ 180200 h 976639"/>
                      <a:gd name="connsiteX87" fmla="*/ 256285 w 985025"/>
                      <a:gd name="connsiteY87" fmla="*/ 180200 h 976639"/>
                      <a:gd name="connsiteX88" fmla="*/ 289713 w 985025"/>
                      <a:gd name="connsiteY88" fmla="*/ 157953 h 976639"/>
                      <a:gd name="connsiteX89" fmla="*/ 283027 w 985025"/>
                      <a:gd name="connsiteY89" fmla="*/ 44493 h 976639"/>
                      <a:gd name="connsiteX90" fmla="*/ 369942 w 985025"/>
                      <a:gd name="connsiteY90" fmla="*/ 11123 h 976639"/>
                      <a:gd name="connsiteX91" fmla="*/ 439027 w 985025"/>
                      <a:gd name="connsiteY91" fmla="*/ 106785 h 976639"/>
                      <a:gd name="connsiteX92" fmla="*/ 481370 w 985025"/>
                      <a:gd name="connsiteY92" fmla="*/ 102335 h 976639"/>
                      <a:gd name="connsiteX93" fmla="*/ 532627 w 985025"/>
                      <a:gd name="connsiteY93"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3312 w 985025"/>
                      <a:gd name="connsiteY9" fmla="*/ 86763 h 976639"/>
                      <a:gd name="connsiteX10" fmla="*/ 779997 w 985025"/>
                      <a:gd name="connsiteY10" fmla="*/ 86763 h 976639"/>
                      <a:gd name="connsiteX11" fmla="*/ 846854 w 985025"/>
                      <a:gd name="connsiteY11" fmla="*/ 144605 h 976639"/>
                      <a:gd name="connsiteX12" fmla="*/ 846854 w 985025"/>
                      <a:gd name="connsiteY12" fmla="*/ 151279 h 976639"/>
                      <a:gd name="connsiteX13" fmla="*/ 800054 w 985025"/>
                      <a:gd name="connsiteY13" fmla="*/ 246940 h 976639"/>
                      <a:gd name="connsiteX14" fmla="*/ 800054 w 985025"/>
                      <a:gd name="connsiteY14" fmla="*/ 253614 h 976639"/>
                      <a:gd name="connsiteX15" fmla="*/ 822340 w 985025"/>
                      <a:gd name="connsiteY15" fmla="*/ 286985 h 976639"/>
                      <a:gd name="connsiteX16" fmla="*/ 829026 w 985025"/>
                      <a:gd name="connsiteY16" fmla="*/ 289209 h 976639"/>
                      <a:gd name="connsiteX17" fmla="*/ 938225 w 985025"/>
                      <a:gd name="connsiteY17" fmla="*/ 278086 h 976639"/>
                      <a:gd name="connsiteX18" fmla="*/ 940454 w 985025"/>
                      <a:gd name="connsiteY18" fmla="*/ 284760 h 976639"/>
                      <a:gd name="connsiteX19" fmla="*/ 971654 w 985025"/>
                      <a:gd name="connsiteY19" fmla="*/ 367074 h 976639"/>
                      <a:gd name="connsiteX20" fmla="*/ 967197 w 985025"/>
                      <a:gd name="connsiteY20" fmla="*/ 373748 h 976639"/>
                      <a:gd name="connsiteX21" fmla="*/ 878054 w 985025"/>
                      <a:gd name="connsiteY21" fmla="*/ 431590 h 976639"/>
                      <a:gd name="connsiteX22" fmla="*/ 875825 w 985025"/>
                      <a:gd name="connsiteY22" fmla="*/ 436039 h 976639"/>
                      <a:gd name="connsiteX23" fmla="*/ 878054 w 985025"/>
                      <a:gd name="connsiteY23" fmla="*/ 478308 h 976639"/>
                      <a:gd name="connsiteX24" fmla="*/ 884740 w 985025"/>
                      <a:gd name="connsiteY24" fmla="*/ 484982 h 976639"/>
                      <a:gd name="connsiteX25" fmla="*/ 982797 w 985025"/>
                      <a:gd name="connsiteY25" fmla="*/ 529476 h 976639"/>
                      <a:gd name="connsiteX26" fmla="*/ 985025 w 985025"/>
                      <a:gd name="connsiteY26" fmla="*/ 533926 h 976639"/>
                      <a:gd name="connsiteX27" fmla="*/ 967197 w 985025"/>
                      <a:gd name="connsiteY27" fmla="*/ 620689 h 976639"/>
                      <a:gd name="connsiteX28" fmla="*/ 962739 w 985025"/>
                      <a:gd name="connsiteY28" fmla="*/ 625138 h 976639"/>
                      <a:gd name="connsiteX29" fmla="*/ 855768 w 985025"/>
                      <a:gd name="connsiteY29" fmla="*/ 631812 h 976639"/>
                      <a:gd name="connsiteX30" fmla="*/ 851311 w 985025"/>
                      <a:gd name="connsiteY30" fmla="*/ 634037 h 976639"/>
                      <a:gd name="connsiteX31" fmla="*/ 831254 w 985025"/>
                      <a:gd name="connsiteY31" fmla="*/ 674081 h 976639"/>
                      <a:gd name="connsiteX32" fmla="*/ 831254 w 985025"/>
                      <a:gd name="connsiteY32" fmla="*/ 678531 h 976639"/>
                      <a:gd name="connsiteX33" fmla="*/ 895883 w 985025"/>
                      <a:gd name="connsiteY33" fmla="*/ 767518 h 976639"/>
                      <a:gd name="connsiteX34" fmla="*/ 895883 w 985025"/>
                      <a:gd name="connsiteY34" fmla="*/ 774192 h 976639"/>
                      <a:gd name="connsiteX35" fmla="*/ 835711 w 985025"/>
                      <a:gd name="connsiteY35" fmla="*/ 840933 h 976639"/>
                      <a:gd name="connsiteX36" fmla="*/ 831254 w 985025"/>
                      <a:gd name="connsiteY36" fmla="*/ 840933 h 976639"/>
                      <a:gd name="connsiteX37" fmla="*/ 733197 w 985025"/>
                      <a:gd name="connsiteY37" fmla="*/ 791990 h 976639"/>
                      <a:gd name="connsiteX38" fmla="*/ 728740 w 985025"/>
                      <a:gd name="connsiteY38" fmla="*/ 791990 h 976639"/>
                      <a:gd name="connsiteX39" fmla="*/ 695312 w 985025"/>
                      <a:gd name="connsiteY39" fmla="*/ 814237 h 976639"/>
                      <a:gd name="connsiteX40" fmla="*/ 690855 w 985025"/>
                      <a:gd name="connsiteY40" fmla="*/ 823135 h 976639"/>
                      <a:gd name="connsiteX41" fmla="*/ 701998 w 985025"/>
                      <a:gd name="connsiteY41" fmla="*/ 929921 h 976639"/>
                      <a:gd name="connsiteX42" fmla="*/ 697540 w 985025"/>
                      <a:gd name="connsiteY42" fmla="*/ 934370 h 976639"/>
                      <a:gd name="connsiteX43" fmla="*/ 612855 w 985025"/>
                      <a:gd name="connsiteY43" fmla="*/ 963291 h 976639"/>
                      <a:gd name="connsiteX44" fmla="*/ 608398 w 985025"/>
                      <a:gd name="connsiteY44" fmla="*/ 963291 h 976639"/>
                      <a:gd name="connsiteX45" fmla="*/ 548227 w 985025"/>
                      <a:gd name="connsiteY45" fmla="*/ 874303 h 976639"/>
                      <a:gd name="connsiteX46" fmla="*/ 543770 w 985025"/>
                      <a:gd name="connsiteY46" fmla="*/ 869854 h 976639"/>
                      <a:gd name="connsiteX47" fmla="*/ 501427 w 985025"/>
                      <a:gd name="connsiteY47" fmla="*/ 874303 h 976639"/>
                      <a:gd name="connsiteX48" fmla="*/ 494741 w 985025"/>
                      <a:gd name="connsiteY48" fmla="*/ 876528 h 976639"/>
                      <a:gd name="connsiteX49" fmla="*/ 450170 w 985025"/>
                      <a:gd name="connsiteY49" fmla="*/ 974414 h 976639"/>
                      <a:gd name="connsiteX50" fmla="*/ 445713 w 985025"/>
                      <a:gd name="connsiteY50" fmla="*/ 976639 h 976639"/>
                      <a:gd name="connsiteX51" fmla="*/ 356570 w 985025"/>
                      <a:gd name="connsiteY51" fmla="*/ 958842 h 976639"/>
                      <a:gd name="connsiteX52" fmla="*/ 352113 w 985025"/>
                      <a:gd name="connsiteY52" fmla="*/ 956617 h 976639"/>
                      <a:gd name="connsiteX53" fmla="*/ 347656 w 985025"/>
                      <a:gd name="connsiteY53" fmla="*/ 847607 h 976639"/>
                      <a:gd name="connsiteX54" fmla="*/ 340970 w 985025"/>
                      <a:gd name="connsiteY54" fmla="*/ 843158 h 976639"/>
                      <a:gd name="connsiteX55" fmla="*/ 305313 w 985025"/>
                      <a:gd name="connsiteY55" fmla="*/ 825360 h 976639"/>
                      <a:gd name="connsiteX56" fmla="*/ 296399 w 985025"/>
                      <a:gd name="connsiteY56" fmla="*/ 825360 h 976639"/>
                      <a:gd name="connsiteX57" fmla="*/ 211713 w 985025"/>
                      <a:gd name="connsiteY57" fmla="*/ 887652 h 976639"/>
                      <a:gd name="connsiteX58" fmla="*/ 205028 w 985025"/>
                      <a:gd name="connsiteY58" fmla="*/ 887652 h 976639"/>
                      <a:gd name="connsiteX59" fmla="*/ 138171 w 985025"/>
                      <a:gd name="connsiteY59" fmla="*/ 829810 h 976639"/>
                      <a:gd name="connsiteX60" fmla="*/ 135942 w 985025"/>
                      <a:gd name="connsiteY60" fmla="*/ 823135 h 976639"/>
                      <a:gd name="connsiteX61" fmla="*/ 182742 w 985025"/>
                      <a:gd name="connsiteY61" fmla="*/ 725249 h 976639"/>
                      <a:gd name="connsiteX62" fmla="*/ 182742 w 985025"/>
                      <a:gd name="connsiteY62" fmla="*/ 720800 h 976639"/>
                      <a:gd name="connsiteX63" fmla="*/ 160457 w 985025"/>
                      <a:gd name="connsiteY63" fmla="*/ 687429 h 976639"/>
                      <a:gd name="connsiteX64" fmla="*/ 153771 w 985025"/>
                      <a:gd name="connsiteY64" fmla="*/ 685205 h 976639"/>
                      <a:gd name="connsiteX65" fmla="*/ 49028 w 985025"/>
                      <a:gd name="connsiteY65" fmla="*/ 696328 h 976639"/>
                      <a:gd name="connsiteX66" fmla="*/ 42343 w 985025"/>
                      <a:gd name="connsiteY66" fmla="*/ 691879 h 976639"/>
                      <a:gd name="connsiteX67" fmla="*/ 11143 w 985025"/>
                      <a:gd name="connsiteY67" fmla="*/ 609565 h 976639"/>
                      <a:gd name="connsiteX68" fmla="*/ 15600 w 985025"/>
                      <a:gd name="connsiteY68" fmla="*/ 602891 h 976639"/>
                      <a:gd name="connsiteX69" fmla="*/ 104742 w 985025"/>
                      <a:gd name="connsiteY69" fmla="*/ 542824 h 976639"/>
                      <a:gd name="connsiteX70" fmla="*/ 106971 w 985025"/>
                      <a:gd name="connsiteY70" fmla="*/ 536150 h 976639"/>
                      <a:gd name="connsiteX71" fmla="*/ 104742 w 985025"/>
                      <a:gd name="connsiteY71" fmla="*/ 496106 h 976639"/>
                      <a:gd name="connsiteX72" fmla="*/ 102514 w 985025"/>
                      <a:gd name="connsiteY72" fmla="*/ 489432 h 976639"/>
                      <a:gd name="connsiteX73" fmla="*/ 4457 w 985025"/>
                      <a:gd name="connsiteY73" fmla="*/ 444938 h 976639"/>
                      <a:gd name="connsiteX74" fmla="*/ 0 w 985025"/>
                      <a:gd name="connsiteY74" fmla="*/ 440489 h 976639"/>
                      <a:gd name="connsiteX75" fmla="*/ 15600 w 985025"/>
                      <a:gd name="connsiteY75" fmla="*/ 353726 h 976639"/>
                      <a:gd name="connsiteX76" fmla="*/ 20057 w 985025"/>
                      <a:gd name="connsiteY76" fmla="*/ 351501 h 976639"/>
                      <a:gd name="connsiteX77" fmla="*/ 129257 w 985025"/>
                      <a:gd name="connsiteY77" fmla="*/ 342602 h 976639"/>
                      <a:gd name="connsiteX78" fmla="*/ 135942 w 985025"/>
                      <a:gd name="connsiteY78" fmla="*/ 340377 h 976639"/>
                      <a:gd name="connsiteX79" fmla="*/ 151542 w 985025"/>
                      <a:gd name="connsiteY79" fmla="*/ 302558 h 976639"/>
                      <a:gd name="connsiteX80" fmla="*/ 151542 w 985025"/>
                      <a:gd name="connsiteY80" fmla="*/ 295884 h 976639"/>
                      <a:gd name="connsiteX81" fmla="*/ 91371 w 985025"/>
                      <a:gd name="connsiteY81" fmla="*/ 209121 h 976639"/>
                      <a:gd name="connsiteX82" fmla="*/ 91371 w 985025"/>
                      <a:gd name="connsiteY82" fmla="*/ 200222 h 976639"/>
                      <a:gd name="connsiteX83" fmla="*/ 147085 w 985025"/>
                      <a:gd name="connsiteY83" fmla="*/ 133481 h 976639"/>
                      <a:gd name="connsiteX84" fmla="*/ 153771 w 985025"/>
                      <a:gd name="connsiteY84" fmla="*/ 133481 h 976639"/>
                      <a:gd name="connsiteX85" fmla="*/ 249599 w 985025"/>
                      <a:gd name="connsiteY85" fmla="*/ 180200 h 976639"/>
                      <a:gd name="connsiteX86" fmla="*/ 256285 w 985025"/>
                      <a:gd name="connsiteY86" fmla="*/ 180200 h 976639"/>
                      <a:gd name="connsiteX87" fmla="*/ 289713 w 985025"/>
                      <a:gd name="connsiteY87" fmla="*/ 157953 h 976639"/>
                      <a:gd name="connsiteX88" fmla="*/ 283027 w 985025"/>
                      <a:gd name="connsiteY88" fmla="*/ 44493 h 976639"/>
                      <a:gd name="connsiteX89" fmla="*/ 369942 w 985025"/>
                      <a:gd name="connsiteY89" fmla="*/ 11123 h 976639"/>
                      <a:gd name="connsiteX90" fmla="*/ 439027 w 985025"/>
                      <a:gd name="connsiteY90" fmla="*/ 106785 h 976639"/>
                      <a:gd name="connsiteX91" fmla="*/ 481370 w 985025"/>
                      <a:gd name="connsiteY91" fmla="*/ 102335 h 976639"/>
                      <a:gd name="connsiteX92" fmla="*/ 532627 w 985025"/>
                      <a:gd name="connsiteY92"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46854 w 985025"/>
                      <a:gd name="connsiteY11" fmla="*/ 151279 h 976639"/>
                      <a:gd name="connsiteX12" fmla="*/ 800054 w 985025"/>
                      <a:gd name="connsiteY12" fmla="*/ 246940 h 976639"/>
                      <a:gd name="connsiteX13" fmla="*/ 800054 w 985025"/>
                      <a:gd name="connsiteY13" fmla="*/ 253614 h 976639"/>
                      <a:gd name="connsiteX14" fmla="*/ 822340 w 985025"/>
                      <a:gd name="connsiteY14" fmla="*/ 286985 h 976639"/>
                      <a:gd name="connsiteX15" fmla="*/ 829026 w 985025"/>
                      <a:gd name="connsiteY15" fmla="*/ 289209 h 976639"/>
                      <a:gd name="connsiteX16" fmla="*/ 938225 w 985025"/>
                      <a:gd name="connsiteY16" fmla="*/ 278086 h 976639"/>
                      <a:gd name="connsiteX17" fmla="*/ 940454 w 985025"/>
                      <a:gd name="connsiteY17" fmla="*/ 284760 h 976639"/>
                      <a:gd name="connsiteX18" fmla="*/ 971654 w 985025"/>
                      <a:gd name="connsiteY18" fmla="*/ 367074 h 976639"/>
                      <a:gd name="connsiteX19" fmla="*/ 967197 w 985025"/>
                      <a:gd name="connsiteY19" fmla="*/ 373748 h 976639"/>
                      <a:gd name="connsiteX20" fmla="*/ 878054 w 985025"/>
                      <a:gd name="connsiteY20" fmla="*/ 431590 h 976639"/>
                      <a:gd name="connsiteX21" fmla="*/ 875825 w 985025"/>
                      <a:gd name="connsiteY21" fmla="*/ 436039 h 976639"/>
                      <a:gd name="connsiteX22" fmla="*/ 878054 w 985025"/>
                      <a:gd name="connsiteY22" fmla="*/ 478308 h 976639"/>
                      <a:gd name="connsiteX23" fmla="*/ 884740 w 985025"/>
                      <a:gd name="connsiteY23" fmla="*/ 484982 h 976639"/>
                      <a:gd name="connsiteX24" fmla="*/ 982797 w 985025"/>
                      <a:gd name="connsiteY24" fmla="*/ 529476 h 976639"/>
                      <a:gd name="connsiteX25" fmla="*/ 985025 w 985025"/>
                      <a:gd name="connsiteY25" fmla="*/ 533926 h 976639"/>
                      <a:gd name="connsiteX26" fmla="*/ 967197 w 985025"/>
                      <a:gd name="connsiteY26" fmla="*/ 620689 h 976639"/>
                      <a:gd name="connsiteX27" fmla="*/ 962739 w 985025"/>
                      <a:gd name="connsiteY27" fmla="*/ 625138 h 976639"/>
                      <a:gd name="connsiteX28" fmla="*/ 855768 w 985025"/>
                      <a:gd name="connsiteY28" fmla="*/ 631812 h 976639"/>
                      <a:gd name="connsiteX29" fmla="*/ 851311 w 985025"/>
                      <a:gd name="connsiteY29" fmla="*/ 634037 h 976639"/>
                      <a:gd name="connsiteX30" fmla="*/ 831254 w 985025"/>
                      <a:gd name="connsiteY30" fmla="*/ 674081 h 976639"/>
                      <a:gd name="connsiteX31" fmla="*/ 831254 w 985025"/>
                      <a:gd name="connsiteY31" fmla="*/ 678531 h 976639"/>
                      <a:gd name="connsiteX32" fmla="*/ 895883 w 985025"/>
                      <a:gd name="connsiteY32" fmla="*/ 767518 h 976639"/>
                      <a:gd name="connsiteX33" fmla="*/ 895883 w 985025"/>
                      <a:gd name="connsiteY33" fmla="*/ 774192 h 976639"/>
                      <a:gd name="connsiteX34" fmla="*/ 835711 w 985025"/>
                      <a:gd name="connsiteY34" fmla="*/ 840933 h 976639"/>
                      <a:gd name="connsiteX35" fmla="*/ 831254 w 985025"/>
                      <a:gd name="connsiteY35" fmla="*/ 840933 h 976639"/>
                      <a:gd name="connsiteX36" fmla="*/ 733197 w 985025"/>
                      <a:gd name="connsiteY36" fmla="*/ 791990 h 976639"/>
                      <a:gd name="connsiteX37" fmla="*/ 728740 w 985025"/>
                      <a:gd name="connsiteY37" fmla="*/ 791990 h 976639"/>
                      <a:gd name="connsiteX38" fmla="*/ 695312 w 985025"/>
                      <a:gd name="connsiteY38" fmla="*/ 814237 h 976639"/>
                      <a:gd name="connsiteX39" fmla="*/ 690855 w 985025"/>
                      <a:gd name="connsiteY39" fmla="*/ 823135 h 976639"/>
                      <a:gd name="connsiteX40" fmla="*/ 701998 w 985025"/>
                      <a:gd name="connsiteY40" fmla="*/ 929921 h 976639"/>
                      <a:gd name="connsiteX41" fmla="*/ 697540 w 985025"/>
                      <a:gd name="connsiteY41" fmla="*/ 934370 h 976639"/>
                      <a:gd name="connsiteX42" fmla="*/ 612855 w 985025"/>
                      <a:gd name="connsiteY42" fmla="*/ 963291 h 976639"/>
                      <a:gd name="connsiteX43" fmla="*/ 608398 w 985025"/>
                      <a:gd name="connsiteY43" fmla="*/ 963291 h 976639"/>
                      <a:gd name="connsiteX44" fmla="*/ 548227 w 985025"/>
                      <a:gd name="connsiteY44" fmla="*/ 874303 h 976639"/>
                      <a:gd name="connsiteX45" fmla="*/ 543770 w 985025"/>
                      <a:gd name="connsiteY45" fmla="*/ 869854 h 976639"/>
                      <a:gd name="connsiteX46" fmla="*/ 501427 w 985025"/>
                      <a:gd name="connsiteY46" fmla="*/ 874303 h 976639"/>
                      <a:gd name="connsiteX47" fmla="*/ 494741 w 985025"/>
                      <a:gd name="connsiteY47" fmla="*/ 876528 h 976639"/>
                      <a:gd name="connsiteX48" fmla="*/ 450170 w 985025"/>
                      <a:gd name="connsiteY48" fmla="*/ 974414 h 976639"/>
                      <a:gd name="connsiteX49" fmla="*/ 445713 w 985025"/>
                      <a:gd name="connsiteY49" fmla="*/ 976639 h 976639"/>
                      <a:gd name="connsiteX50" fmla="*/ 356570 w 985025"/>
                      <a:gd name="connsiteY50" fmla="*/ 958842 h 976639"/>
                      <a:gd name="connsiteX51" fmla="*/ 352113 w 985025"/>
                      <a:gd name="connsiteY51" fmla="*/ 956617 h 976639"/>
                      <a:gd name="connsiteX52" fmla="*/ 347656 w 985025"/>
                      <a:gd name="connsiteY52" fmla="*/ 847607 h 976639"/>
                      <a:gd name="connsiteX53" fmla="*/ 340970 w 985025"/>
                      <a:gd name="connsiteY53" fmla="*/ 843158 h 976639"/>
                      <a:gd name="connsiteX54" fmla="*/ 305313 w 985025"/>
                      <a:gd name="connsiteY54" fmla="*/ 825360 h 976639"/>
                      <a:gd name="connsiteX55" fmla="*/ 296399 w 985025"/>
                      <a:gd name="connsiteY55" fmla="*/ 825360 h 976639"/>
                      <a:gd name="connsiteX56" fmla="*/ 211713 w 985025"/>
                      <a:gd name="connsiteY56" fmla="*/ 887652 h 976639"/>
                      <a:gd name="connsiteX57" fmla="*/ 205028 w 985025"/>
                      <a:gd name="connsiteY57" fmla="*/ 887652 h 976639"/>
                      <a:gd name="connsiteX58" fmla="*/ 138171 w 985025"/>
                      <a:gd name="connsiteY58" fmla="*/ 829810 h 976639"/>
                      <a:gd name="connsiteX59" fmla="*/ 135942 w 985025"/>
                      <a:gd name="connsiteY59" fmla="*/ 823135 h 976639"/>
                      <a:gd name="connsiteX60" fmla="*/ 182742 w 985025"/>
                      <a:gd name="connsiteY60" fmla="*/ 725249 h 976639"/>
                      <a:gd name="connsiteX61" fmla="*/ 182742 w 985025"/>
                      <a:gd name="connsiteY61" fmla="*/ 720800 h 976639"/>
                      <a:gd name="connsiteX62" fmla="*/ 160457 w 985025"/>
                      <a:gd name="connsiteY62" fmla="*/ 687429 h 976639"/>
                      <a:gd name="connsiteX63" fmla="*/ 153771 w 985025"/>
                      <a:gd name="connsiteY63" fmla="*/ 685205 h 976639"/>
                      <a:gd name="connsiteX64" fmla="*/ 49028 w 985025"/>
                      <a:gd name="connsiteY64" fmla="*/ 696328 h 976639"/>
                      <a:gd name="connsiteX65" fmla="*/ 42343 w 985025"/>
                      <a:gd name="connsiteY65" fmla="*/ 691879 h 976639"/>
                      <a:gd name="connsiteX66" fmla="*/ 11143 w 985025"/>
                      <a:gd name="connsiteY66" fmla="*/ 609565 h 976639"/>
                      <a:gd name="connsiteX67" fmla="*/ 15600 w 985025"/>
                      <a:gd name="connsiteY67" fmla="*/ 602891 h 976639"/>
                      <a:gd name="connsiteX68" fmla="*/ 104742 w 985025"/>
                      <a:gd name="connsiteY68" fmla="*/ 542824 h 976639"/>
                      <a:gd name="connsiteX69" fmla="*/ 106971 w 985025"/>
                      <a:gd name="connsiteY69" fmla="*/ 536150 h 976639"/>
                      <a:gd name="connsiteX70" fmla="*/ 104742 w 985025"/>
                      <a:gd name="connsiteY70" fmla="*/ 496106 h 976639"/>
                      <a:gd name="connsiteX71" fmla="*/ 102514 w 985025"/>
                      <a:gd name="connsiteY71" fmla="*/ 489432 h 976639"/>
                      <a:gd name="connsiteX72" fmla="*/ 4457 w 985025"/>
                      <a:gd name="connsiteY72" fmla="*/ 444938 h 976639"/>
                      <a:gd name="connsiteX73" fmla="*/ 0 w 985025"/>
                      <a:gd name="connsiteY73" fmla="*/ 440489 h 976639"/>
                      <a:gd name="connsiteX74" fmla="*/ 15600 w 985025"/>
                      <a:gd name="connsiteY74" fmla="*/ 353726 h 976639"/>
                      <a:gd name="connsiteX75" fmla="*/ 20057 w 985025"/>
                      <a:gd name="connsiteY75" fmla="*/ 351501 h 976639"/>
                      <a:gd name="connsiteX76" fmla="*/ 129257 w 985025"/>
                      <a:gd name="connsiteY76" fmla="*/ 342602 h 976639"/>
                      <a:gd name="connsiteX77" fmla="*/ 135942 w 985025"/>
                      <a:gd name="connsiteY77" fmla="*/ 340377 h 976639"/>
                      <a:gd name="connsiteX78" fmla="*/ 151542 w 985025"/>
                      <a:gd name="connsiteY78" fmla="*/ 302558 h 976639"/>
                      <a:gd name="connsiteX79" fmla="*/ 151542 w 985025"/>
                      <a:gd name="connsiteY79" fmla="*/ 295884 h 976639"/>
                      <a:gd name="connsiteX80" fmla="*/ 91371 w 985025"/>
                      <a:gd name="connsiteY80" fmla="*/ 209121 h 976639"/>
                      <a:gd name="connsiteX81" fmla="*/ 91371 w 985025"/>
                      <a:gd name="connsiteY81" fmla="*/ 200222 h 976639"/>
                      <a:gd name="connsiteX82" fmla="*/ 147085 w 985025"/>
                      <a:gd name="connsiteY82" fmla="*/ 133481 h 976639"/>
                      <a:gd name="connsiteX83" fmla="*/ 153771 w 985025"/>
                      <a:gd name="connsiteY83" fmla="*/ 133481 h 976639"/>
                      <a:gd name="connsiteX84" fmla="*/ 249599 w 985025"/>
                      <a:gd name="connsiteY84" fmla="*/ 180200 h 976639"/>
                      <a:gd name="connsiteX85" fmla="*/ 256285 w 985025"/>
                      <a:gd name="connsiteY85" fmla="*/ 180200 h 976639"/>
                      <a:gd name="connsiteX86" fmla="*/ 289713 w 985025"/>
                      <a:gd name="connsiteY86" fmla="*/ 157953 h 976639"/>
                      <a:gd name="connsiteX87" fmla="*/ 283027 w 985025"/>
                      <a:gd name="connsiteY87" fmla="*/ 44493 h 976639"/>
                      <a:gd name="connsiteX88" fmla="*/ 369942 w 985025"/>
                      <a:gd name="connsiteY88" fmla="*/ 11123 h 976639"/>
                      <a:gd name="connsiteX89" fmla="*/ 439027 w 985025"/>
                      <a:gd name="connsiteY89" fmla="*/ 106785 h 976639"/>
                      <a:gd name="connsiteX90" fmla="*/ 481370 w 985025"/>
                      <a:gd name="connsiteY90" fmla="*/ 102335 h 976639"/>
                      <a:gd name="connsiteX91" fmla="*/ 532627 w 985025"/>
                      <a:gd name="connsiteY91"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46940 h 976639"/>
                      <a:gd name="connsiteX12" fmla="*/ 800054 w 985025"/>
                      <a:gd name="connsiteY12" fmla="*/ 253614 h 976639"/>
                      <a:gd name="connsiteX13" fmla="*/ 822340 w 985025"/>
                      <a:gd name="connsiteY13" fmla="*/ 286985 h 976639"/>
                      <a:gd name="connsiteX14" fmla="*/ 829026 w 985025"/>
                      <a:gd name="connsiteY14" fmla="*/ 289209 h 976639"/>
                      <a:gd name="connsiteX15" fmla="*/ 938225 w 985025"/>
                      <a:gd name="connsiteY15" fmla="*/ 278086 h 976639"/>
                      <a:gd name="connsiteX16" fmla="*/ 940454 w 985025"/>
                      <a:gd name="connsiteY16" fmla="*/ 284760 h 976639"/>
                      <a:gd name="connsiteX17" fmla="*/ 971654 w 985025"/>
                      <a:gd name="connsiteY17" fmla="*/ 367074 h 976639"/>
                      <a:gd name="connsiteX18" fmla="*/ 967197 w 985025"/>
                      <a:gd name="connsiteY18" fmla="*/ 373748 h 976639"/>
                      <a:gd name="connsiteX19" fmla="*/ 878054 w 985025"/>
                      <a:gd name="connsiteY19" fmla="*/ 431590 h 976639"/>
                      <a:gd name="connsiteX20" fmla="*/ 875825 w 985025"/>
                      <a:gd name="connsiteY20" fmla="*/ 436039 h 976639"/>
                      <a:gd name="connsiteX21" fmla="*/ 878054 w 985025"/>
                      <a:gd name="connsiteY21" fmla="*/ 478308 h 976639"/>
                      <a:gd name="connsiteX22" fmla="*/ 884740 w 985025"/>
                      <a:gd name="connsiteY22" fmla="*/ 484982 h 976639"/>
                      <a:gd name="connsiteX23" fmla="*/ 982797 w 985025"/>
                      <a:gd name="connsiteY23" fmla="*/ 529476 h 976639"/>
                      <a:gd name="connsiteX24" fmla="*/ 985025 w 985025"/>
                      <a:gd name="connsiteY24" fmla="*/ 533926 h 976639"/>
                      <a:gd name="connsiteX25" fmla="*/ 967197 w 985025"/>
                      <a:gd name="connsiteY25" fmla="*/ 620689 h 976639"/>
                      <a:gd name="connsiteX26" fmla="*/ 962739 w 985025"/>
                      <a:gd name="connsiteY26" fmla="*/ 625138 h 976639"/>
                      <a:gd name="connsiteX27" fmla="*/ 855768 w 985025"/>
                      <a:gd name="connsiteY27" fmla="*/ 631812 h 976639"/>
                      <a:gd name="connsiteX28" fmla="*/ 851311 w 985025"/>
                      <a:gd name="connsiteY28" fmla="*/ 634037 h 976639"/>
                      <a:gd name="connsiteX29" fmla="*/ 831254 w 985025"/>
                      <a:gd name="connsiteY29" fmla="*/ 674081 h 976639"/>
                      <a:gd name="connsiteX30" fmla="*/ 831254 w 985025"/>
                      <a:gd name="connsiteY30" fmla="*/ 678531 h 976639"/>
                      <a:gd name="connsiteX31" fmla="*/ 895883 w 985025"/>
                      <a:gd name="connsiteY31" fmla="*/ 767518 h 976639"/>
                      <a:gd name="connsiteX32" fmla="*/ 895883 w 985025"/>
                      <a:gd name="connsiteY32" fmla="*/ 774192 h 976639"/>
                      <a:gd name="connsiteX33" fmla="*/ 835711 w 985025"/>
                      <a:gd name="connsiteY33" fmla="*/ 840933 h 976639"/>
                      <a:gd name="connsiteX34" fmla="*/ 831254 w 985025"/>
                      <a:gd name="connsiteY34" fmla="*/ 840933 h 976639"/>
                      <a:gd name="connsiteX35" fmla="*/ 733197 w 985025"/>
                      <a:gd name="connsiteY35" fmla="*/ 791990 h 976639"/>
                      <a:gd name="connsiteX36" fmla="*/ 728740 w 985025"/>
                      <a:gd name="connsiteY36" fmla="*/ 791990 h 976639"/>
                      <a:gd name="connsiteX37" fmla="*/ 695312 w 985025"/>
                      <a:gd name="connsiteY37" fmla="*/ 814237 h 976639"/>
                      <a:gd name="connsiteX38" fmla="*/ 690855 w 985025"/>
                      <a:gd name="connsiteY38" fmla="*/ 823135 h 976639"/>
                      <a:gd name="connsiteX39" fmla="*/ 701998 w 985025"/>
                      <a:gd name="connsiteY39" fmla="*/ 929921 h 976639"/>
                      <a:gd name="connsiteX40" fmla="*/ 697540 w 985025"/>
                      <a:gd name="connsiteY40" fmla="*/ 934370 h 976639"/>
                      <a:gd name="connsiteX41" fmla="*/ 612855 w 985025"/>
                      <a:gd name="connsiteY41" fmla="*/ 963291 h 976639"/>
                      <a:gd name="connsiteX42" fmla="*/ 608398 w 985025"/>
                      <a:gd name="connsiteY42" fmla="*/ 963291 h 976639"/>
                      <a:gd name="connsiteX43" fmla="*/ 548227 w 985025"/>
                      <a:gd name="connsiteY43" fmla="*/ 874303 h 976639"/>
                      <a:gd name="connsiteX44" fmla="*/ 543770 w 985025"/>
                      <a:gd name="connsiteY44" fmla="*/ 869854 h 976639"/>
                      <a:gd name="connsiteX45" fmla="*/ 501427 w 985025"/>
                      <a:gd name="connsiteY45" fmla="*/ 874303 h 976639"/>
                      <a:gd name="connsiteX46" fmla="*/ 494741 w 985025"/>
                      <a:gd name="connsiteY46" fmla="*/ 876528 h 976639"/>
                      <a:gd name="connsiteX47" fmla="*/ 450170 w 985025"/>
                      <a:gd name="connsiteY47" fmla="*/ 974414 h 976639"/>
                      <a:gd name="connsiteX48" fmla="*/ 445713 w 985025"/>
                      <a:gd name="connsiteY48" fmla="*/ 976639 h 976639"/>
                      <a:gd name="connsiteX49" fmla="*/ 356570 w 985025"/>
                      <a:gd name="connsiteY49" fmla="*/ 958842 h 976639"/>
                      <a:gd name="connsiteX50" fmla="*/ 352113 w 985025"/>
                      <a:gd name="connsiteY50" fmla="*/ 956617 h 976639"/>
                      <a:gd name="connsiteX51" fmla="*/ 347656 w 985025"/>
                      <a:gd name="connsiteY51" fmla="*/ 847607 h 976639"/>
                      <a:gd name="connsiteX52" fmla="*/ 340970 w 985025"/>
                      <a:gd name="connsiteY52" fmla="*/ 843158 h 976639"/>
                      <a:gd name="connsiteX53" fmla="*/ 305313 w 985025"/>
                      <a:gd name="connsiteY53" fmla="*/ 825360 h 976639"/>
                      <a:gd name="connsiteX54" fmla="*/ 296399 w 985025"/>
                      <a:gd name="connsiteY54" fmla="*/ 825360 h 976639"/>
                      <a:gd name="connsiteX55" fmla="*/ 211713 w 985025"/>
                      <a:gd name="connsiteY55" fmla="*/ 887652 h 976639"/>
                      <a:gd name="connsiteX56" fmla="*/ 205028 w 985025"/>
                      <a:gd name="connsiteY56" fmla="*/ 887652 h 976639"/>
                      <a:gd name="connsiteX57" fmla="*/ 138171 w 985025"/>
                      <a:gd name="connsiteY57" fmla="*/ 829810 h 976639"/>
                      <a:gd name="connsiteX58" fmla="*/ 135942 w 985025"/>
                      <a:gd name="connsiteY58" fmla="*/ 823135 h 976639"/>
                      <a:gd name="connsiteX59" fmla="*/ 182742 w 985025"/>
                      <a:gd name="connsiteY59" fmla="*/ 725249 h 976639"/>
                      <a:gd name="connsiteX60" fmla="*/ 182742 w 985025"/>
                      <a:gd name="connsiteY60" fmla="*/ 720800 h 976639"/>
                      <a:gd name="connsiteX61" fmla="*/ 160457 w 985025"/>
                      <a:gd name="connsiteY61" fmla="*/ 687429 h 976639"/>
                      <a:gd name="connsiteX62" fmla="*/ 153771 w 985025"/>
                      <a:gd name="connsiteY62" fmla="*/ 685205 h 976639"/>
                      <a:gd name="connsiteX63" fmla="*/ 49028 w 985025"/>
                      <a:gd name="connsiteY63" fmla="*/ 696328 h 976639"/>
                      <a:gd name="connsiteX64" fmla="*/ 42343 w 985025"/>
                      <a:gd name="connsiteY64" fmla="*/ 691879 h 976639"/>
                      <a:gd name="connsiteX65" fmla="*/ 11143 w 985025"/>
                      <a:gd name="connsiteY65" fmla="*/ 609565 h 976639"/>
                      <a:gd name="connsiteX66" fmla="*/ 15600 w 985025"/>
                      <a:gd name="connsiteY66" fmla="*/ 602891 h 976639"/>
                      <a:gd name="connsiteX67" fmla="*/ 104742 w 985025"/>
                      <a:gd name="connsiteY67" fmla="*/ 542824 h 976639"/>
                      <a:gd name="connsiteX68" fmla="*/ 106971 w 985025"/>
                      <a:gd name="connsiteY68" fmla="*/ 536150 h 976639"/>
                      <a:gd name="connsiteX69" fmla="*/ 104742 w 985025"/>
                      <a:gd name="connsiteY69" fmla="*/ 496106 h 976639"/>
                      <a:gd name="connsiteX70" fmla="*/ 102514 w 985025"/>
                      <a:gd name="connsiteY70" fmla="*/ 489432 h 976639"/>
                      <a:gd name="connsiteX71" fmla="*/ 4457 w 985025"/>
                      <a:gd name="connsiteY71" fmla="*/ 444938 h 976639"/>
                      <a:gd name="connsiteX72" fmla="*/ 0 w 985025"/>
                      <a:gd name="connsiteY72" fmla="*/ 440489 h 976639"/>
                      <a:gd name="connsiteX73" fmla="*/ 15600 w 985025"/>
                      <a:gd name="connsiteY73" fmla="*/ 353726 h 976639"/>
                      <a:gd name="connsiteX74" fmla="*/ 20057 w 985025"/>
                      <a:gd name="connsiteY74" fmla="*/ 351501 h 976639"/>
                      <a:gd name="connsiteX75" fmla="*/ 129257 w 985025"/>
                      <a:gd name="connsiteY75" fmla="*/ 342602 h 976639"/>
                      <a:gd name="connsiteX76" fmla="*/ 135942 w 985025"/>
                      <a:gd name="connsiteY76" fmla="*/ 340377 h 976639"/>
                      <a:gd name="connsiteX77" fmla="*/ 151542 w 985025"/>
                      <a:gd name="connsiteY77" fmla="*/ 302558 h 976639"/>
                      <a:gd name="connsiteX78" fmla="*/ 151542 w 985025"/>
                      <a:gd name="connsiteY78" fmla="*/ 295884 h 976639"/>
                      <a:gd name="connsiteX79" fmla="*/ 91371 w 985025"/>
                      <a:gd name="connsiteY79" fmla="*/ 209121 h 976639"/>
                      <a:gd name="connsiteX80" fmla="*/ 91371 w 985025"/>
                      <a:gd name="connsiteY80" fmla="*/ 200222 h 976639"/>
                      <a:gd name="connsiteX81" fmla="*/ 147085 w 985025"/>
                      <a:gd name="connsiteY81" fmla="*/ 133481 h 976639"/>
                      <a:gd name="connsiteX82" fmla="*/ 153771 w 985025"/>
                      <a:gd name="connsiteY82" fmla="*/ 133481 h 976639"/>
                      <a:gd name="connsiteX83" fmla="*/ 249599 w 985025"/>
                      <a:gd name="connsiteY83" fmla="*/ 180200 h 976639"/>
                      <a:gd name="connsiteX84" fmla="*/ 256285 w 985025"/>
                      <a:gd name="connsiteY84" fmla="*/ 180200 h 976639"/>
                      <a:gd name="connsiteX85" fmla="*/ 289713 w 985025"/>
                      <a:gd name="connsiteY85" fmla="*/ 157953 h 976639"/>
                      <a:gd name="connsiteX86" fmla="*/ 283027 w 985025"/>
                      <a:gd name="connsiteY86" fmla="*/ 44493 h 976639"/>
                      <a:gd name="connsiteX87" fmla="*/ 369942 w 985025"/>
                      <a:gd name="connsiteY87" fmla="*/ 11123 h 976639"/>
                      <a:gd name="connsiteX88" fmla="*/ 439027 w 985025"/>
                      <a:gd name="connsiteY88" fmla="*/ 106785 h 976639"/>
                      <a:gd name="connsiteX89" fmla="*/ 481370 w 985025"/>
                      <a:gd name="connsiteY89" fmla="*/ 102335 h 976639"/>
                      <a:gd name="connsiteX90" fmla="*/ 532627 w 985025"/>
                      <a:gd name="connsiteY90"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829026 w 985025"/>
                      <a:gd name="connsiteY13" fmla="*/ 289209 h 976639"/>
                      <a:gd name="connsiteX14" fmla="*/ 938225 w 985025"/>
                      <a:gd name="connsiteY14" fmla="*/ 278086 h 976639"/>
                      <a:gd name="connsiteX15" fmla="*/ 940454 w 985025"/>
                      <a:gd name="connsiteY15" fmla="*/ 284760 h 976639"/>
                      <a:gd name="connsiteX16" fmla="*/ 971654 w 985025"/>
                      <a:gd name="connsiteY16" fmla="*/ 367074 h 976639"/>
                      <a:gd name="connsiteX17" fmla="*/ 967197 w 985025"/>
                      <a:gd name="connsiteY17" fmla="*/ 373748 h 976639"/>
                      <a:gd name="connsiteX18" fmla="*/ 878054 w 985025"/>
                      <a:gd name="connsiteY18" fmla="*/ 431590 h 976639"/>
                      <a:gd name="connsiteX19" fmla="*/ 875825 w 985025"/>
                      <a:gd name="connsiteY19" fmla="*/ 436039 h 976639"/>
                      <a:gd name="connsiteX20" fmla="*/ 878054 w 985025"/>
                      <a:gd name="connsiteY20" fmla="*/ 478308 h 976639"/>
                      <a:gd name="connsiteX21" fmla="*/ 884740 w 985025"/>
                      <a:gd name="connsiteY21" fmla="*/ 484982 h 976639"/>
                      <a:gd name="connsiteX22" fmla="*/ 982797 w 985025"/>
                      <a:gd name="connsiteY22" fmla="*/ 529476 h 976639"/>
                      <a:gd name="connsiteX23" fmla="*/ 985025 w 985025"/>
                      <a:gd name="connsiteY23" fmla="*/ 533926 h 976639"/>
                      <a:gd name="connsiteX24" fmla="*/ 967197 w 985025"/>
                      <a:gd name="connsiteY24" fmla="*/ 620689 h 976639"/>
                      <a:gd name="connsiteX25" fmla="*/ 962739 w 985025"/>
                      <a:gd name="connsiteY25" fmla="*/ 625138 h 976639"/>
                      <a:gd name="connsiteX26" fmla="*/ 855768 w 985025"/>
                      <a:gd name="connsiteY26" fmla="*/ 631812 h 976639"/>
                      <a:gd name="connsiteX27" fmla="*/ 851311 w 985025"/>
                      <a:gd name="connsiteY27" fmla="*/ 634037 h 976639"/>
                      <a:gd name="connsiteX28" fmla="*/ 831254 w 985025"/>
                      <a:gd name="connsiteY28" fmla="*/ 674081 h 976639"/>
                      <a:gd name="connsiteX29" fmla="*/ 831254 w 985025"/>
                      <a:gd name="connsiteY29" fmla="*/ 678531 h 976639"/>
                      <a:gd name="connsiteX30" fmla="*/ 895883 w 985025"/>
                      <a:gd name="connsiteY30" fmla="*/ 767518 h 976639"/>
                      <a:gd name="connsiteX31" fmla="*/ 895883 w 985025"/>
                      <a:gd name="connsiteY31" fmla="*/ 774192 h 976639"/>
                      <a:gd name="connsiteX32" fmla="*/ 835711 w 985025"/>
                      <a:gd name="connsiteY32" fmla="*/ 840933 h 976639"/>
                      <a:gd name="connsiteX33" fmla="*/ 831254 w 985025"/>
                      <a:gd name="connsiteY33" fmla="*/ 840933 h 976639"/>
                      <a:gd name="connsiteX34" fmla="*/ 733197 w 985025"/>
                      <a:gd name="connsiteY34" fmla="*/ 791990 h 976639"/>
                      <a:gd name="connsiteX35" fmla="*/ 728740 w 985025"/>
                      <a:gd name="connsiteY35" fmla="*/ 791990 h 976639"/>
                      <a:gd name="connsiteX36" fmla="*/ 695312 w 985025"/>
                      <a:gd name="connsiteY36" fmla="*/ 814237 h 976639"/>
                      <a:gd name="connsiteX37" fmla="*/ 690855 w 985025"/>
                      <a:gd name="connsiteY37" fmla="*/ 823135 h 976639"/>
                      <a:gd name="connsiteX38" fmla="*/ 701998 w 985025"/>
                      <a:gd name="connsiteY38" fmla="*/ 929921 h 976639"/>
                      <a:gd name="connsiteX39" fmla="*/ 697540 w 985025"/>
                      <a:gd name="connsiteY39" fmla="*/ 934370 h 976639"/>
                      <a:gd name="connsiteX40" fmla="*/ 612855 w 985025"/>
                      <a:gd name="connsiteY40" fmla="*/ 963291 h 976639"/>
                      <a:gd name="connsiteX41" fmla="*/ 608398 w 985025"/>
                      <a:gd name="connsiteY41" fmla="*/ 963291 h 976639"/>
                      <a:gd name="connsiteX42" fmla="*/ 548227 w 985025"/>
                      <a:gd name="connsiteY42" fmla="*/ 874303 h 976639"/>
                      <a:gd name="connsiteX43" fmla="*/ 543770 w 985025"/>
                      <a:gd name="connsiteY43" fmla="*/ 869854 h 976639"/>
                      <a:gd name="connsiteX44" fmla="*/ 501427 w 985025"/>
                      <a:gd name="connsiteY44" fmla="*/ 874303 h 976639"/>
                      <a:gd name="connsiteX45" fmla="*/ 494741 w 985025"/>
                      <a:gd name="connsiteY45" fmla="*/ 876528 h 976639"/>
                      <a:gd name="connsiteX46" fmla="*/ 450170 w 985025"/>
                      <a:gd name="connsiteY46" fmla="*/ 974414 h 976639"/>
                      <a:gd name="connsiteX47" fmla="*/ 445713 w 985025"/>
                      <a:gd name="connsiteY47" fmla="*/ 976639 h 976639"/>
                      <a:gd name="connsiteX48" fmla="*/ 356570 w 985025"/>
                      <a:gd name="connsiteY48" fmla="*/ 958842 h 976639"/>
                      <a:gd name="connsiteX49" fmla="*/ 352113 w 985025"/>
                      <a:gd name="connsiteY49" fmla="*/ 956617 h 976639"/>
                      <a:gd name="connsiteX50" fmla="*/ 347656 w 985025"/>
                      <a:gd name="connsiteY50" fmla="*/ 847607 h 976639"/>
                      <a:gd name="connsiteX51" fmla="*/ 340970 w 985025"/>
                      <a:gd name="connsiteY51" fmla="*/ 843158 h 976639"/>
                      <a:gd name="connsiteX52" fmla="*/ 305313 w 985025"/>
                      <a:gd name="connsiteY52" fmla="*/ 825360 h 976639"/>
                      <a:gd name="connsiteX53" fmla="*/ 296399 w 985025"/>
                      <a:gd name="connsiteY53" fmla="*/ 825360 h 976639"/>
                      <a:gd name="connsiteX54" fmla="*/ 211713 w 985025"/>
                      <a:gd name="connsiteY54" fmla="*/ 887652 h 976639"/>
                      <a:gd name="connsiteX55" fmla="*/ 205028 w 985025"/>
                      <a:gd name="connsiteY55" fmla="*/ 887652 h 976639"/>
                      <a:gd name="connsiteX56" fmla="*/ 138171 w 985025"/>
                      <a:gd name="connsiteY56" fmla="*/ 829810 h 976639"/>
                      <a:gd name="connsiteX57" fmla="*/ 135942 w 985025"/>
                      <a:gd name="connsiteY57" fmla="*/ 823135 h 976639"/>
                      <a:gd name="connsiteX58" fmla="*/ 182742 w 985025"/>
                      <a:gd name="connsiteY58" fmla="*/ 725249 h 976639"/>
                      <a:gd name="connsiteX59" fmla="*/ 182742 w 985025"/>
                      <a:gd name="connsiteY59" fmla="*/ 720800 h 976639"/>
                      <a:gd name="connsiteX60" fmla="*/ 160457 w 985025"/>
                      <a:gd name="connsiteY60" fmla="*/ 687429 h 976639"/>
                      <a:gd name="connsiteX61" fmla="*/ 153771 w 985025"/>
                      <a:gd name="connsiteY61" fmla="*/ 685205 h 976639"/>
                      <a:gd name="connsiteX62" fmla="*/ 49028 w 985025"/>
                      <a:gd name="connsiteY62" fmla="*/ 696328 h 976639"/>
                      <a:gd name="connsiteX63" fmla="*/ 42343 w 985025"/>
                      <a:gd name="connsiteY63" fmla="*/ 691879 h 976639"/>
                      <a:gd name="connsiteX64" fmla="*/ 11143 w 985025"/>
                      <a:gd name="connsiteY64" fmla="*/ 609565 h 976639"/>
                      <a:gd name="connsiteX65" fmla="*/ 15600 w 985025"/>
                      <a:gd name="connsiteY65" fmla="*/ 602891 h 976639"/>
                      <a:gd name="connsiteX66" fmla="*/ 104742 w 985025"/>
                      <a:gd name="connsiteY66" fmla="*/ 542824 h 976639"/>
                      <a:gd name="connsiteX67" fmla="*/ 106971 w 985025"/>
                      <a:gd name="connsiteY67" fmla="*/ 536150 h 976639"/>
                      <a:gd name="connsiteX68" fmla="*/ 104742 w 985025"/>
                      <a:gd name="connsiteY68" fmla="*/ 496106 h 976639"/>
                      <a:gd name="connsiteX69" fmla="*/ 102514 w 985025"/>
                      <a:gd name="connsiteY69" fmla="*/ 489432 h 976639"/>
                      <a:gd name="connsiteX70" fmla="*/ 4457 w 985025"/>
                      <a:gd name="connsiteY70" fmla="*/ 444938 h 976639"/>
                      <a:gd name="connsiteX71" fmla="*/ 0 w 985025"/>
                      <a:gd name="connsiteY71" fmla="*/ 440489 h 976639"/>
                      <a:gd name="connsiteX72" fmla="*/ 15600 w 985025"/>
                      <a:gd name="connsiteY72" fmla="*/ 353726 h 976639"/>
                      <a:gd name="connsiteX73" fmla="*/ 20057 w 985025"/>
                      <a:gd name="connsiteY73" fmla="*/ 351501 h 976639"/>
                      <a:gd name="connsiteX74" fmla="*/ 129257 w 985025"/>
                      <a:gd name="connsiteY74" fmla="*/ 342602 h 976639"/>
                      <a:gd name="connsiteX75" fmla="*/ 135942 w 985025"/>
                      <a:gd name="connsiteY75" fmla="*/ 340377 h 976639"/>
                      <a:gd name="connsiteX76" fmla="*/ 151542 w 985025"/>
                      <a:gd name="connsiteY76" fmla="*/ 302558 h 976639"/>
                      <a:gd name="connsiteX77" fmla="*/ 151542 w 985025"/>
                      <a:gd name="connsiteY77" fmla="*/ 295884 h 976639"/>
                      <a:gd name="connsiteX78" fmla="*/ 91371 w 985025"/>
                      <a:gd name="connsiteY78" fmla="*/ 209121 h 976639"/>
                      <a:gd name="connsiteX79" fmla="*/ 91371 w 985025"/>
                      <a:gd name="connsiteY79" fmla="*/ 200222 h 976639"/>
                      <a:gd name="connsiteX80" fmla="*/ 147085 w 985025"/>
                      <a:gd name="connsiteY80" fmla="*/ 133481 h 976639"/>
                      <a:gd name="connsiteX81" fmla="*/ 153771 w 985025"/>
                      <a:gd name="connsiteY81" fmla="*/ 133481 h 976639"/>
                      <a:gd name="connsiteX82" fmla="*/ 249599 w 985025"/>
                      <a:gd name="connsiteY82" fmla="*/ 180200 h 976639"/>
                      <a:gd name="connsiteX83" fmla="*/ 256285 w 985025"/>
                      <a:gd name="connsiteY83" fmla="*/ 180200 h 976639"/>
                      <a:gd name="connsiteX84" fmla="*/ 289713 w 985025"/>
                      <a:gd name="connsiteY84" fmla="*/ 157953 h 976639"/>
                      <a:gd name="connsiteX85" fmla="*/ 283027 w 985025"/>
                      <a:gd name="connsiteY85" fmla="*/ 44493 h 976639"/>
                      <a:gd name="connsiteX86" fmla="*/ 369942 w 985025"/>
                      <a:gd name="connsiteY86" fmla="*/ 11123 h 976639"/>
                      <a:gd name="connsiteX87" fmla="*/ 439027 w 985025"/>
                      <a:gd name="connsiteY87" fmla="*/ 106785 h 976639"/>
                      <a:gd name="connsiteX88" fmla="*/ 481370 w 985025"/>
                      <a:gd name="connsiteY88" fmla="*/ 102335 h 976639"/>
                      <a:gd name="connsiteX89" fmla="*/ 532627 w 985025"/>
                      <a:gd name="connsiteY89"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40454 w 985025"/>
                      <a:gd name="connsiteY14" fmla="*/ 284760 h 976639"/>
                      <a:gd name="connsiteX15" fmla="*/ 971654 w 985025"/>
                      <a:gd name="connsiteY15" fmla="*/ 367074 h 976639"/>
                      <a:gd name="connsiteX16" fmla="*/ 967197 w 985025"/>
                      <a:gd name="connsiteY16" fmla="*/ 373748 h 976639"/>
                      <a:gd name="connsiteX17" fmla="*/ 878054 w 985025"/>
                      <a:gd name="connsiteY17" fmla="*/ 431590 h 976639"/>
                      <a:gd name="connsiteX18" fmla="*/ 875825 w 985025"/>
                      <a:gd name="connsiteY18" fmla="*/ 436039 h 976639"/>
                      <a:gd name="connsiteX19" fmla="*/ 878054 w 985025"/>
                      <a:gd name="connsiteY19" fmla="*/ 478308 h 976639"/>
                      <a:gd name="connsiteX20" fmla="*/ 884740 w 985025"/>
                      <a:gd name="connsiteY20" fmla="*/ 484982 h 976639"/>
                      <a:gd name="connsiteX21" fmla="*/ 982797 w 985025"/>
                      <a:gd name="connsiteY21" fmla="*/ 529476 h 976639"/>
                      <a:gd name="connsiteX22" fmla="*/ 985025 w 985025"/>
                      <a:gd name="connsiteY22" fmla="*/ 533926 h 976639"/>
                      <a:gd name="connsiteX23" fmla="*/ 967197 w 985025"/>
                      <a:gd name="connsiteY23" fmla="*/ 620689 h 976639"/>
                      <a:gd name="connsiteX24" fmla="*/ 962739 w 985025"/>
                      <a:gd name="connsiteY24" fmla="*/ 625138 h 976639"/>
                      <a:gd name="connsiteX25" fmla="*/ 855768 w 985025"/>
                      <a:gd name="connsiteY25" fmla="*/ 631812 h 976639"/>
                      <a:gd name="connsiteX26" fmla="*/ 851311 w 985025"/>
                      <a:gd name="connsiteY26" fmla="*/ 634037 h 976639"/>
                      <a:gd name="connsiteX27" fmla="*/ 831254 w 985025"/>
                      <a:gd name="connsiteY27" fmla="*/ 674081 h 976639"/>
                      <a:gd name="connsiteX28" fmla="*/ 831254 w 985025"/>
                      <a:gd name="connsiteY28" fmla="*/ 678531 h 976639"/>
                      <a:gd name="connsiteX29" fmla="*/ 895883 w 985025"/>
                      <a:gd name="connsiteY29" fmla="*/ 767518 h 976639"/>
                      <a:gd name="connsiteX30" fmla="*/ 895883 w 985025"/>
                      <a:gd name="connsiteY30" fmla="*/ 774192 h 976639"/>
                      <a:gd name="connsiteX31" fmla="*/ 835711 w 985025"/>
                      <a:gd name="connsiteY31" fmla="*/ 840933 h 976639"/>
                      <a:gd name="connsiteX32" fmla="*/ 831254 w 985025"/>
                      <a:gd name="connsiteY32" fmla="*/ 840933 h 976639"/>
                      <a:gd name="connsiteX33" fmla="*/ 733197 w 985025"/>
                      <a:gd name="connsiteY33" fmla="*/ 791990 h 976639"/>
                      <a:gd name="connsiteX34" fmla="*/ 728740 w 985025"/>
                      <a:gd name="connsiteY34" fmla="*/ 791990 h 976639"/>
                      <a:gd name="connsiteX35" fmla="*/ 695312 w 985025"/>
                      <a:gd name="connsiteY35" fmla="*/ 814237 h 976639"/>
                      <a:gd name="connsiteX36" fmla="*/ 690855 w 985025"/>
                      <a:gd name="connsiteY36" fmla="*/ 823135 h 976639"/>
                      <a:gd name="connsiteX37" fmla="*/ 701998 w 985025"/>
                      <a:gd name="connsiteY37" fmla="*/ 929921 h 976639"/>
                      <a:gd name="connsiteX38" fmla="*/ 697540 w 985025"/>
                      <a:gd name="connsiteY38" fmla="*/ 934370 h 976639"/>
                      <a:gd name="connsiteX39" fmla="*/ 612855 w 985025"/>
                      <a:gd name="connsiteY39" fmla="*/ 963291 h 976639"/>
                      <a:gd name="connsiteX40" fmla="*/ 608398 w 985025"/>
                      <a:gd name="connsiteY40" fmla="*/ 963291 h 976639"/>
                      <a:gd name="connsiteX41" fmla="*/ 548227 w 985025"/>
                      <a:gd name="connsiteY41" fmla="*/ 874303 h 976639"/>
                      <a:gd name="connsiteX42" fmla="*/ 543770 w 985025"/>
                      <a:gd name="connsiteY42" fmla="*/ 869854 h 976639"/>
                      <a:gd name="connsiteX43" fmla="*/ 501427 w 985025"/>
                      <a:gd name="connsiteY43" fmla="*/ 874303 h 976639"/>
                      <a:gd name="connsiteX44" fmla="*/ 494741 w 985025"/>
                      <a:gd name="connsiteY44" fmla="*/ 876528 h 976639"/>
                      <a:gd name="connsiteX45" fmla="*/ 450170 w 985025"/>
                      <a:gd name="connsiteY45" fmla="*/ 974414 h 976639"/>
                      <a:gd name="connsiteX46" fmla="*/ 445713 w 985025"/>
                      <a:gd name="connsiteY46" fmla="*/ 976639 h 976639"/>
                      <a:gd name="connsiteX47" fmla="*/ 356570 w 985025"/>
                      <a:gd name="connsiteY47" fmla="*/ 958842 h 976639"/>
                      <a:gd name="connsiteX48" fmla="*/ 352113 w 985025"/>
                      <a:gd name="connsiteY48" fmla="*/ 956617 h 976639"/>
                      <a:gd name="connsiteX49" fmla="*/ 347656 w 985025"/>
                      <a:gd name="connsiteY49" fmla="*/ 847607 h 976639"/>
                      <a:gd name="connsiteX50" fmla="*/ 340970 w 985025"/>
                      <a:gd name="connsiteY50" fmla="*/ 843158 h 976639"/>
                      <a:gd name="connsiteX51" fmla="*/ 305313 w 985025"/>
                      <a:gd name="connsiteY51" fmla="*/ 825360 h 976639"/>
                      <a:gd name="connsiteX52" fmla="*/ 296399 w 985025"/>
                      <a:gd name="connsiteY52" fmla="*/ 825360 h 976639"/>
                      <a:gd name="connsiteX53" fmla="*/ 211713 w 985025"/>
                      <a:gd name="connsiteY53" fmla="*/ 887652 h 976639"/>
                      <a:gd name="connsiteX54" fmla="*/ 205028 w 985025"/>
                      <a:gd name="connsiteY54" fmla="*/ 887652 h 976639"/>
                      <a:gd name="connsiteX55" fmla="*/ 138171 w 985025"/>
                      <a:gd name="connsiteY55" fmla="*/ 829810 h 976639"/>
                      <a:gd name="connsiteX56" fmla="*/ 135942 w 985025"/>
                      <a:gd name="connsiteY56" fmla="*/ 823135 h 976639"/>
                      <a:gd name="connsiteX57" fmla="*/ 182742 w 985025"/>
                      <a:gd name="connsiteY57" fmla="*/ 725249 h 976639"/>
                      <a:gd name="connsiteX58" fmla="*/ 182742 w 985025"/>
                      <a:gd name="connsiteY58" fmla="*/ 720800 h 976639"/>
                      <a:gd name="connsiteX59" fmla="*/ 160457 w 985025"/>
                      <a:gd name="connsiteY59" fmla="*/ 687429 h 976639"/>
                      <a:gd name="connsiteX60" fmla="*/ 153771 w 985025"/>
                      <a:gd name="connsiteY60" fmla="*/ 685205 h 976639"/>
                      <a:gd name="connsiteX61" fmla="*/ 49028 w 985025"/>
                      <a:gd name="connsiteY61" fmla="*/ 696328 h 976639"/>
                      <a:gd name="connsiteX62" fmla="*/ 42343 w 985025"/>
                      <a:gd name="connsiteY62" fmla="*/ 691879 h 976639"/>
                      <a:gd name="connsiteX63" fmla="*/ 11143 w 985025"/>
                      <a:gd name="connsiteY63" fmla="*/ 609565 h 976639"/>
                      <a:gd name="connsiteX64" fmla="*/ 15600 w 985025"/>
                      <a:gd name="connsiteY64" fmla="*/ 602891 h 976639"/>
                      <a:gd name="connsiteX65" fmla="*/ 104742 w 985025"/>
                      <a:gd name="connsiteY65" fmla="*/ 542824 h 976639"/>
                      <a:gd name="connsiteX66" fmla="*/ 106971 w 985025"/>
                      <a:gd name="connsiteY66" fmla="*/ 536150 h 976639"/>
                      <a:gd name="connsiteX67" fmla="*/ 104742 w 985025"/>
                      <a:gd name="connsiteY67" fmla="*/ 496106 h 976639"/>
                      <a:gd name="connsiteX68" fmla="*/ 102514 w 985025"/>
                      <a:gd name="connsiteY68" fmla="*/ 489432 h 976639"/>
                      <a:gd name="connsiteX69" fmla="*/ 4457 w 985025"/>
                      <a:gd name="connsiteY69" fmla="*/ 444938 h 976639"/>
                      <a:gd name="connsiteX70" fmla="*/ 0 w 985025"/>
                      <a:gd name="connsiteY70" fmla="*/ 440489 h 976639"/>
                      <a:gd name="connsiteX71" fmla="*/ 15600 w 985025"/>
                      <a:gd name="connsiteY71" fmla="*/ 353726 h 976639"/>
                      <a:gd name="connsiteX72" fmla="*/ 20057 w 985025"/>
                      <a:gd name="connsiteY72" fmla="*/ 351501 h 976639"/>
                      <a:gd name="connsiteX73" fmla="*/ 129257 w 985025"/>
                      <a:gd name="connsiteY73" fmla="*/ 342602 h 976639"/>
                      <a:gd name="connsiteX74" fmla="*/ 135942 w 985025"/>
                      <a:gd name="connsiteY74" fmla="*/ 340377 h 976639"/>
                      <a:gd name="connsiteX75" fmla="*/ 151542 w 985025"/>
                      <a:gd name="connsiteY75" fmla="*/ 302558 h 976639"/>
                      <a:gd name="connsiteX76" fmla="*/ 151542 w 985025"/>
                      <a:gd name="connsiteY76" fmla="*/ 295884 h 976639"/>
                      <a:gd name="connsiteX77" fmla="*/ 91371 w 985025"/>
                      <a:gd name="connsiteY77" fmla="*/ 209121 h 976639"/>
                      <a:gd name="connsiteX78" fmla="*/ 91371 w 985025"/>
                      <a:gd name="connsiteY78" fmla="*/ 200222 h 976639"/>
                      <a:gd name="connsiteX79" fmla="*/ 147085 w 985025"/>
                      <a:gd name="connsiteY79" fmla="*/ 133481 h 976639"/>
                      <a:gd name="connsiteX80" fmla="*/ 153771 w 985025"/>
                      <a:gd name="connsiteY80" fmla="*/ 133481 h 976639"/>
                      <a:gd name="connsiteX81" fmla="*/ 249599 w 985025"/>
                      <a:gd name="connsiteY81" fmla="*/ 180200 h 976639"/>
                      <a:gd name="connsiteX82" fmla="*/ 256285 w 985025"/>
                      <a:gd name="connsiteY82" fmla="*/ 180200 h 976639"/>
                      <a:gd name="connsiteX83" fmla="*/ 289713 w 985025"/>
                      <a:gd name="connsiteY83" fmla="*/ 157953 h 976639"/>
                      <a:gd name="connsiteX84" fmla="*/ 283027 w 985025"/>
                      <a:gd name="connsiteY84" fmla="*/ 44493 h 976639"/>
                      <a:gd name="connsiteX85" fmla="*/ 369942 w 985025"/>
                      <a:gd name="connsiteY85" fmla="*/ 11123 h 976639"/>
                      <a:gd name="connsiteX86" fmla="*/ 439027 w 985025"/>
                      <a:gd name="connsiteY86" fmla="*/ 106785 h 976639"/>
                      <a:gd name="connsiteX87" fmla="*/ 481370 w 985025"/>
                      <a:gd name="connsiteY87" fmla="*/ 102335 h 976639"/>
                      <a:gd name="connsiteX88" fmla="*/ 532627 w 985025"/>
                      <a:gd name="connsiteY88"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967197 w 985025"/>
                      <a:gd name="connsiteY15" fmla="*/ 373748 h 976639"/>
                      <a:gd name="connsiteX16" fmla="*/ 878054 w 985025"/>
                      <a:gd name="connsiteY16" fmla="*/ 431590 h 976639"/>
                      <a:gd name="connsiteX17" fmla="*/ 875825 w 985025"/>
                      <a:gd name="connsiteY17" fmla="*/ 436039 h 976639"/>
                      <a:gd name="connsiteX18" fmla="*/ 878054 w 985025"/>
                      <a:gd name="connsiteY18" fmla="*/ 478308 h 976639"/>
                      <a:gd name="connsiteX19" fmla="*/ 884740 w 985025"/>
                      <a:gd name="connsiteY19" fmla="*/ 484982 h 976639"/>
                      <a:gd name="connsiteX20" fmla="*/ 982797 w 985025"/>
                      <a:gd name="connsiteY20" fmla="*/ 529476 h 976639"/>
                      <a:gd name="connsiteX21" fmla="*/ 985025 w 985025"/>
                      <a:gd name="connsiteY21" fmla="*/ 533926 h 976639"/>
                      <a:gd name="connsiteX22" fmla="*/ 967197 w 985025"/>
                      <a:gd name="connsiteY22" fmla="*/ 620689 h 976639"/>
                      <a:gd name="connsiteX23" fmla="*/ 962739 w 985025"/>
                      <a:gd name="connsiteY23" fmla="*/ 625138 h 976639"/>
                      <a:gd name="connsiteX24" fmla="*/ 855768 w 985025"/>
                      <a:gd name="connsiteY24" fmla="*/ 631812 h 976639"/>
                      <a:gd name="connsiteX25" fmla="*/ 851311 w 985025"/>
                      <a:gd name="connsiteY25" fmla="*/ 634037 h 976639"/>
                      <a:gd name="connsiteX26" fmla="*/ 831254 w 985025"/>
                      <a:gd name="connsiteY26" fmla="*/ 674081 h 976639"/>
                      <a:gd name="connsiteX27" fmla="*/ 831254 w 985025"/>
                      <a:gd name="connsiteY27" fmla="*/ 678531 h 976639"/>
                      <a:gd name="connsiteX28" fmla="*/ 895883 w 985025"/>
                      <a:gd name="connsiteY28" fmla="*/ 767518 h 976639"/>
                      <a:gd name="connsiteX29" fmla="*/ 895883 w 985025"/>
                      <a:gd name="connsiteY29" fmla="*/ 774192 h 976639"/>
                      <a:gd name="connsiteX30" fmla="*/ 835711 w 985025"/>
                      <a:gd name="connsiteY30" fmla="*/ 840933 h 976639"/>
                      <a:gd name="connsiteX31" fmla="*/ 831254 w 985025"/>
                      <a:gd name="connsiteY31" fmla="*/ 840933 h 976639"/>
                      <a:gd name="connsiteX32" fmla="*/ 733197 w 985025"/>
                      <a:gd name="connsiteY32" fmla="*/ 791990 h 976639"/>
                      <a:gd name="connsiteX33" fmla="*/ 728740 w 985025"/>
                      <a:gd name="connsiteY33" fmla="*/ 791990 h 976639"/>
                      <a:gd name="connsiteX34" fmla="*/ 695312 w 985025"/>
                      <a:gd name="connsiteY34" fmla="*/ 814237 h 976639"/>
                      <a:gd name="connsiteX35" fmla="*/ 690855 w 985025"/>
                      <a:gd name="connsiteY35" fmla="*/ 823135 h 976639"/>
                      <a:gd name="connsiteX36" fmla="*/ 701998 w 985025"/>
                      <a:gd name="connsiteY36" fmla="*/ 929921 h 976639"/>
                      <a:gd name="connsiteX37" fmla="*/ 697540 w 985025"/>
                      <a:gd name="connsiteY37" fmla="*/ 934370 h 976639"/>
                      <a:gd name="connsiteX38" fmla="*/ 612855 w 985025"/>
                      <a:gd name="connsiteY38" fmla="*/ 963291 h 976639"/>
                      <a:gd name="connsiteX39" fmla="*/ 608398 w 985025"/>
                      <a:gd name="connsiteY39" fmla="*/ 963291 h 976639"/>
                      <a:gd name="connsiteX40" fmla="*/ 548227 w 985025"/>
                      <a:gd name="connsiteY40" fmla="*/ 874303 h 976639"/>
                      <a:gd name="connsiteX41" fmla="*/ 543770 w 985025"/>
                      <a:gd name="connsiteY41" fmla="*/ 869854 h 976639"/>
                      <a:gd name="connsiteX42" fmla="*/ 501427 w 985025"/>
                      <a:gd name="connsiteY42" fmla="*/ 874303 h 976639"/>
                      <a:gd name="connsiteX43" fmla="*/ 494741 w 985025"/>
                      <a:gd name="connsiteY43" fmla="*/ 876528 h 976639"/>
                      <a:gd name="connsiteX44" fmla="*/ 450170 w 985025"/>
                      <a:gd name="connsiteY44" fmla="*/ 974414 h 976639"/>
                      <a:gd name="connsiteX45" fmla="*/ 445713 w 985025"/>
                      <a:gd name="connsiteY45" fmla="*/ 976639 h 976639"/>
                      <a:gd name="connsiteX46" fmla="*/ 356570 w 985025"/>
                      <a:gd name="connsiteY46" fmla="*/ 958842 h 976639"/>
                      <a:gd name="connsiteX47" fmla="*/ 352113 w 985025"/>
                      <a:gd name="connsiteY47" fmla="*/ 956617 h 976639"/>
                      <a:gd name="connsiteX48" fmla="*/ 347656 w 985025"/>
                      <a:gd name="connsiteY48" fmla="*/ 847607 h 976639"/>
                      <a:gd name="connsiteX49" fmla="*/ 340970 w 985025"/>
                      <a:gd name="connsiteY49" fmla="*/ 843158 h 976639"/>
                      <a:gd name="connsiteX50" fmla="*/ 305313 w 985025"/>
                      <a:gd name="connsiteY50" fmla="*/ 825360 h 976639"/>
                      <a:gd name="connsiteX51" fmla="*/ 296399 w 985025"/>
                      <a:gd name="connsiteY51" fmla="*/ 825360 h 976639"/>
                      <a:gd name="connsiteX52" fmla="*/ 211713 w 985025"/>
                      <a:gd name="connsiteY52" fmla="*/ 887652 h 976639"/>
                      <a:gd name="connsiteX53" fmla="*/ 205028 w 985025"/>
                      <a:gd name="connsiteY53" fmla="*/ 887652 h 976639"/>
                      <a:gd name="connsiteX54" fmla="*/ 138171 w 985025"/>
                      <a:gd name="connsiteY54" fmla="*/ 829810 h 976639"/>
                      <a:gd name="connsiteX55" fmla="*/ 135942 w 985025"/>
                      <a:gd name="connsiteY55" fmla="*/ 823135 h 976639"/>
                      <a:gd name="connsiteX56" fmla="*/ 182742 w 985025"/>
                      <a:gd name="connsiteY56" fmla="*/ 725249 h 976639"/>
                      <a:gd name="connsiteX57" fmla="*/ 182742 w 985025"/>
                      <a:gd name="connsiteY57" fmla="*/ 720800 h 976639"/>
                      <a:gd name="connsiteX58" fmla="*/ 160457 w 985025"/>
                      <a:gd name="connsiteY58" fmla="*/ 687429 h 976639"/>
                      <a:gd name="connsiteX59" fmla="*/ 153771 w 985025"/>
                      <a:gd name="connsiteY59" fmla="*/ 685205 h 976639"/>
                      <a:gd name="connsiteX60" fmla="*/ 49028 w 985025"/>
                      <a:gd name="connsiteY60" fmla="*/ 696328 h 976639"/>
                      <a:gd name="connsiteX61" fmla="*/ 42343 w 985025"/>
                      <a:gd name="connsiteY61" fmla="*/ 691879 h 976639"/>
                      <a:gd name="connsiteX62" fmla="*/ 11143 w 985025"/>
                      <a:gd name="connsiteY62" fmla="*/ 609565 h 976639"/>
                      <a:gd name="connsiteX63" fmla="*/ 15600 w 985025"/>
                      <a:gd name="connsiteY63" fmla="*/ 602891 h 976639"/>
                      <a:gd name="connsiteX64" fmla="*/ 104742 w 985025"/>
                      <a:gd name="connsiteY64" fmla="*/ 542824 h 976639"/>
                      <a:gd name="connsiteX65" fmla="*/ 106971 w 985025"/>
                      <a:gd name="connsiteY65" fmla="*/ 536150 h 976639"/>
                      <a:gd name="connsiteX66" fmla="*/ 104742 w 985025"/>
                      <a:gd name="connsiteY66" fmla="*/ 496106 h 976639"/>
                      <a:gd name="connsiteX67" fmla="*/ 102514 w 985025"/>
                      <a:gd name="connsiteY67" fmla="*/ 489432 h 976639"/>
                      <a:gd name="connsiteX68" fmla="*/ 4457 w 985025"/>
                      <a:gd name="connsiteY68" fmla="*/ 444938 h 976639"/>
                      <a:gd name="connsiteX69" fmla="*/ 0 w 985025"/>
                      <a:gd name="connsiteY69" fmla="*/ 440489 h 976639"/>
                      <a:gd name="connsiteX70" fmla="*/ 15600 w 985025"/>
                      <a:gd name="connsiteY70" fmla="*/ 353726 h 976639"/>
                      <a:gd name="connsiteX71" fmla="*/ 20057 w 985025"/>
                      <a:gd name="connsiteY71" fmla="*/ 351501 h 976639"/>
                      <a:gd name="connsiteX72" fmla="*/ 129257 w 985025"/>
                      <a:gd name="connsiteY72" fmla="*/ 342602 h 976639"/>
                      <a:gd name="connsiteX73" fmla="*/ 135942 w 985025"/>
                      <a:gd name="connsiteY73" fmla="*/ 340377 h 976639"/>
                      <a:gd name="connsiteX74" fmla="*/ 151542 w 985025"/>
                      <a:gd name="connsiteY74" fmla="*/ 302558 h 976639"/>
                      <a:gd name="connsiteX75" fmla="*/ 151542 w 985025"/>
                      <a:gd name="connsiteY75" fmla="*/ 295884 h 976639"/>
                      <a:gd name="connsiteX76" fmla="*/ 91371 w 985025"/>
                      <a:gd name="connsiteY76" fmla="*/ 209121 h 976639"/>
                      <a:gd name="connsiteX77" fmla="*/ 91371 w 985025"/>
                      <a:gd name="connsiteY77" fmla="*/ 200222 h 976639"/>
                      <a:gd name="connsiteX78" fmla="*/ 147085 w 985025"/>
                      <a:gd name="connsiteY78" fmla="*/ 133481 h 976639"/>
                      <a:gd name="connsiteX79" fmla="*/ 153771 w 985025"/>
                      <a:gd name="connsiteY79" fmla="*/ 133481 h 976639"/>
                      <a:gd name="connsiteX80" fmla="*/ 249599 w 985025"/>
                      <a:gd name="connsiteY80" fmla="*/ 180200 h 976639"/>
                      <a:gd name="connsiteX81" fmla="*/ 256285 w 985025"/>
                      <a:gd name="connsiteY81" fmla="*/ 180200 h 976639"/>
                      <a:gd name="connsiteX82" fmla="*/ 289713 w 985025"/>
                      <a:gd name="connsiteY82" fmla="*/ 157953 h 976639"/>
                      <a:gd name="connsiteX83" fmla="*/ 283027 w 985025"/>
                      <a:gd name="connsiteY83" fmla="*/ 44493 h 976639"/>
                      <a:gd name="connsiteX84" fmla="*/ 369942 w 985025"/>
                      <a:gd name="connsiteY84" fmla="*/ 11123 h 976639"/>
                      <a:gd name="connsiteX85" fmla="*/ 439027 w 985025"/>
                      <a:gd name="connsiteY85" fmla="*/ 106785 h 976639"/>
                      <a:gd name="connsiteX86" fmla="*/ 481370 w 985025"/>
                      <a:gd name="connsiteY86" fmla="*/ 102335 h 976639"/>
                      <a:gd name="connsiteX87" fmla="*/ 532627 w 985025"/>
                      <a:gd name="connsiteY87"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5825 w 985025"/>
                      <a:gd name="connsiteY16" fmla="*/ 436039 h 976639"/>
                      <a:gd name="connsiteX17" fmla="*/ 878054 w 985025"/>
                      <a:gd name="connsiteY17" fmla="*/ 478308 h 976639"/>
                      <a:gd name="connsiteX18" fmla="*/ 884740 w 985025"/>
                      <a:gd name="connsiteY18" fmla="*/ 484982 h 976639"/>
                      <a:gd name="connsiteX19" fmla="*/ 982797 w 985025"/>
                      <a:gd name="connsiteY19" fmla="*/ 529476 h 976639"/>
                      <a:gd name="connsiteX20" fmla="*/ 985025 w 985025"/>
                      <a:gd name="connsiteY20" fmla="*/ 533926 h 976639"/>
                      <a:gd name="connsiteX21" fmla="*/ 967197 w 985025"/>
                      <a:gd name="connsiteY21" fmla="*/ 620689 h 976639"/>
                      <a:gd name="connsiteX22" fmla="*/ 962739 w 985025"/>
                      <a:gd name="connsiteY22" fmla="*/ 625138 h 976639"/>
                      <a:gd name="connsiteX23" fmla="*/ 855768 w 985025"/>
                      <a:gd name="connsiteY23" fmla="*/ 631812 h 976639"/>
                      <a:gd name="connsiteX24" fmla="*/ 851311 w 985025"/>
                      <a:gd name="connsiteY24" fmla="*/ 634037 h 976639"/>
                      <a:gd name="connsiteX25" fmla="*/ 831254 w 985025"/>
                      <a:gd name="connsiteY25" fmla="*/ 674081 h 976639"/>
                      <a:gd name="connsiteX26" fmla="*/ 831254 w 985025"/>
                      <a:gd name="connsiteY26" fmla="*/ 678531 h 976639"/>
                      <a:gd name="connsiteX27" fmla="*/ 895883 w 985025"/>
                      <a:gd name="connsiteY27" fmla="*/ 767518 h 976639"/>
                      <a:gd name="connsiteX28" fmla="*/ 895883 w 985025"/>
                      <a:gd name="connsiteY28" fmla="*/ 774192 h 976639"/>
                      <a:gd name="connsiteX29" fmla="*/ 835711 w 985025"/>
                      <a:gd name="connsiteY29" fmla="*/ 840933 h 976639"/>
                      <a:gd name="connsiteX30" fmla="*/ 831254 w 985025"/>
                      <a:gd name="connsiteY30" fmla="*/ 840933 h 976639"/>
                      <a:gd name="connsiteX31" fmla="*/ 733197 w 985025"/>
                      <a:gd name="connsiteY31" fmla="*/ 791990 h 976639"/>
                      <a:gd name="connsiteX32" fmla="*/ 728740 w 985025"/>
                      <a:gd name="connsiteY32" fmla="*/ 791990 h 976639"/>
                      <a:gd name="connsiteX33" fmla="*/ 695312 w 985025"/>
                      <a:gd name="connsiteY33" fmla="*/ 814237 h 976639"/>
                      <a:gd name="connsiteX34" fmla="*/ 690855 w 985025"/>
                      <a:gd name="connsiteY34" fmla="*/ 823135 h 976639"/>
                      <a:gd name="connsiteX35" fmla="*/ 701998 w 985025"/>
                      <a:gd name="connsiteY35" fmla="*/ 929921 h 976639"/>
                      <a:gd name="connsiteX36" fmla="*/ 697540 w 985025"/>
                      <a:gd name="connsiteY36" fmla="*/ 934370 h 976639"/>
                      <a:gd name="connsiteX37" fmla="*/ 612855 w 985025"/>
                      <a:gd name="connsiteY37" fmla="*/ 963291 h 976639"/>
                      <a:gd name="connsiteX38" fmla="*/ 608398 w 985025"/>
                      <a:gd name="connsiteY38" fmla="*/ 963291 h 976639"/>
                      <a:gd name="connsiteX39" fmla="*/ 548227 w 985025"/>
                      <a:gd name="connsiteY39" fmla="*/ 874303 h 976639"/>
                      <a:gd name="connsiteX40" fmla="*/ 543770 w 985025"/>
                      <a:gd name="connsiteY40" fmla="*/ 869854 h 976639"/>
                      <a:gd name="connsiteX41" fmla="*/ 501427 w 985025"/>
                      <a:gd name="connsiteY41" fmla="*/ 874303 h 976639"/>
                      <a:gd name="connsiteX42" fmla="*/ 494741 w 985025"/>
                      <a:gd name="connsiteY42" fmla="*/ 876528 h 976639"/>
                      <a:gd name="connsiteX43" fmla="*/ 450170 w 985025"/>
                      <a:gd name="connsiteY43" fmla="*/ 974414 h 976639"/>
                      <a:gd name="connsiteX44" fmla="*/ 445713 w 985025"/>
                      <a:gd name="connsiteY44" fmla="*/ 976639 h 976639"/>
                      <a:gd name="connsiteX45" fmla="*/ 356570 w 985025"/>
                      <a:gd name="connsiteY45" fmla="*/ 958842 h 976639"/>
                      <a:gd name="connsiteX46" fmla="*/ 352113 w 985025"/>
                      <a:gd name="connsiteY46" fmla="*/ 956617 h 976639"/>
                      <a:gd name="connsiteX47" fmla="*/ 347656 w 985025"/>
                      <a:gd name="connsiteY47" fmla="*/ 847607 h 976639"/>
                      <a:gd name="connsiteX48" fmla="*/ 340970 w 985025"/>
                      <a:gd name="connsiteY48" fmla="*/ 843158 h 976639"/>
                      <a:gd name="connsiteX49" fmla="*/ 305313 w 985025"/>
                      <a:gd name="connsiteY49" fmla="*/ 825360 h 976639"/>
                      <a:gd name="connsiteX50" fmla="*/ 296399 w 985025"/>
                      <a:gd name="connsiteY50" fmla="*/ 825360 h 976639"/>
                      <a:gd name="connsiteX51" fmla="*/ 211713 w 985025"/>
                      <a:gd name="connsiteY51" fmla="*/ 887652 h 976639"/>
                      <a:gd name="connsiteX52" fmla="*/ 205028 w 985025"/>
                      <a:gd name="connsiteY52" fmla="*/ 887652 h 976639"/>
                      <a:gd name="connsiteX53" fmla="*/ 138171 w 985025"/>
                      <a:gd name="connsiteY53" fmla="*/ 829810 h 976639"/>
                      <a:gd name="connsiteX54" fmla="*/ 135942 w 985025"/>
                      <a:gd name="connsiteY54" fmla="*/ 823135 h 976639"/>
                      <a:gd name="connsiteX55" fmla="*/ 182742 w 985025"/>
                      <a:gd name="connsiteY55" fmla="*/ 725249 h 976639"/>
                      <a:gd name="connsiteX56" fmla="*/ 182742 w 985025"/>
                      <a:gd name="connsiteY56" fmla="*/ 720800 h 976639"/>
                      <a:gd name="connsiteX57" fmla="*/ 160457 w 985025"/>
                      <a:gd name="connsiteY57" fmla="*/ 687429 h 976639"/>
                      <a:gd name="connsiteX58" fmla="*/ 153771 w 985025"/>
                      <a:gd name="connsiteY58" fmla="*/ 685205 h 976639"/>
                      <a:gd name="connsiteX59" fmla="*/ 49028 w 985025"/>
                      <a:gd name="connsiteY59" fmla="*/ 696328 h 976639"/>
                      <a:gd name="connsiteX60" fmla="*/ 42343 w 985025"/>
                      <a:gd name="connsiteY60" fmla="*/ 691879 h 976639"/>
                      <a:gd name="connsiteX61" fmla="*/ 11143 w 985025"/>
                      <a:gd name="connsiteY61" fmla="*/ 609565 h 976639"/>
                      <a:gd name="connsiteX62" fmla="*/ 15600 w 985025"/>
                      <a:gd name="connsiteY62" fmla="*/ 602891 h 976639"/>
                      <a:gd name="connsiteX63" fmla="*/ 104742 w 985025"/>
                      <a:gd name="connsiteY63" fmla="*/ 542824 h 976639"/>
                      <a:gd name="connsiteX64" fmla="*/ 106971 w 985025"/>
                      <a:gd name="connsiteY64" fmla="*/ 536150 h 976639"/>
                      <a:gd name="connsiteX65" fmla="*/ 104742 w 985025"/>
                      <a:gd name="connsiteY65" fmla="*/ 496106 h 976639"/>
                      <a:gd name="connsiteX66" fmla="*/ 102514 w 985025"/>
                      <a:gd name="connsiteY66" fmla="*/ 489432 h 976639"/>
                      <a:gd name="connsiteX67" fmla="*/ 4457 w 985025"/>
                      <a:gd name="connsiteY67" fmla="*/ 444938 h 976639"/>
                      <a:gd name="connsiteX68" fmla="*/ 0 w 985025"/>
                      <a:gd name="connsiteY68" fmla="*/ 440489 h 976639"/>
                      <a:gd name="connsiteX69" fmla="*/ 15600 w 985025"/>
                      <a:gd name="connsiteY69" fmla="*/ 353726 h 976639"/>
                      <a:gd name="connsiteX70" fmla="*/ 20057 w 985025"/>
                      <a:gd name="connsiteY70" fmla="*/ 351501 h 976639"/>
                      <a:gd name="connsiteX71" fmla="*/ 129257 w 985025"/>
                      <a:gd name="connsiteY71" fmla="*/ 342602 h 976639"/>
                      <a:gd name="connsiteX72" fmla="*/ 135942 w 985025"/>
                      <a:gd name="connsiteY72" fmla="*/ 340377 h 976639"/>
                      <a:gd name="connsiteX73" fmla="*/ 151542 w 985025"/>
                      <a:gd name="connsiteY73" fmla="*/ 302558 h 976639"/>
                      <a:gd name="connsiteX74" fmla="*/ 151542 w 985025"/>
                      <a:gd name="connsiteY74" fmla="*/ 295884 h 976639"/>
                      <a:gd name="connsiteX75" fmla="*/ 91371 w 985025"/>
                      <a:gd name="connsiteY75" fmla="*/ 209121 h 976639"/>
                      <a:gd name="connsiteX76" fmla="*/ 91371 w 985025"/>
                      <a:gd name="connsiteY76" fmla="*/ 200222 h 976639"/>
                      <a:gd name="connsiteX77" fmla="*/ 147085 w 985025"/>
                      <a:gd name="connsiteY77" fmla="*/ 133481 h 976639"/>
                      <a:gd name="connsiteX78" fmla="*/ 153771 w 985025"/>
                      <a:gd name="connsiteY78" fmla="*/ 133481 h 976639"/>
                      <a:gd name="connsiteX79" fmla="*/ 249599 w 985025"/>
                      <a:gd name="connsiteY79" fmla="*/ 180200 h 976639"/>
                      <a:gd name="connsiteX80" fmla="*/ 256285 w 985025"/>
                      <a:gd name="connsiteY80" fmla="*/ 180200 h 976639"/>
                      <a:gd name="connsiteX81" fmla="*/ 289713 w 985025"/>
                      <a:gd name="connsiteY81" fmla="*/ 157953 h 976639"/>
                      <a:gd name="connsiteX82" fmla="*/ 283027 w 985025"/>
                      <a:gd name="connsiteY82" fmla="*/ 44493 h 976639"/>
                      <a:gd name="connsiteX83" fmla="*/ 369942 w 985025"/>
                      <a:gd name="connsiteY83" fmla="*/ 11123 h 976639"/>
                      <a:gd name="connsiteX84" fmla="*/ 439027 w 985025"/>
                      <a:gd name="connsiteY84" fmla="*/ 106785 h 976639"/>
                      <a:gd name="connsiteX85" fmla="*/ 481370 w 985025"/>
                      <a:gd name="connsiteY85" fmla="*/ 102335 h 976639"/>
                      <a:gd name="connsiteX86" fmla="*/ 532627 w 985025"/>
                      <a:gd name="connsiteY86"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884740 w 985025"/>
                      <a:gd name="connsiteY17" fmla="*/ 484982 h 976639"/>
                      <a:gd name="connsiteX18" fmla="*/ 982797 w 985025"/>
                      <a:gd name="connsiteY18" fmla="*/ 529476 h 976639"/>
                      <a:gd name="connsiteX19" fmla="*/ 985025 w 985025"/>
                      <a:gd name="connsiteY19" fmla="*/ 533926 h 976639"/>
                      <a:gd name="connsiteX20" fmla="*/ 967197 w 985025"/>
                      <a:gd name="connsiteY20" fmla="*/ 620689 h 976639"/>
                      <a:gd name="connsiteX21" fmla="*/ 962739 w 985025"/>
                      <a:gd name="connsiteY21" fmla="*/ 625138 h 976639"/>
                      <a:gd name="connsiteX22" fmla="*/ 855768 w 985025"/>
                      <a:gd name="connsiteY22" fmla="*/ 631812 h 976639"/>
                      <a:gd name="connsiteX23" fmla="*/ 851311 w 985025"/>
                      <a:gd name="connsiteY23" fmla="*/ 634037 h 976639"/>
                      <a:gd name="connsiteX24" fmla="*/ 831254 w 985025"/>
                      <a:gd name="connsiteY24" fmla="*/ 674081 h 976639"/>
                      <a:gd name="connsiteX25" fmla="*/ 831254 w 985025"/>
                      <a:gd name="connsiteY25" fmla="*/ 678531 h 976639"/>
                      <a:gd name="connsiteX26" fmla="*/ 895883 w 985025"/>
                      <a:gd name="connsiteY26" fmla="*/ 767518 h 976639"/>
                      <a:gd name="connsiteX27" fmla="*/ 895883 w 985025"/>
                      <a:gd name="connsiteY27" fmla="*/ 774192 h 976639"/>
                      <a:gd name="connsiteX28" fmla="*/ 835711 w 985025"/>
                      <a:gd name="connsiteY28" fmla="*/ 840933 h 976639"/>
                      <a:gd name="connsiteX29" fmla="*/ 831254 w 985025"/>
                      <a:gd name="connsiteY29" fmla="*/ 840933 h 976639"/>
                      <a:gd name="connsiteX30" fmla="*/ 733197 w 985025"/>
                      <a:gd name="connsiteY30" fmla="*/ 791990 h 976639"/>
                      <a:gd name="connsiteX31" fmla="*/ 728740 w 985025"/>
                      <a:gd name="connsiteY31" fmla="*/ 791990 h 976639"/>
                      <a:gd name="connsiteX32" fmla="*/ 695312 w 985025"/>
                      <a:gd name="connsiteY32" fmla="*/ 814237 h 976639"/>
                      <a:gd name="connsiteX33" fmla="*/ 690855 w 985025"/>
                      <a:gd name="connsiteY33" fmla="*/ 823135 h 976639"/>
                      <a:gd name="connsiteX34" fmla="*/ 701998 w 985025"/>
                      <a:gd name="connsiteY34" fmla="*/ 929921 h 976639"/>
                      <a:gd name="connsiteX35" fmla="*/ 697540 w 985025"/>
                      <a:gd name="connsiteY35" fmla="*/ 934370 h 976639"/>
                      <a:gd name="connsiteX36" fmla="*/ 612855 w 985025"/>
                      <a:gd name="connsiteY36" fmla="*/ 963291 h 976639"/>
                      <a:gd name="connsiteX37" fmla="*/ 608398 w 985025"/>
                      <a:gd name="connsiteY37" fmla="*/ 963291 h 976639"/>
                      <a:gd name="connsiteX38" fmla="*/ 548227 w 985025"/>
                      <a:gd name="connsiteY38" fmla="*/ 874303 h 976639"/>
                      <a:gd name="connsiteX39" fmla="*/ 543770 w 985025"/>
                      <a:gd name="connsiteY39" fmla="*/ 869854 h 976639"/>
                      <a:gd name="connsiteX40" fmla="*/ 501427 w 985025"/>
                      <a:gd name="connsiteY40" fmla="*/ 874303 h 976639"/>
                      <a:gd name="connsiteX41" fmla="*/ 494741 w 985025"/>
                      <a:gd name="connsiteY41" fmla="*/ 876528 h 976639"/>
                      <a:gd name="connsiteX42" fmla="*/ 450170 w 985025"/>
                      <a:gd name="connsiteY42" fmla="*/ 974414 h 976639"/>
                      <a:gd name="connsiteX43" fmla="*/ 445713 w 985025"/>
                      <a:gd name="connsiteY43" fmla="*/ 976639 h 976639"/>
                      <a:gd name="connsiteX44" fmla="*/ 356570 w 985025"/>
                      <a:gd name="connsiteY44" fmla="*/ 958842 h 976639"/>
                      <a:gd name="connsiteX45" fmla="*/ 352113 w 985025"/>
                      <a:gd name="connsiteY45" fmla="*/ 956617 h 976639"/>
                      <a:gd name="connsiteX46" fmla="*/ 347656 w 985025"/>
                      <a:gd name="connsiteY46" fmla="*/ 847607 h 976639"/>
                      <a:gd name="connsiteX47" fmla="*/ 340970 w 985025"/>
                      <a:gd name="connsiteY47" fmla="*/ 843158 h 976639"/>
                      <a:gd name="connsiteX48" fmla="*/ 305313 w 985025"/>
                      <a:gd name="connsiteY48" fmla="*/ 825360 h 976639"/>
                      <a:gd name="connsiteX49" fmla="*/ 296399 w 985025"/>
                      <a:gd name="connsiteY49" fmla="*/ 825360 h 976639"/>
                      <a:gd name="connsiteX50" fmla="*/ 211713 w 985025"/>
                      <a:gd name="connsiteY50" fmla="*/ 887652 h 976639"/>
                      <a:gd name="connsiteX51" fmla="*/ 205028 w 985025"/>
                      <a:gd name="connsiteY51" fmla="*/ 887652 h 976639"/>
                      <a:gd name="connsiteX52" fmla="*/ 138171 w 985025"/>
                      <a:gd name="connsiteY52" fmla="*/ 829810 h 976639"/>
                      <a:gd name="connsiteX53" fmla="*/ 135942 w 985025"/>
                      <a:gd name="connsiteY53" fmla="*/ 823135 h 976639"/>
                      <a:gd name="connsiteX54" fmla="*/ 182742 w 985025"/>
                      <a:gd name="connsiteY54" fmla="*/ 725249 h 976639"/>
                      <a:gd name="connsiteX55" fmla="*/ 182742 w 985025"/>
                      <a:gd name="connsiteY55" fmla="*/ 720800 h 976639"/>
                      <a:gd name="connsiteX56" fmla="*/ 160457 w 985025"/>
                      <a:gd name="connsiteY56" fmla="*/ 687429 h 976639"/>
                      <a:gd name="connsiteX57" fmla="*/ 153771 w 985025"/>
                      <a:gd name="connsiteY57" fmla="*/ 685205 h 976639"/>
                      <a:gd name="connsiteX58" fmla="*/ 49028 w 985025"/>
                      <a:gd name="connsiteY58" fmla="*/ 696328 h 976639"/>
                      <a:gd name="connsiteX59" fmla="*/ 42343 w 985025"/>
                      <a:gd name="connsiteY59" fmla="*/ 691879 h 976639"/>
                      <a:gd name="connsiteX60" fmla="*/ 11143 w 985025"/>
                      <a:gd name="connsiteY60" fmla="*/ 609565 h 976639"/>
                      <a:gd name="connsiteX61" fmla="*/ 15600 w 985025"/>
                      <a:gd name="connsiteY61" fmla="*/ 602891 h 976639"/>
                      <a:gd name="connsiteX62" fmla="*/ 104742 w 985025"/>
                      <a:gd name="connsiteY62" fmla="*/ 542824 h 976639"/>
                      <a:gd name="connsiteX63" fmla="*/ 106971 w 985025"/>
                      <a:gd name="connsiteY63" fmla="*/ 536150 h 976639"/>
                      <a:gd name="connsiteX64" fmla="*/ 104742 w 985025"/>
                      <a:gd name="connsiteY64" fmla="*/ 496106 h 976639"/>
                      <a:gd name="connsiteX65" fmla="*/ 102514 w 985025"/>
                      <a:gd name="connsiteY65" fmla="*/ 489432 h 976639"/>
                      <a:gd name="connsiteX66" fmla="*/ 4457 w 985025"/>
                      <a:gd name="connsiteY66" fmla="*/ 444938 h 976639"/>
                      <a:gd name="connsiteX67" fmla="*/ 0 w 985025"/>
                      <a:gd name="connsiteY67" fmla="*/ 440489 h 976639"/>
                      <a:gd name="connsiteX68" fmla="*/ 15600 w 985025"/>
                      <a:gd name="connsiteY68" fmla="*/ 353726 h 976639"/>
                      <a:gd name="connsiteX69" fmla="*/ 20057 w 985025"/>
                      <a:gd name="connsiteY69" fmla="*/ 351501 h 976639"/>
                      <a:gd name="connsiteX70" fmla="*/ 129257 w 985025"/>
                      <a:gd name="connsiteY70" fmla="*/ 342602 h 976639"/>
                      <a:gd name="connsiteX71" fmla="*/ 135942 w 985025"/>
                      <a:gd name="connsiteY71" fmla="*/ 340377 h 976639"/>
                      <a:gd name="connsiteX72" fmla="*/ 151542 w 985025"/>
                      <a:gd name="connsiteY72" fmla="*/ 302558 h 976639"/>
                      <a:gd name="connsiteX73" fmla="*/ 151542 w 985025"/>
                      <a:gd name="connsiteY73" fmla="*/ 295884 h 976639"/>
                      <a:gd name="connsiteX74" fmla="*/ 91371 w 985025"/>
                      <a:gd name="connsiteY74" fmla="*/ 209121 h 976639"/>
                      <a:gd name="connsiteX75" fmla="*/ 91371 w 985025"/>
                      <a:gd name="connsiteY75" fmla="*/ 200222 h 976639"/>
                      <a:gd name="connsiteX76" fmla="*/ 147085 w 985025"/>
                      <a:gd name="connsiteY76" fmla="*/ 133481 h 976639"/>
                      <a:gd name="connsiteX77" fmla="*/ 153771 w 985025"/>
                      <a:gd name="connsiteY77" fmla="*/ 133481 h 976639"/>
                      <a:gd name="connsiteX78" fmla="*/ 249599 w 985025"/>
                      <a:gd name="connsiteY78" fmla="*/ 180200 h 976639"/>
                      <a:gd name="connsiteX79" fmla="*/ 256285 w 985025"/>
                      <a:gd name="connsiteY79" fmla="*/ 180200 h 976639"/>
                      <a:gd name="connsiteX80" fmla="*/ 289713 w 985025"/>
                      <a:gd name="connsiteY80" fmla="*/ 157953 h 976639"/>
                      <a:gd name="connsiteX81" fmla="*/ 283027 w 985025"/>
                      <a:gd name="connsiteY81" fmla="*/ 44493 h 976639"/>
                      <a:gd name="connsiteX82" fmla="*/ 369942 w 985025"/>
                      <a:gd name="connsiteY82" fmla="*/ 11123 h 976639"/>
                      <a:gd name="connsiteX83" fmla="*/ 439027 w 985025"/>
                      <a:gd name="connsiteY83" fmla="*/ 106785 h 976639"/>
                      <a:gd name="connsiteX84" fmla="*/ 481370 w 985025"/>
                      <a:gd name="connsiteY84" fmla="*/ 102335 h 976639"/>
                      <a:gd name="connsiteX85" fmla="*/ 532627 w 985025"/>
                      <a:gd name="connsiteY8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982797 w 985025"/>
                      <a:gd name="connsiteY17" fmla="*/ 529476 h 976639"/>
                      <a:gd name="connsiteX18" fmla="*/ 985025 w 985025"/>
                      <a:gd name="connsiteY18" fmla="*/ 533926 h 976639"/>
                      <a:gd name="connsiteX19" fmla="*/ 967197 w 985025"/>
                      <a:gd name="connsiteY19" fmla="*/ 620689 h 976639"/>
                      <a:gd name="connsiteX20" fmla="*/ 962739 w 985025"/>
                      <a:gd name="connsiteY20" fmla="*/ 625138 h 976639"/>
                      <a:gd name="connsiteX21" fmla="*/ 855768 w 985025"/>
                      <a:gd name="connsiteY21" fmla="*/ 631812 h 976639"/>
                      <a:gd name="connsiteX22" fmla="*/ 851311 w 985025"/>
                      <a:gd name="connsiteY22" fmla="*/ 634037 h 976639"/>
                      <a:gd name="connsiteX23" fmla="*/ 831254 w 985025"/>
                      <a:gd name="connsiteY23" fmla="*/ 674081 h 976639"/>
                      <a:gd name="connsiteX24" fmla="*/ 831254 w 985025"/>
                      <a:gd name="connsiteY24" fmla="*/ 678531 h 976639"/>
                      <a:gd name="connsiteX25" fmla="*/ 895883 w 985025"/>
                      <a:gd name="connsiteY25" fmla="*/ 767518 h 976639"/>
                      <a:gd name="connsiteX26" fmla="*/ 895883 w 985025"/>
                      <a:gd name="connsiteY26" fmla="*/ 774192 h 976639"/>
                      <a:gd name="connsiteX27" fmla="*/ 835711 w 985025"/>
                      <a:gd name="connsiteY27" fmla="*/ 840933 h 976639"/>
                      <a:gd name="connsiteX28" fmla="*/ 831254 w 985025"/>
                      <a:gd name="connsiteY28" fmla="*/ 840933 h 976639"/>
                      <a:gd name="connsiteX29" fmla="*/ 733197 w 985025"/>
                      <a:gd name="connsiteY29" fmla="*/ 791990 h 976639"/>
                      <a:gd name="connsiteX30" fmla="*/ 728740 w 985025"/>
                      <a:gd name="connsiteY30" fmla="*/ 791990 h 976639"/>
                      <a:gd name="connsiteX31" fmla="*/ 695312 w 985025"/>
                      <a:gd name="connsiteY31" fmla="*/ 814237 h 976639"/>
                      <a:gd name="connsiteX32" fmla="*/ 690855 w 985025"/>
                      <a:gd name="connsiteY32" fmla="*/ 823135 h 976639"/>
                      <a:gd name="connsiteX33" fmla="*/ 701998 w 985025"/>
                      <a:gd name="connsiteY33" fmla="*/ 929921 h 976639"/>
                      <a:gd name="connsiteX34" fmla="*/ 697540 w 985025"/>
                      <a:gd name="connsiteY34" fmla="*/ 934370 h 976639"/>
                      <a:gd name="connsiteX35" fmla="*/ 612855 w 985025"/>
                      <a:gd name="connsiteY35" fmla="*/ 963291 h 976639"/>
                      <a:gd name="connsiteX36" fmla="*/ 608398 w 985025"/>
                      <a:gd name="connsiteY36" fmla="*/ 963291 h 976639"/>
                      <a:gd name="connsiteX37" fmla="*/ 548227 w 985025"/>
                      <a:gd name="connsiteY37" fmla="*/ 874303 h 976639"/>
                      <a:gd name="connsiteX38" fmla="*/ 543770 w 985025"/>
                      <a:gd name="connsiteY38" fmla="*/ 869854 h 976639"/>
                      <a:gd name="connsiteX39" fmla="*/ 501427 w 985025"/>
                      <a:gd name="connsiteY39" fmla="*/ 874303 h 976639"/>
                      <a:gd name="connsiteX40" fmla="*/ 494741 w 985025"/>
                      <a:gd name="connsiteY40" fmla="*/ 876528 h 976639"/>
                      <a:gd name="connsiteX41" fmla="*/ 450170 w 985025"/>
                      <a:gd name="connsiteY41" fmla="*/ 974414 h 976639"/>
                      <a:gd name="connsiteX42" fmla="*/ 445713 w 985025"/>
                      <a:gd name="connsiteY42" fmla="*/ 976639 h 976639"/>
                      <a:gd name="connsiteX43" fmla="*/ 356570 w 985025"/>
                      <a:gd name="connsiteY43" fmla="*/ 958842 h 976639"/>
                      <a:gd name="connsiteX44" fmla="*/ 352113 w 985025"/>
                      <a:gd name="connsiteY44" fmla="*/ 956617 h 976639"/>
                      <a:gd name="connsiteX45" fmla="*/ 347656 w 985025"/>
                      <a:gd name="connsiteY45" fmla="*/ 847607 h 976639"/>
                      <a:gd name="connsiteX46" fmla="*/ 340970 w 985025"/>
                      <a:gd name="connsiteY46" fmla="*/ 843158 h 976639"/>
                      <a:gd name="connsiteX47" fmla="*/ 305313 w 985025"/>
                      <a:gd name="connsiteY47" fmla="*/ 825360 h 976639"/>
                      <a:gd name="connsiteX48" fmla="*/ 296399 w 985025"/>
                      <a:gd name="connsiteY48" fmla="*/ 825360 h 976639"/>
                      <a:gd name="connsiteX49" fmla="*/ 211713 w 985025"/>
                      <a:gd name="connsiteY49" fmla="*/ 887652 h 976639"/>
                      <a:gd name="connsiteX50" fmla="*/ 205028 w 985025"/>
                      <a:gd name="connsiteY50" fmla="*/ 887652 h 976639"/>
                      <a:gd name="connsiteX51" fmla="*/ 138171 w 985025"/>
                      <a:gd name="connsiteY51" fmla="*/ 829810 h 976639"/>
                      <a:gd name="connsiteX52" fmla="*/ 135942 w 985025"/>
                      <a:gd name="connsiteY52" fmla="*/ 823135 h 976639"/>
                      <a:gd name="connsiteX53" fmla="*/ 182742 w 985025"/>
                      <a:gd name="connsiteY53" fmla="*/ 725249 h 976639"/>
                      <a:gd name="connsiteX54" fmla="*/ 182742 w 985025"/>
                      <a:gd name="connsiteY54" fmla="*/ 720800 h 976639"/>
                      <a:gd name="connsiteX55" fmla="*/ 160457 w 985025"/>
                      <a:gd name="connsiteY55" fmla="*/ 687429 h 976639"/>
                      <a:gd name="connsiteX56" fmla="*/ 153771 w 985025"/>
                      <a:gd name="connsiteY56" fmla="*/ 685205 h 976639"/>
                      <a:gd name="connsiteX57" fmla="*/ 49028 w 985025"/>
                      <a:gd name="connsiteY57" fmla="*/ 696328 h 976639"/>
                      <a:gd name="connsiteX58" fmla="*/ 42343 w 985025"/>
                      <a:gd name="connsiteY58" fmla="*/ 691879 h 976639"/>
                      <a:gd name="connsiteX59" fmla="*/ 11143 w 985025"/>
                      <a:gd name="connsiteY59" fmla="*/ 609565 h 976639"/>
                      <a:gd name="connsiteX60" fmla="*/ 15600 w 985025"/>
                      <a:gd name="connsiteY60" fmla="*/ 602891 h 976639"/>
                      <a:gd name="connsiteX61" fmla="*/ 104742 w 985025"/>
                      <a:gd name="connsiteY61" fmla="*/ 542824 h 976639"/>
                      <a:gd name="connsiteX62" fmla="*/ 106971 w 985025"/>
                      <a:gd name="connsiteY62" fmla="*/ 536150 h 976639"/>
                      <a:gd name="connsiteX63" fmla="*/ 104742 w 985025"/>
                      <a:gd name="connsiteY63" fmla="*/ 496106 h 976639"/>
                      <a:gd name="connsiteX64" fmla="*/ 102514 w 985025"/>
                      <a:gd name="connsiteY64" fmla="*/ 489432 h 976639"/>
                      <a:gd name="connsiteX65" fmla="*/ 4457 w 985025"/>
                      <a:gd name="connsiteY65" fmla="*/ 444938 h 976639"/>
                      <a:gd name="connsiteX66" fmla="*/ 0 w 985025"/>
                      <a:gd name="connsiteY66" fmla="*/ 440489 h 976639"/>
                      <a:gd name="connsiteX67" fmla="*/ 15600 w 985025"/>
                      <a:gd name="connsiteY67" fmla="*/ 353726 h 976639"/>
                      <a:gd name="connsiteX68" fmla="*/ 20057 w 985025"/>
                      <a:gd name="connsiteY68" fmla="*/ 351501 h 976639"/>
                      <a:gd name="connsiteX69" fmla="*/ 129257 w 985025"/>
                      <a:gd name="connsiteY69" fmla="*/ 342602 h 976639"/>
                      <a:gd name="connsiteX70" fmla="*/ 135942 w 985025"/>
                      <a:gd name="connsiteY70" fmla="*/ 340377 h 976639"/>
                      <a:gd name="connsiteX71" fmla="*/ 151542 w 985025"/>
                      <a:gd name="connsiteY71" fmla="*/ 302558 h 976639"/>
                      <a:gd name="connsiteX72" fmla="*/ 151542 w 985025"/>
                      <a:gd name="connsiteY72" fmla="*/ 295884 h 976639"/>
                      <a:gd name="connsiteX73" fmla="*/ 91371 w 985025"/>
                      <a:gd name="connsiteY73" fmla="*/ 209121 h 976639"/>
                      <a:gd name="connsiteX74" fmla="*/ 91371 w 985025"/>
                      <a:gd name="connsiteY74" fmla="*/ 200222 h 976639"/>
                      <a:gd name="connsiteX75" fmla="*/ 147085 w 985025"/>
                      <a:gd name="connsiteY75" fmla="*/ 133481 h 976639"/>
                      <a:gd name="connsiteX76" fmla="*/ 153771 w 985025"/>
                      <a:gd name="connsiteY76" fmla="*/ 133481 h 976639"/>
                      <a:gd name="connsiteX77" fmla="*/ 249599 w 985025"/>
                      <a:gd name="connsiteY77" fmla="*/ 180200 h 976639"/>
                      <a:gd name="connsiteX78" fmla="*/ 256285 w 985025"/>
                      <a:gd name="connsiteY78" fmla="*/ 180200 h 976639"/>
                      <a:gd name="connsiteX79" fmla="*/ 289713 w 985025"/>
                      <a:gd name="connsiteY79" fmla="*/ 157953 h 976639"/>
                      <a:gd name="connsiteX80" fmla="*/ 283027 w 985025"/>
                      <a:gd name="connsiteY80" fmla="*/ 44493 h 976639"/>
                      <a:gd name="connsiteX81" fmla="*/ 369942 w 985025"/>
                      <a:gd name="connsiteY81" fmla="*/ 11123 h 976639"/>
                      <a:gd name="connsiteX82" fmla="*/ 439027 w 985025"/>
                      <a:gd name="connsiteY82" fmla="*/ 106785 h 976639"/>
                      <a:gd name="connsiteX83" fmla="*/ 481370 w 985025"/>
                      <a:gd name="connsiteY83" fmla="*/ 102335 h 976639"/>
                      <a:gd name="connsiteX84" fmla="*/ 532627 w 985025"/>
                      <a:gd name="connsiteY8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962739 w 982797"/>
                      <a:gd name="connsiteY19" fmla="*/ 625138 h 976639"/>
                      <a:gd name="connsiteX20" fmla="*/ 855768 w 982797"/>
                      <a:gd name="connsiteY20" fmla="*/ 631812 h 976639"/>
                      <a:gd name="connsiteX21" fmla="*/ 851311 w 982797"/>
                      <a:gd name="connsiteY21" fmla="*/ 634037 h 976639"/>
                      <a:gd name="connsiteX22" fmla="*/ 831254 w 982797"/>
                      <a:gd name="connsiteY22" fmla="*/ 674081 h 976639"/>
                      <a:gd name="connsiteX23" fmla="*/ 831254 w 982797"/>
                      <a:gd name="connsiteY23" fmla="*/ 678531 h 976639"/>
                      <a:gd name="connsiteX24" fmla="*/ 895883 w 982797"/>
                      <a:gd name="connsiteY24" fmla="*/ 767518 h 976639"/>
                      <a:gd name="connsiteX25" fmla="*/ 895883 w 982797"/>
                      <a:gd name="connsiteY25" fmla="*/ 774192 h 976639"/>
                      <a:gd name="connsiteX26" fmla="*/ 835711 w 982797"/>
                      <a:gd name="connsiteY26" fmla="*/ 840933 h 976639"/>
                      <a:gd name="connsiteX27" fmla="*/ 831254 w 982797"/>
                      <a:gd name="connsiteY27" fmla="*/ 840933 h 976639"/>
                      <a:gd name="connsiteX28" fmla="*/ 733197 w 982797"/>
                      <a:gd name="connsiteY28" fmla="*/ 791990 h 976639"/>
                      <a:gd name="connsiteX29" fmla="*/ 728740 w 982797"/>
                      <a:gd name="connsiteY29" fmla="*/ 791990 h 976639"/>
                      <a:gd name="connsiteX30" fmla="*/ 695312 w 982797"/>
                      <a:gd name="connsiteY30" fmla="*/ 814237 h 976639"/>
                      <a:gd name="connsiteX31" fmla="*/ 690855 w 982797"/>
                      <a:gd name="connsiteY31" fmla="*/ 823135 h 976639"/>
                      <a:gd name="connsiteX32" fmla="*/ 701998 w 982797"/>
                      <a:gd name="connsiteY32" fmla="*/ 929921 h 976639"/>
                      <a:gd name="connsiteX33" fmla="*/ 697540 w 982797"/>
                      <a:gd name="connsiteY33" fmla="*/ 934370 h 976639"/>
                      <a:gd name="connsiteX34" fmla="*/ 612855 w 982797"/>
                      <a:gd name="connsiteY34" fmla="*/ 963291 h 976639"/>
                      <a:gd name="connsiteX35" fmla="*/ 608398 w 982797"/>
                      <a:gd name="connsiteY35" fmla="*/ 963291 h 976639"/>
                      <a:gd name="connsiteX36" fmla="*/ 548227 w 982797"/>
                      <a:gd name="connsiteY36" fmla="*/ 874303 h 976639"/>
                      <a:gd name="connsiteX37" fmla="*/ 543770 w 982797"/>
                      <a:gd name="connsiteY37" fmla="*/ 869854 h 976639"/>
                      <a:gd name="connsiteX38" fmla="*/ 501427 w 982797"/>
                      <a:gd name="connsiteY38" fmla="*/ 874303 h 976639"/>
                      <a:gd name="connsiteX39" fmla="*/ 494741 w 982797"/>
                      <a:gd name="connsiteY39" fmla="*/ 876528 h 976639"/>
                      <a:gd name="connsiteX40" fmla="*/ 450170 w 982797"/>
                      <a:gd name="connsiteY40" fmla="*/ 974414 h 976639"/>
                      <a:gd name="connsiteX41" fmla="*/ 445713 w 982797"/>
                      <a:gd name="connsiteY41" fmla="*/ 976639 h 976639"/>
                      <a:gd name="connsiteX42" fmla="*/ 356570 w 982797"/>
                      <a:gd name="connsiteY42" fmla="*/ 958842 h 976639"/>
                      <a:gd name="connsiteX43" fmla="*/ 352113 w 982797"/>
                      <a:gd name="connsiteY43" fmla="*/ 956617 h 976639"/>
                      <a:gd name="connsiteX44" fmla="*/ 347656 w 982797"/>
                      <a:gd name="connsiteY44" fmla="*/ 847607 h 976639"/>
                      <a:gd name="connsiteX45" fmla="*/ 340970 w 982797"/>
                      <a:gd name="connsiteY45" fmla="*/ 843158 h 976639"/>
                      <a:gd name="connsiteX46" fmla="*/ 305313 w 982797"/>
                      <a:gd name="connsiteY46" fmla="*/ 825360 h 976639"/>
                      <a:gd name="connsiteX47" fmla="*/ 296399 w 982797"/>
                      <a:gd name="connsiteY47" fmla="*/ 825360 h 976639"/>
                      <a:gd name="connsiteX48" fmla="*/ 211713 w 982797"/>
                      <a:gd name="connsiteY48" fmla="*/ 887652 h 976639"/>
                      <a:gd name="connsiteX49" fmla="*/ 205028 w 982797"/>
                      <a:gd name="connsiteY49" fmla="*/ 887652 h 976639"/>
                      <a:gd name="connsiteX50" fmla="*/ 138171 w 982797"/>
                      <a:gd name="connsiteY50" fmla="*/ 829810 h 976639"/>
                      <a:gd name="connsiteX51" fmla="*/ 135942 w 982797"/>
                      <a:gd name="connsiteY51" fmla="*/ 823135 h 976639"/>
                      <a:gd name="connsiteX52" fmla="*/ 182742 w 982797"/>
                      <a:gd name="connsiteY52" fmla="*/ 725249 h 976639"/>
                      <a:gd name="connsiteX53" fmla="*/ 182742 w 982797"/>
                      <a:gd name="connsiteY53" fmla="*/ 720800 h 976639"/>
                      <a:gd name="connsiteX54" fmla="*/ 160457 w 982797"/>
                      <a:gd name="connsiteY54" fmla="*/ 687429 h 976639"/>
                      <a:gd name="connsiteX55" fmla="*/ 153771 w 982797"/>
                      <a:gd name="connsiteY55" fmla="*/ 685205 h 976639"/>
                      <a:gd name="connsiteX56" fmla="*/ 49028 w 982797"/>
                      <a:gd name="connsiteY56" fmla="*/ 696328 h 976639"/>
                      <a:gd name="connsiteX57" fmla="*/ 42343 w 982797"/>
                      <a:gd name="connsiteY57" fmla="*/ 691879 h 976639"/>
                      <a:gd name="connsiteX58" fmla="*/ 11143 w 982797"/>
                      <a:gd name="connsiteY58" fmla="*/ 609565 h 976639"/>
                      <a:gd name="connsiteX59" fmla="*/ 15600 w 982797"/>
                      <a:gd name="connsiteY59" fmla="*/ 602891 h 976639"/>
                      <a:gd name="connsiteX60" fmla="*/ 104742 w 982797"/>
                      <a:gd name="connsiteY60" fmla="*/ 542824 h 976639"/>
                      <a:gd name="connsiteX61" fmla="*/ 106971 w 982797"/>
                      <a:gd name="connsiteY61" fmla="*/ 536150 h 976639"/>
                      <a:gd name="connsiteX62" fmla="*/ 104742 w 982797"/>
                      <a:gd name="connsiteY62" fmla="*/ 496106 h 976639"/>
                      <a:gd name="connsiteX63" fmla="*/ 102514 w 982797"/>
                      <a:gd name="connsiteY63" fmla="*/ 489432 h 976639"/>
                      <a:gd name="connsiteX64" fmla="*/ 4457 w 982797"/>
                      <a:gd name="connsiteY64" fmla="*/ 444938 h 976639"/>
                      <a:gd name="connsiteX65" fmla="*/ 0 w 982797"/>
                      <a:gd name="connsiteY65" fmla="*/ 440489 h 976639"/>
                      <a:gd name="connsiteX66" fmla="*/ 15600 w 982797"/>
                      <a:gd name="connsiteY66" fmla="*/ 353726 h 976639"/>
                      <a:gd name="connsiteX67" fmla="*/ 20057 w 982797"/>
                      <a:gd name="connsiteY67" fmla="*/ 351501 h 976639"/>
                      <a:gd name="connsiteX68" fmla="*/ 129257 w 982797"/>
                      <a:gd name="connsiteY68" fmla="*/ 342602 h 976639"/>
                      <a:gd name="connsiteX69" fmla="*/ 135942 w 982797"/>
                      <a:gd name="connsiteY69" fmla="*/ 340377 h 976639"/>
                      <a:gd name="connsiteX70" fmla="*/ 151542 w 982797"/>
                      <a:gd name="connsiteY70" fmla="*/ 302558 h 976639"/>
                      <a:gd name="connsiteX71" fmla="*/ 151542 w 982797"/>
                      <a:gd name="connsiteY71" fmla="*/ 295884 h 976639"/>
                      <a:gd name="connsiteX72" fmla="*/ 91371 w 982797"/>
                      <a:gd name="connsiteY72" fmla="*/ 209121 h 976639"/>
                      <a:gd name="connsiteX73" fmla="*/ 91371 w 982797"/>
                      <a:gd name="connsiteY73" fmla="*/ 200222 h 976639"/>
                      <a:gd name="connsiteX74" fmla="*/ 147085 w 982797"/>
                      <a:gd name="connsiteY74" fmla="*/ 133481 h 976639"/>
                      <a:gd name="connsiteX75" fmla="*/ 153771 w 982797"/>
                      <a:gd name="connsiteY75" fmla="*/ 133481 h 976639"/>
                      <a:gd name="connsiteX76" fmla="*/ 249599 w 982797"/>
                      <a:gd name="connsiteY76" fmla="*/ 180200 h 976639"/>
                      <a:gd name="connsiteX77" fmla="*/ 256285 w 982797"/>
                      <a:gd name="connsiteY77" fmla="*/ 180200 h 976639"/>
                      <a:gd name="connsiteX78" fmla="*/ 289713 w 982797"/>
                      <a:gd name="connsiteY78" fmla="*/ 157953 h 976639"/>
                      <a:gd name="connsiteX79" fmla="*/ 283027 w 982797"/>
                      <a:gd name="connsiteY79" fmla="*/ 44493 h 976639"/>
                      <a:gd name="connsiteX80" fmla="*/ 369942 w 982797"/>
                      <a:gd name="connsiteY80" fmla="*/ 11123 h 976639"/>
                      <a:gd name="connsiteX81" fmla="*/ 439027 w 982797"/>
                      <a:gd name="connsiteY81" fmla="*/ 106785 h 976639"/>
                      <a:gd name="connsiteX82" fmla="*/ 481370 w 982797"/>
                      <a:gd name="connsiteY82" fmla="*/ 102335 h 976639"/>
                      <a:gd name="connsiteX83" fmla="*/ 532627 w 982797"/>
                      <a:gd name="connsiteY8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5768 w 982797"/>
                      <a:gd name="connsiteY19" fmla="*/ 631812 h 976639"/>
                      <a:gd name="connsiteX20" fmla="*/ 851311 w 982797"/>
                      <a:gd name="connsiteY20" fmla="*/ 634037 h 976639"/>
                      <a:gd name="connsiteX21" fmla="*/ 831254 w 982797"/>
                      <a:gd name="connsiteY21" fmla="*/ 674081 h 976639"/>
                      <a:gd name="connsiteX22" fmla="*/ 831254 w 982797"/>
                      <a:gd name="connsiteY22" fmla="*/ 678531 h 976639"/>
                      <a:gd name="connsiteX23" fmla="*/ 895883 w 982797"/>
                      <a:gd name="connsiteY23" fmla="*/ 767518 h 976639"/>
                      <a:gd name="connsiteX24" fmla="*/ 895883 w 982797"/>
                      <a:gd name="connsiteY24" fmla="*/ 774192 h 976639"/>
                      <a:gd name="connsiteX25" fmla="*/ 835711 w 982797"/>
                      <a:gd name="connsiteY25" fmla="*/ 840933 h 976639"/>
                      <a:gd name="connsiteX26" fmla="*/ 831254 w 982797"/>
                      <a:gd name="connsiteY26" fmla="*/ 840933 h 976639"/>
                      <a:gd name="connsiteX27" fmla="*/ 733197 w 982797"/>
                      <a:gd name="connsiteY27" fmla="*/ 791990 h 976639"/>
                      <a:gd name="connsiteX28" fmla="*/ 728740 w 982797"/>
                      <a:gd name="connsiteY28" fmla="*/ 791990 h 976639"/>
                      <a:gd name="connsiteX29" fmla="*/ 695312 w 982797"/>
                      <a:gd name="connsiteY29" fmla="*/ 814237 h 976639"/>
                      <a:gd name="connsiteX30" fmla="*/ 690855 w 982797"/>
                      <a:gd name="connsiteY30" fmla="*/ 823135 h 976639"/>
                      <a:gd name="connsiteX31" fmla="*/ 701998 w 982797"/>
                      <a:gd name="connsiteY31" fmla="*/ 929921 h 976639"/>
                      <a:gd name="connsiteX32" fmla="*/ 697540 w 982797"/>
                      <a:gd name="connsiteY32" fmla="*/ 934370 h 976639"/>
                      <a:gd name="connsiteX33" fmla="*/ 612855 w 982797"/>
                      <a:gd name="connsiteY33" fmla="*/ 963291 h 976639"/>
                      <a:gd name="connsiteX34" fmla="*/ 608398 w 982797"/>
                      <a:gd name="connsiteY34" fmla="*/ 963291 h 976639"/>
                      <a:gd name="connsiteX35" fmla="*/ 548227 w 982797"/>
                      <a:gd name="connsiteY35" fmla="*/ 874303 h 976639"/>
                      <a:gd name="connsiteX36" fmla="*/ 543770 w 982797"/>
                      <a:gd name="connsiteY36" fmla="*/ 869854 h 976639"/>
                      <a:gd name="connsiteX37" fmla="*/ 501427 w 982797"/>
                      <a:gd name="connsiteY37" fmla="*/ 874303 h 976639"/>
                      <a:gd name="connsiteX38" fmla="*/ 494741 w 982797"/>
                      <a:gd name="connsiteY38" fmla="*/ 876528 h 976639"/>
                      <a:gd name="connsiteX39" fmla="*/ 450170 w 982797"/>
                      <a:gd name="connsiteY39" fmla="*/ 974414 h 976639"/>
                      <a:gd name="connsiteX40" fmla="*/ 445713 w 982797"/>
                      <a:gd name="connsiteY40" fmla="*/ 976639 h 976639"/>
                      <a:gd name="connsiteX41" fmla="*/ 356570 w 982797"/>
                      <a:gd name="connsiteY41" fmla="*/ 958842 h 976639"/>
                      <a:gd name="connsiteX42" fmla="*/ 352113 w 982797"/>
                      <a:gd name="connsiteY42" fmla="*/ 956617 h 976639"/>
                      <a:gd name="connsiteX43" fmla="*/ 347656 w 982797"/>
                      <a:gd name="connsiteY43" fmla="*/ 847607 h 976639"/>
                      <a:gd name="connsiteX44" fmla="*/ 340970 w 982797"/>
                      <a:gd name="connsiteY44" fmla="*/ 843158 h 976639"/>
                      <a:gd name="connsiteX45" fmla="*/ 305313 w 982797"/>
                      <a:gd name="connsiteY45" fmla="*/ 825360 h 976639"/>
                      <a:gd name="connsiteX46" fmla="*/ 296399 w 982797"/>
                      <a:gd name="connsiteY46" fmla="*/ 825360 h 976639"/>
                      <a:gd name="connsiteX47" fmla="*/ 211713 w 982797"/>
                      <a:gd name="connsiteY47" fmla="*/ 887652 h 976639"/>
                      <a:gd name="connsiteX48" fmla="*/ 205028 w 982797"/>
                      <a:gd name="connsiteY48" fmla="*/ 887652 h 976639"/>
                      <a:gd name="connsiteX49" fmla="*/ 138171 w 982797"/>
                      <a:gd name="connsiteY49" fmla="*/ 829810 h 976639"/>
                      <a:gd name="connsiteX50" fmla="*/ 135942 w 982797"/>
                      <a:gd name="connsiteY50" fmla="*/ 823135 h 976639"/>
                      <a:gd name="connsiteX51" fmla="*/ 182742 w 982797"/>
                      <a:gd name="connsiteY51" fmla="*/ 725249 h 976639"/>
                      <a:gd name="connsiteX52" fmla="*/ 182742 w 982797"/>
                      <a:gd name="connsiteY52" fmla="*/ 720800 h 976639"/>
                      <a:gd name="connsiteX53" fmla="*/ 160457 w 982797"/>
                      <a:gd name="connsiteY53" fmla="*/ 687429 h 976639"/>
                      <a:gd name="connsiteX54" fmla="*/ 153771 w 982797"/>
                      <a:gd name="connsiteY54" fmla="*/ 685205 h 976639"/>
                      <a:gd name="connsiteX55" fmla="*/ 49028 w 982797"/>
                      <a:gd name="connsiteY55" fmla="*/ 696328 h 976639"/>
                      <a:gd name="connsiteX56" fmla="*/ 42343 w 982797"/>
                      <a:gd name="connsiteY56" fmla="*/ 691879 h 976639"/>
                      <a:gd name="connsiteX57" fmla="*/ 11143 w 982797"/>
                      <a:gd name="connsiteY57" fmla="*/ 609565 h 976639"/>
                      <a:gd name="connsiteX58" fmla="*/ 15600 w 982797"/>
                      <a:gd name="connsiteY58" fmla="*/ 602891 h 976639"/>
                      <a:gd name="connsiteX59" fmla="*/ 104742 w 982797"/>
                      <a:gd name="connsiteY59" fmla="*/ 542824 h 976639"/>
                      <a:gd name="connsiteX60" fmla="*/ 106971 w 982797"/>
                      <a:gd name="connsiteY60" fmla="*/ 536150 h 976639"/>
                      <a:gd name="connsiteX61" fmla="*/ 104742 w 982797"/>
                      <a:gd name="connsiteY61" fmla="*/ 496106 h 976639"/>
                      <a:gd name="connsiteX62" fmla="*/ 102514 w 982797"/>
                      <a:gd name="connsiteY62" fmla="*/ 489432 h 976639"/>
                      <a:gd name="connsiteX63" fmla="*/ 4457 w 982797"/>
                      <a:gd name="connsiteY63" fmla="*/ 444938 h 976639"/>
                      <a:gd name="connsiteX64" fmla="*/ 0 w 982797"/>
                      <a:gd name="connsiteY64" fmla="*/ 440489 h 976639"/>
                      <a:gd name="connsiteX65" fmla="*/ 15600 w 982797"/>
                      <a:gd name="connsiteY65" fmla="*/ 353726 h 976639"/>
                      <a:gd name="connsiteX66" fmla="*/ 20057 w 982797"/>
                      <a:gd name="connsiteY66" fmla="*/ 351501 h 976639"/>
                      <a:gd name="connsiteX67" fmla="*/ 129257 w 982797"/>
                      <a:gd name="connsiteY67" fmla="*/ 342602 h 976639"/>
                      <a:gd name="connsiteX68" fmla="*/ 135942 w 982797"/>
                      <a:gd name="connsiteY68" fmla="*/ 340377 h 976639"/>
                      <a:gd name="connsiteX69" fmla="*/ 151542 w 982797"/>
                      <a:gd name="connsiteY69" fmla="*/ 302558 h 976639"/>
                      <a:gd name="connsiteX70" fmla="*/ 151542 w 982797"/>
                      <a:gd name="connsiteY70" fmla="*/ 295884 h 976639"/>
                      <a:gd name="connsiteX71" fmla="*/ 91371 w 982797"/>
                      <a:gd name="connsiteY71" fmla="*/ 209121 h 976639"/>
                      <a:gd name="connsiteX72" fmla="*/ 91371 w 982797"/>
                      <a:gd name="connsiteY72" fmla="*/ 200222 h 976639"/>
                      <a:gd name="connsiteX73" fmla="*/ 147085 w 982797"/>
                      <a:gd name="connsiteY73" fmla="*/ 133481 h 976639"/>
                      <a:gd name="connsiteX74" fmla="*/ 153771 w 982797"/>
                      <a:gd name="connsiteY74" fmla="*/ 133481 h 976639"/>
                      <a:gd name="connsiteX75" fmla="*/ 249599 w 982797"/>
                      <a:gd name="connsiteY75" fmla="*/ 180200 h 976639"/>
                      <a:gd name="connsiteX76" fmla="*/ 256285 w 982797"/>
                      <a:gd name="connsiteY76" fmla="*/ 180200 h 976639"/>
                      <a:gd name="connsiteX77" fmla="*/ 289713 w 982797"/>
                      <a:gd name="connsiteY77" fmla="*/ 157953 h 976639"/>
                      <a:gd name="connsiteX78" fmla="*/ 283027 w 982797"/>
                      <a:gd name="connsiteY78" fmla="*/ 44493 h 976639"/>
                      <a:gd name="connsiteX79" fmla="*/ 369942 w 982797"/>
                      <a:gd name="connsiteY79" fmla="*/ 11123 h 976639"/>
                      <a:gd name="connsiteX80" fmla="*/ 439027 w 982797"/>
                      <a:gd name="connsiteY80" fmla="*/ 106785 h 976639"/>
                      <a:gd name="connsiteX81" fmla="*/ 481370 w 982797"/>
                      <a:gd name="connsiteY81" fmla="*/ 102335 h 976639"/>
                      <a:gd name="connsiteX82" fmla="*/ 532627 w 982797"/>
                      <a:gd name="connsiteY8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31254 w 982797"/>
                      <a:gd name="connsiteY21" fmla="*/ 678531 h 976639"/>
                      <a:gd name="connsiteX22" fmla="*/ 895883 w 982797"/>
                      <a:gd name="connsiteY22" fmla="*/ 767518 h 976639"/>
                      <a:gd name="connsiteX23" fmla="*/ 895883 w 982797"/>
                      <a:gd name="connsiteY23" fmla="*/ 774192 h 976639"/>
                      <a:gd name="connsiteX24" fmla="*/ 835711 w 982797"/>
                      <a:gd name="connsiteY24" fmla="*/ 840933 h 976639"/>
                      <a:gd name="connsiteX25" fmla="*/ 831254 w 982797"/>
                      <a:gd name="connsiteY25" fmla="*/ 840933 h 976639"/>
                      <a:gd name="connsiteX26" fmla="*/ 733197 w 982797"/>
                      <a:gd name="connsiteY26" fmla="*/ 791990 h 976639"/>
                      <a:gd name="connsiteX27" fmla="*/ 728740 w 982797"/>
                      <a:gd name="connsiteY27" fmla="*/ 791990 h 976639"/>
                      <a:gd name="connsiteX28" fmla="*/ 695312 w 982797"/>
                      <a:gd name="connsiteY28" fmla="*/ 814237 h 976639"/>
                      <a:gd name="connsiteX29" fmla="*/ 690855 w 982797"/>
                      <a:gd name="connsiteY29" fmla="*/ 823135 h 976639"/>
                      <a:gd name="connsiteX30" fmla="*/ 701998 w 982797"/>
                      <a:gd name="connsiteY30" fmla="*/ 929921 h 976639"/>
                      <a:gd name="connsiteX31" fmla="*/ 697540 w 982797"/>
                      <a:gd name="connsiteY31" fmla="*/ 934370 h 976639"/>
                      <a:gd name="connsiteX32" fmla="*/ 612855 w 982797"/>
                      <a:gd name="connsiteY32" fmla="*/ 963291 h 976639"/>
                      <a:gd name="connsiteX33" fmla="*/ 608398 w 982797"/>
                      <a:gd name="connsiteY33" fmla="*/ 963291 h 976639"/>
                      <a:gd name="connsiteX34" fmla="*/ 548227 w 982797"/>
                      <a:gd name="connsiteY34" fmla="*/ 874303 h 976639"/>
                      <a:gd name="connsiteX35" fmla="*/ 543770 w 982797"/>
                      <a:gd name="connsiteY35" fmla="*/ 869854 h 976639"/>
                      <a:gd name="connsiteX36" fmla="*/ 501427 w 982797"/>
                      <a:gd name="connsiteY36" fmla="*/ 874303 h 976639"/>
                      <a:gd name="connsiteX37" fmla="*/ 494741 w 982797"/>
                      <a:gd name="connsiteY37" fmla="*/ 876528 h 976639"/>
                      <a:gd name="connsiteX38" fmla="*/ 450170 w 982797"/>
                      <a:gd name="connsiteY38" fmla="*/ 974414 h 976639"/>
                      <a:gd name="connsiteX39" fmla="*/ 445713 w 982797"/>
                      <a:gd name="connsiteY39" fmla="*/ 976639 h 976639"/>
                      <a:gd name="connsiteX40" fmla="*/ 356570 w 982797"/>
                      <a:gd name="connsiteY40" fmla="*/ 958842 h 976639"/>
                      <a:gd name="connsiteX41" fmla="*/ 352113 w 982797"/>
                      <a:gd name="connsiteY41" fmla="*/ 956617 h 976639"/>
                      <a:gd name="connsiteX42" fmla="*/ 347656 w 982797"/>
                      <a:gd name="connsiteY42" fmla="*/ 847607 h 976639"/>
                      <a:gd name="connsiteX43" fmla="*/ 340970 w 982797"/>
                      <a:gd name="connsiteY43" fmla="*/ 843158 h 976639"/>
                      <a:gd name="connsiteX44" fmla="*/ 305313 w 982797"/>
                      <a:gd name="connsiteY44" fmla="*/ 825360 h 976639"/>
                      <a:gd name="connsiteX45" fmla="*/ 296399 w 982797"/>
                      <a:gd name="connsiteY45" fmla="*/ 825360 h 976639"/>
                      <a:gd name="connsiteX46" fmla="*/ 211713 w 982797"/>
                      <a:gd name="connsiteY46" fmla="*/ 887652 h 976639"/>
                      <a:gd name="connsiteX47" fmla="*/ 205028 w 982797"/>
                      <a:gd name="connsiteY47" fmla="*/ 887652 h 976639"/>
                      <a:gd name="connsiteX48" fmla="*/ 138171 w 982797"/>
                      <a:gd name="connsiteY48" fmla="*/ 829810 h 976639"/>
                      <a:gd name="connsiteX49" fmla="*/ 135942 w 982797"/>
                      <a:gd name="connsiteY49" fmla="*/ 823135 h 976639"/>
                      <a:gd name="connsiteX50" fmla="*/ 182742 w 982797"/>
                      <a:gd name="connsiteY50" fmla="*/ 725249 h 976639"/>
                      <a:gd name="connsiteX51" fmla="*/ 182742 w 982797"/>
                      <a:gd name="connsiteY51" fmla="*/ 720800 h 976639"/>
                      <a:gd name="connsiteX52" fmla="*/ 160457 w 982797"/>
                      <a:gd name="connsiteY52" fmla="*/ 687429 h 976639"/>
                      <a:gd name="connsiteX53" fmla="*/ 153771 w 982797"/>
                      <a:gd name="connsiteY53" fmla="*/ 685205 h 976639"/>
                      <a:gd name="connsiteX54" fmla="*/ 49028 w 982797"/>
                      <a:gd name="connsiteY54" fmla="*/ 696328 h 976639"/>
                      <a:gd name="connsiteX55" fmla="*/ 42343 w 982797"/>
                      <a:gd name="connsiteY55" fmla="*/ 691879 h 976639"/>
                      <a:gd name="connsiteX56" fmla="*/ 11143 w 982797"/>
                      <a:gd name="connsiteY56" fmla="*/ 609565 h 976639"/>
                      <a:gd name="connsiteX57" fmla="*/ 15600 w 982797"/>
                      <a:gd name="connsiteY57" fmla="*/ 602891 h 976639"/>
                      <a:gd name="connsiteX58" fmla="*/ 104742 w 982797"/>
                      <a:gd name="connsiteY58" fmla="*/ 542824 h 976639"/>
                      <a:gd name="connsiteX59" fmla="*/ 106971 w 982797"/>
                      <a:gd name="connsiteY59" fmla="*/ 536150 h 976639"/>
                      <a:gd name="connsiteX60" fmla="*/ 104742 w 982797"/>
                      <a:gd name="connsiteY60" fmla="*/ 496106 h 976639"/>
                      <a:gd name="connsiteX61" fmla="*/ 102514 w 982797"/>
                      <a:gd name="connsiteY61" fmla="*/ 489432 h 976639"/>
                      <a:gd name="connsiteX62" fmla="*/ 4457 w 982797"/>
                      <a:gd name="connsiteY62" fmla="*/ 444938 h 976639"/>
                      <a:gd name="connsiteX63" fmla="*/ 0 w 982797"/>
                      <a:gd name="connsiteY63" fmla="*/ 440489 h 976639"/>
                      <a:gd name="connsiteX64" fmla="*/ 15600 w 982797"/>
                      <a:gd name="connsiteY64" fmla="*/ 353726 h 976639"/>
                      <a:gd name="connsiteX65" fmla="*/ 20057 w 982797"/>
                      <a:gd name="connsiteY65" fmla="*/ 351501 h 976639"/>
                      <a:gd name="connsiteX66" fmla="*/ 129257 w 982797"/>
                      <a:gd name="connsiteY66" fmla="*/ 342602 h 976639"/>
                      <a:gd name="connsiteX67" fmla="*/ 135942 w 982797"/>
                      <a:gd name="connsiteY67" fmla="*/ 340377 h 976639"/>
                      <a:gd name="connsiteX68" fmla="*/ 151542 w 982797"/>
                      <a:gd name="connsiteY68" fmla="*/ 302558 h 976639"/>
                      <a:gd name="connsiteX69" fmla="*/ 151542 w 982797"/>
                      <a:gd name="connsiteY69" fmla="*/ 295884 h 976639"/>
                      <a:gd name="connsiteX70" fmla="*/ 91371 w 982797"/>
                      <a:gd name="connsiteY70" fmla="*/ 209121 h 976639"/>
                      <a:gd name="connsiteX71" fmla="*/ 91371 w 982797"/>
                      <a:gd name="connsiteY71" fmla="*/ 200222 h 976639"/>
                      <a:gd name="connsiteX72" fmla="*/ 147085 w 982797"/>
                      <a:gd name="connsiteY72" fmla="*/ 133481 h 976639"/>
                      <a:gd name="connsiteX73" fmla="*/ 153771 w 982797"/>
                      <a:gd name="connsiteY73" fmla="*/ 133481 h 976639"/>
                      <a:gd name="connsiteX74" fmla="*/ 249599 w 982797"/>
                      <a:gd name="connsiteY74" fmla="*/ 180200 h 976639"/>
                      <a:gd name="connsiteX75" fmla="*/ 256285 w 982797"/>
                      <a:gd name="connsiteY75" fmla="*/ 180200 h 976639"/>
                      <a:gd name="connsiteX76" fmla="*/ 289713 w 982797"/>
                      <a:gd name="connsiteY76" fmla="*/ 157953 h 976639"/>
                      <a:gd name="connsiteX77" fmla="*/ 283027 w 982797"/>
                      <a:gd name="connsiteY77" fmla="*/ 44493 h 976639"/>
                      <a:gd name="connsiteX78" fmla="*/ 369942 w 982797"/>
                      <a:gd name="connsiteY78" fmla="*/ 11123 h 976639"/>
                      <a:gd name="connsiteX79" fmla="*/ 439027 w 982797"/>
                      <a:gd name="connsiteY79" fmla="*/ 106785 h 976639"/>
                      <a:gd name="connsiteX80" fmla="*/ 481370 w 982797"/>
                      <a:gd name="connsiteY80" fmla="*/ 102335 h 976639"/>
                      <a:gd name="connsiteX81" fmla="*/ 532627 w 982797"/>
                      <a:gd name="connsiteY8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67518 h 976639"/>
                      <a:gd name="connsiteX22" fmla="*/ 895883 w 982797"/>
                      <a:gd name="connsiteY22" fmla="*/ 774192 h 976639"/>
                      <a:gd name="connsiteX23" fmla="*/ 835711 w 982797"/>
                      <a:gd name="connsiteY23" fmla="*/ 840933 h 976639"/>
                      <a:gd name="connsiteX24" fmla="*/ 831254 w 982797"/>
                      <a:gd name="connsiteY24" fmla="*/ 840933 h 976639"/>
                      <a:gd name="connsiteX25" fmla="*/ 733197 w 982797"/>
                      <a:gd name="connsiteY25" fmla="*/ 791990 h 976639"/>
                      <a:gd name="connsiteX26" fmla="*/ 728740 w 982797"/>
                      <a:gd name="connsiteY26" fmla="*/ 791990 h 976639"/>
                      <a:gd name="connsiteX27" fmla="*/ 695312 w 982797"/>
                      <a:gd name="connsiteY27" fmla="*/ 814237 h 976639"/>
                      <a:gd name="connsiteX28" fmla="*/ 690855 w 982797"/>
                      <a:gd name="connsiteY28" fmla="*/ 823135 h 976639"/>
                      <a:gd name="connsiteX29" fmla="*/ 701998 w 982797"/>
                      <a:gd name="connsiteY29" fmla="*/ 929921 h 976639"/>
                      <a:gd name="connsiteX30" fmla="*/ 697540 w 982797"/>
                      <a:gd name="connsiteY30" fmla="*/ 934370 h 976639"/>
                      <a:gd name="connsiteX31" fmla="*/ 612855 w 982797"/>
                      <a:gd name="connsiteY31" fmla="*/ 963291 h 976639"/>
                      <a:gd name="connsiteX32" fmla="*/ 608398 w 982797"/>
                      <a:gd name="connsiteY32" fmla="*/ 963291 h 976639"/>
                      <a:gd name="connsiteX33" fmla="*/ 548227 w 982797"/>
                      <a:gd name="connsiteY33" fmla="*/ 874303 h 976639"/>
                      <a:gd name="connsiteX34" fmla="*/ 543770 w 982797"/>
                      <a:gd name="connsiteY34" fmla="*/ 869854 h 976639"/>
                      <a:gd name="connsiteX35" fmla="*/ 501427 w 982797"/>
                      <a:gd name="connsiteY35" fmla="*/ 874303 h 976639"/>
                      <a:gd name="connsiteX36" fmla="*/ 494741 w 982797"/>
                      <a:gd name="connsiteY36" fmla="*/ 876528 h 976639"/>
                      <a:gd name="connsiteX37" fmla="*/ 450170 w 982797"/>
                      <a:gd name="connsiteY37" fmla="*/ 974414 h 976639"/>
                      <a:gd name="connsiteX38" fmla="*/ 445713 w 982797"/>
                      <a:gd name="connsiteY38" fmla="*/ 976639 h 976639"/>
                      <a:gd name="connsiteX39" fmla="*/ 356570 w 982797"/>
                      <a:gd name="connsiteY39" fmla="*/ 958842 h 976639"/>
                      <a:gd name="connsiteX40" fmla="*/ 352113 w 982797"/>
                      <a:gd name="connsiteY40" fmla="*/ 956617 h 976639"/>
                      <a:gd name="connsiteX41" fmla="*/ 347656 w 982797"/>
                      <a:gd name="connsiteY41" fmla="*/ 847607 h 976639"/>
                      <a:gd name="connsiteX42" fmla="*/ 340970 w 982797"/>
                      <a:gd name="connsiteY42" fmla="*/ 843158 h 976639"/>
                      <a:gd name="connsiteX43" fmla="*/ 305313 w 982797"/>
                      <a:gd name="connsiteY43" fmla="*/ 825360 h 976639"/>
                      <a:gd name="connsiteX44" fmla="*/ 296399 w 982797"/>
                      <a:gd name="connsiteY44" fmla="*/ 825360 h 976639"/>
                      <a:gd name="connsiteX45" fmla="*/ 211713 w 982797"/>
                      <a:gd name="connsiteY45" fmla="*/ 887652 h 976639"/>
                      <a:gd name="connsiteX46" fmla="*/ 205028 w 982797"/>
                      <a:gd name="connsiteY46" fmla="*/ 887652 h 976639"/>
                      <a:gd name="connsiteX47" fmla="*/ 138171 w 982797"/>
                      <a:gd name="connsiteY47" fmla="*/ 829810 h 976639"/>
                      <a:gd name="connsiteX48" fmla="*/ 135942 w 982797"/>
                      <a:gd name="connsiteY48" fmla="*/ 823135 h 976639"/>
                      <a:gd name="connsiteX49" fmla="*/ 182742 w 982797"/>
                      <a:gd name="connsiteY49" fmla="*/ 725249 h 976639"/>
                      <a:gd name="connsiteX50" fmla="*/ 182742 w 982797"/>
                      <a:gd name="connsiteY50" fmla="*/ 720800 h 976639"/>
                      <a:gd name="connsiteX51" fmla="*/ 160457 w 982797"/>
                      <a:gd name="connsiteY51" fmla="*/ 687429 h 976639"/>
                      <a:gd name="connsiteX52" fmla="*/ 153771 w 982797"/>
                      <a:gd name="connsiteY52" fmla="*/ 685205 h 976639"/>
                      <a:gd name="connsiteX53" fmla="*/ 49028 w 982797"/>
                      <a:gd name="connsiteY53" fmla="*/ 696328 h 976639"/>
                      <a:gd name="connsiteX54" fmla="*/ 42343 w 982797"/>
                      <a:gd name="connsiteY54" fmla="*/ 691879 h 976639"/>
                      <a:gd name="connsiteX55" fmla="*/ 11143 w 982797"/>
                      <a:gd name="connsiteY55" fmla="*/ 609565 h 976639"/>
                      <a:gd name="connsiteX56" fmla="*/ 15600 w 982797"/>
                      <a:gd name="connsiteY56" fmla="*/ 602891 h 976639"/>
                      <a:gd name="connsiteX57" fmla="*/ 104742 w 982797"/>
                      <a:gd name="connsiteY57" fmla="*/ 542824 h 976639"/>
                      <a:gd name="connsiteX58" fmla="*/ 106971 w 982797"/>
                      <a:gd name="connsiteY58" fmla="*/ 536150 h 976639"/>
                      <a:gd name="connsiteX59" fmla="*/ 104742 w 982797"/>
                      <a:gd name="connsiteY59" fmla="*/ 496106 h 976639"/>
                      <a:gd name="connsiteX60" fmla="*/ 102514 w 982797"/>
                      <a:gd name="connsiteY60" fmla="*/ 489432 h 976639"/>
                      <a:gd name="connsiteX61" fmla="*/ 4457 w 982797"/>
                      <a:gd name="connsiteY61" fmla="*/ 444938 h 976639"/>
                      <a:gd name="connsiteX62" fmla="*/ 0 w 982797"/>
                      <a:gd name="connsiteY62" fmla="*/ 440489 h 976639"/>
                      <a:gd name="connsiteX63" fmla="*/ 15600 w 982797"/>
                      <a:gd name="connsiteY63" fmla="*/ 353726 h 976639"/>
                      <a:gd name="connsiteX64" fmla="*/ 20057 w 982797"/>
                      <a:gd name="connsiteY64" fmla="*/ 351501 h 976639"/>
                      <a:gd name="connsiteX65" fmla="*/ 129257 w 982797"/>
                      <a:gd name="connsiteY65" fmla="*/ 342602 h 976639"/>
                      <a:gd name="connsiteX66" fmla="*/ 135942 w 982797"/>
                      <a:gd name="connsiteY66" fmla="*/ 340377 h 976639"/>
                      <a:gd name="connsiteX67" fmla="*/ 151542 w 982797"/>
                      <a:gd name="connsiteY67" fmla="*/ 302558 h 976639"/>
                      <a:gd name="connsiteX68" fmla="*/ 151542 w 982797"/>
                      <a:gd name="connsiteY68" fmla="*/ 295884 h 976639"/>
                      <a:gd name="connsiteX69" fmla="*/ 91371 w 982797"/>
                      <a:gd name="connsiteY69" fmla="*/ 209121 h 976639"/>
                      <a:gd name="connsiteX70" fmla="*/ 91371 w 982797"/>
                      <a:gd name="connsiteY70" fmla="*/ 200222 h 976639"/>
                      <a:gd name="connsiteX71" fmla="*/ 147085 w 982797"/>
                      <a:gd name="connsiteY71" fmla="*/ 133481 h 976639"/>
                      <a:gd name="connsiteX72" fmla="*/ 153771 w 982797"/>
                      <a:gd name="connsiteY72" fmla="*/ 133481 h 976639"/>
                      <a:gd name="connsiteX73" fmla="*/ 249599 w 982797"/>
                      <a:gd name="connsiteY73" fmla="*/ 180200 h 976639"/>
                      <a:gd name="connsiteX74" fmla="*/ 256285 w 982797"/>
                      <a:gd name="connsiteY74" fmla="*/ 180200 h 976639"/>
                      <a:gd name="connsiteX75" fmla="*/ 289713 w 982797"/>
                      <a:gd name="connsiteY75" fmla="*/ 157953 h 976639"/>
                      <a:gd name="connsiteX76" fmla="*/ 283027 w 982797"/>
                      <a:gd name="connsiteY76" fmla="*/ 44493 h 976639"/>
                      <a:gd name="connsiteX77" fmla="*/ 369942 w 982797"/>
                      <a:gd name="connsiteY77" fmla="*/ 11123 h 976639"/>
                      <a:gd name="connsiteX78" fmla="*/ 439027 w 982797"/>
                      <a:gd name="connsiteY78" fmla="*/ 106785 h 976639"/>
                      <a:gd name="connsiteX79" fmla="*/ 481370 w 982797"/>
                      <a:gd name="connsiteY79" fmla="*/ 102335 h 976639"/>
                      <a:gd name="connsiteX80" fmla="*/ 532627 w 982797"/>
                      <a:gd name="connsiteY80"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831254 w 982797"/>
                      <a:gd name="connsiteY23" fmla="*/ 840933 h 976639"/>
                      <a:gd name="connsiteX24" fmla="*/ 733197 w 982797"/>
                      <a:gd name="connsiteY24" fmla="*/ 791990 h 976639"/>
                      <a:gd name="connsiteX25" fmla="*/ 728740 w 982797"/>
                      <a:gd name="connsiteY25" fmla="*/ 791990 h 976639"/>
                      <a:gd name="connsiteX26" fmla="*/ 695312 w 982797"/>
                      <a:gd name="connsiteY26" fmla="*/ 814237 h 976639"/>
                      <a:gd name="connsiteX27" fmla="*/ 690855 w 982797"/>
                      <a:gd name="connsiteY27" fmla="*/ 823135 h 976639"/>
                      <a:gd name="connsiteX28" fmla="*/ 701998 w 982797"/>
                      <a:gd name="connsiteY28" fmla="*/ 929921 h 976639"/>
                      <a:gd name="connsiteX29" fmla="*/ 697540 w 982797"/>
                      <a:gd name="connsiteY29" fmla="*/ 934370 h 976639"/>
                      <a:gd name="connsiteX30" fmla="*/ 612855 w 982797"/>
                      <a:gd name="connsiteY30" fmla="*/ 963291 h 976639"/>
                      <a:gd name="connsiteX31" fmla="*/ 608398 w 982797"/>
                      <a:gd name="connsiteY31" fmla="*/ 963291 h 976639"/>
                      <a:gd name="connsiteX32" fmla="*/ 548227 w 982797"/>
                      <a:gd name="connsiteY32" fmla="*/ 874303 h 976639"/>
                      <a:gd name="connsiteX33" fmla="*/ 543770 w 982797"/>
                      <a:gd name="connsiteY33" fmla="*/ 869854 h 976639"/>
                      <a:gd name="connsiteX34" fmla="*/ 501427 w 982797"/>
                      <a:gd name="connsiteY34" fmla="*/ 874303 h 976639"/>
                      <a:gd name="connsiteX35" fmla="*/ 494741 w 982797"/>
                      <a:gd name="connsiteY35" fmla="*/ 876528 h 976639"/>
                      <a:gd name="connsiteX36" fmla="*/ 450170 w 982797"/>
                      <a:gd name="connsiteY36" fmla="*/ 974414 h 976639"/>
                      <a:gd name="connsiteX37" fmla="*/ 445713 w 982797"/>
                      <a:gd name="connsiteY37" fmla="*/ 976639 h 976639"/>
                      <a:gd name="connsiteX38" fmla="*/ 356570 w 982797"/>
                      <a:gd name="connsiteY38" fmla="*/ 958842 h 976639"/>
                      <a:gd name="connsiteX39" fmla="*/ 352113 w 982797"/>
                      <a:gd name="connsiteY39" fmla="*/ 956617 h 976639"/>
                      <a:gd name="connsiteX40" fmla="*/ 347656 w 982797"/>
                      <a:gd name="connsiteY40" fmla="*/ 847607 h 976639"/>
                      <a:gd name="connsiteX41" fmla="*/ 340970 w 982797"/>
                      <a:gd name="connsiteY41" fmla="*/ 843158 h 976639"/>
                      <a:gd name="connsiteX42" fmla="*/ 305313 w 982797"/>
                      <a:gd name="connsiteY42" fmla="*/ 825360 h 976639"/>
                      <a:gd name="connsiteX43" fmla="*/ 296399 w 982797"/>
                      <a:gd name="connsiteY43" fmla="*/ 825360 h 976639"/>
                      <a:gd name="connsiteX44" fmla="*/ 211713 w 982797"/>
                      <a:gd name="connsiteY44" fmla="*/ 887652 h 976639"/>
                      <a:gd name="connsiteX45" fmla="*/ 205028 w 982797"/>
                      <a:gd name="connsiteY45" fmla="*/ 887652 h 976639"/>
                      <a:gd name="connsiteX46" fmla="*/ 138171 w 982797"/>
                      <a:gd name="connsiteY46" fmla="*/ 829810 h 976639"/>
                      <a:gd name="connsiteX47" fmla="*/ 135942 w 982797"/>
                      <a:gd name="connsiteY47" fmla="*/ 823135 h 976639"/>
                      <a:gd name="connsiteX48" fmla="*/ 182742 w 982797"/>
                      <a:gd name="connsiteY48" fmla="*/ 725249 h 976639"/>
                      <a:gd name="connsiteX49" fmla="*/ 182742 w 982797"/>
                      <a:gd name="connsiteY49" fmla="*/ 720800 h 976639"/>
                      <a:gd name="connsiteX50" fmla="*/ 160457 w 982797"/>
                      <a:gd name="connsiteY50" fmla="*/ 687429 h 976639"/>
                      <a:gd name="connsiteX51" fmla="*/ 153771 w 982797"/>
                      <a:gd name="connsiteY51" fmla="*/ 685205 h 976639"/>
                      <a:gd name="connsiteX52" fmla="*/ 49028 w 982797"/>
                      <a:gd name="connsiteY52" fmla="*/ 696328 h 976639"/>
                      <a:gd name="connsiteX53" fmla="*/ 42343 w 982797"/>
                      <a:gd name="connsiteY53" fmla="*/ 691879 h 976639"/>
                      <a:gd name="connsiteX54" fmla="*/ 11143 w 982797"/>
                      <a:gd name="connsiteY54" fmla="*/ 609565 h 976639"/>
                      <a:gd name="connsiteX55" fmla="*/ 15600 w 982797"/>
                      <a:gd name="connsiteY55" fmla="*/ 602891 h 976639"/>
                      <a:gd name="connsiteX56" fmla="*/ 104742 w 982797"/>
                      <a:gd name="connsiteY56" fmla="*/ 542824 h 976639"/>
                      <a:gd name="connsiteX57" fmla="*/ 106971 w 982797"/>
                      <a:gd name="connsiteY57" fmla="*/ 536150 h 976639"/>
                      <a:gd name="connsiteX58" fmla="*/ 104742 w 982797"/>
                      <a:gd name="connsiteY58" fmla="*/ 496106 h 976639"/>
                      <a:gd name="connsiteX59" fmla="*/ 102514 w 982797"/>
                      <a:gd name="connsiteY59" fmla="*/ 489432 h 976639"/>
                      <a:gd name="connsiteX60" fmla="*/ 4457 w 982797"/>
                      <a:gd name="connsiteY60" fmla="*/ 444938 h 976639"/>
                      <a:gd name="connsiteX61" fmla="*/ 0 w 982797"/>
                      <a:gd name="connsiteY61" fmla="*/ 440489 h 976639"/>
                      <a:gd name="connsiteX62" fmla="*/ 15600 w 982797"/>
                      <a:gd name="connsiteY62" fmla="*/ 353726 h 976639"/>
                      <a:gd name="connsiteX63" fmla="*/ 20057 w 982797"/>
                      <a:gd name="connsiteY63" fmla="*/ 351501 h 976639"/>
                      <a:gd name="connsiteX64" fmla="*/ 129257 w 982797"/>
                      <a:gd name="connsiteY64" fmla="*/ 342602 h 976639"/>
                      <a:gd name="connsiteX65" fmla="*/ 135942 w 982797"/>
                      <a:gd name="connsiteY65" fmla="*/ 340377 h 976639"/>
                      <a:gd name="connsiteX66" fmla="*/ 151542 w 982797"/>
                      <a:gd name="connsiteY66" fmla="*/ 302558 h 976639"/>
                      <a:gd name="connsiteX67" fmla="*/ 151542 w 982797"/>
                      <a:gd name="connsiteY67" fmla="*/ 295884 h 976639"/>
                      <a:gd name="connsiteX68" fmla="*/ 91371 w 982797"/>
                      <a:gd name="connsiteY68" fmla="*/ 209121 h 976639"/>
                      <a:gd name="connsiteX69" fmla="*/ 91371 w 982797"/>
                      <a:gd name="connsiteY69" fmla="*/ 200222 h 976639"/>
                      <a:gd name="connsiteX70" fmla="*/ 147085 w 982797"/>
                      <a:gd name="connsiteY70" fmla="*/ 133481 h 976639"/>
                      <a:gd name="connsiteX71" fmla="*/ 153771 w 982797"/>
                      <a:gd name="connsiteY71" fmla="*/ 133481 h 976639"/>
                      <a:gd name="connsiteX72" fmla="*/ 249599 w 982797"/>
                      <a:gd name="connsiteY72" fmla="*/ 180200 h 976639"/>
                      <a:gd name="connsiteX73" fmla="*/ 256285 w 982797"/>
                      <a:gd name="connsiteY73" fmla="*/ 180200 h 976639"/>
                      <a:gd name="connsiteX74" fmla="*/ 289713 w 982797"/>
                      <a:gd name="connsiteY74" fmla="*/ 157953 h 976639"/>
                      <a:gd name="connsiteX75" fmla="*/ 283027 w 982797"/>
                      <a:gd name="connsiteY75" fmla="*/ 44493 h 976639"/>
                      <a:gd name="connsiteX76" fmla="*/ 369942 w 982797"/>
                      <a:gd name="connsiteY76" fmla="*/ 11123 h 976639"/>
                      <a:gd name="connsiteX77" fmla="*/ 439027 w 982797"/>
                      <a:gd name="connsiteY77" fmla="*/ 106785 h 976639"/>
                      <a:gd name="connsiteX78" fmla="*/ 481370 w 982797"/>
                      <a:gd name="connsiteY78" fmla="*/ 102335 h 976639"/>
                      <a:gd name="connsiteX79" fmla="*/ 532627 w 982797"/>
                      <a:gd name="connsiteY79"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33197 w 982797"/>
                      <a:gd name="connsiteY23" fmla="*/ 791990 h 976639"/>
                      <a:gd name="connsiteX24" fmla="*/ 728740 w 982797"/>
                      <a:gd name="connsiteY24" fmla="*/ 791990 h 976639"/>
                      <a:gd name="connsiteX25" fmla="*/ 695312 w 982797"/>
                      <a:gd name="connsiteY25" fmla="*/ 814237 h 976639"/>
                      <a:gd name="connsiteX26" fmla="*/ 690855 w 982797"/>
                      <a:gd name="connsiteY26" fmla="*/ 823135 h 976639"/>
                      <a:gd name="connsiteX27" fmla="*/ 701998 w 982797"/>
                      <a:gd name="connsiteY27" fmla="*/ 929921 h 976639"/>
                      <a:gd name="connsiteX28" fmla="*/ 697540 w 982797"/>
                      <a:gd name="connsiteY28" fmla="*/ 934370 h 976639"/>
                      <a:gd name="connsiteX29" fmla="*/ 612855 w 982797"/>
                      <a:gd name="connsiteY29" fmla="*/ 963291 h 976639"/>
                      <a:gd name="connsiteX30" fmla="*/ 608398 w 982797"/>
                      <a:gd name="connsiteY30" fmla="*/ 963291 h 976639"/>
                      <a:gd name="connsiteX31" fmla="*/ 548227 w 982797"/>
                      <a:gd name="connsiteY31" fmla="*/ 874303 h 976639"/>
                      <a:gd name="connsiteX32" fmla="*/ 543770 w 982797"/>
                      <a:gd name="connsiteY32" fmla="*/ 869854 h 976639"/>
                      <a:gd name="connsiteX33" fmla="*/ 501427 w 982797"/>
                      <a:gd name="connsiteY33" fmla="*/ 874303 h 976639"/>
                      <a:gd name="connsiteX34" fmla="*/ 494741 w 982797"/>
                      <a:gd name="connsiteY34" fmla="*/ 876528 h 976639"/>
                      <a:gd name="connsiteX35" fmla="*/ 450170 w 982797"/>
                      <a:gd name="connsiteY35" fmla="*/ 974414 h 976639"/>
                      <a:gd name="connsiteX36" fmla="*/ 445713 w 982797"/>
                      <a:gd name="connsiteY36" fmla="*/ 976639 h 976639"/>
                      <a:gd name="connsiteX37" fmla="*/ 356570 w 982797"/>
                      <a:gd name="connsiteY37" fmla="*/ 958842 h 976639"/>
                      <a:gd name="connsiteX38" fmla="*/ 352113 w 982797"/>
                      <a:gd name="connsiteY38" fmla="*/ 956617 h 976639"/>
                      <a:gd name="connsiteX39" fmla="*/ 347656 w 982797"/>
                      <a:gd name="connsiteY39" fmla="*/ 847607 h 976639"/>
                      <a:gd name="connsiteX40" fmla="*/ 340970 w 982797"/>
                      <a:gd name="connsiteY40" fmla="*/ 843158 h 976639"/>
                      <a:gd name="connsiteX41" fmla="*/ 305313 w 982797"/>
                      <a:gd name="connsiteY41" fmla="*/ 825360 h 976639"/>
                      <a:gd name="connsiteX42" fmla="*/ 296399 w 982797"/>
                      <a:gd name="connsiteY42" fmla="*/ 825360 h 976639"/>
                      <a:gd name="connsiteX43" fmla="*/ 211713 w 982797"/>
                      <a:gd name="connsiteY43" fmla="*/ 887652 h 976639"/>
                      <a:gd name="connsiteX44" fmla="*/ 205028 w 982797"/>
                      <a:gd name="connsiteY44" fmla="*/ 887652 h 976639"/>
                      <a:gd name="connsiteX45" fmla="*/ 138171 w 982797"/>
                      <a:gd name="connsiteY45" fmla="*/ 829810 h 976639"/>
                      <a:gd name="connsiteX46" fmla="*/ 135942 w 982797"/>
                      <a:gd name="connsiteY46" fmla="*/ 823135 h 976639"/>
                      <a:gd name="connsiteX47" fmla="*/ 182742 w 982797"/>
                      <a:gd name="connsiteY47" fmla="*/ 725249 h 976639"/>
                      <a:gd name="connsiteX48" fmla="*/ 182742 w 982797"/>
                      <a:gd name="connsiteY48" fmla="*/ 720800 h 976639"/>
                      <a:gd name="connsiteX49" fmla="*/ 160457 w 982797"/>
                      <a:gd name="connsiteY49" fmla="*/ 687429 h 976639"/>
                      <a:gd name="connsiteX50" fmla="*/ 153771 w 982797"/>
                      <a:gd name="connsiteY50" fmla="*/ 685205 h 976639"/>
                      <a:gd name="connsiteX51" fmla="*/ 49028 w 982797"/>
                      <a:gd name="connsiteY51" fmla="*/ 696328 h 976639"/>
                      <a:gd name="connsiteX52" fmla="*/ 42343 w 982797"/>
                      <a:gd name="connsiteY52" fmla="*/ 691879 h 976639"/>
                      <a:gd name="connsiteX53" fmla="*/ 11143 w 982797"/>
                      <a:gd name="connsiteY53" fmla="*/ 609565 h 976639"/>
                      <a:gd name="connsiteX54" fmla="*/ 15600 w 982797"/>
                      <a:gd name="connsiteY54" fmla="*/ 602891 h 976639"/>
                      <a:gd name="connsiteX55" fmla="*/ 104742 w 982797"/>
                      <a:gd name="connsiteY55" fmla="*/ 542824 h 976639"/>
                      <a:gd name="connsiteX56" fmla="*/ 106971 w 982797"/>
                      <a:gd name="connsiteY56" fmla="*/ 536150 h 976639"/>
                      <a:gd name="connsiteX57" fmla="*/ 104742 w 982797"/>
                      <a:gd name="connsiteY57" fmla="*/ 496106 h 976639"/>
                      <a:gd name="connsiteX58" fmla="*/ 102514 w 982797"/>
                      <a:gd name="connsiteY58" fmla="*/ 489432 h 976639"/>
                      <a:gd name="connsiteX59" fmla="*/ 4457 w 982797"/>
                      <a:gd name="connsiteY59" fmla="*/ 444938 h 976639"/>
                      <a:gd name="connsiteX60" fmla="*/ 0 w 982797"/>
                      <a:gd name="connsiteY60" fmla="*/ 440489 h 976639"/>
                      <a:gd name="connsiteX61" fmla="*/ 15600 w 982797"/>
                      <a:gd name="connsiteY61" fmla="*/ 353726 h 976639"/>
                      <a:gd name="connsiteX62" fmla="*/ 20057 w 982797"/>
                      <a:gd name="connsiteY62" fmla="*/ 351501 h 976639"/>
                      <a:gd name="connsiteX63" fmla="*/ 129257 w 982797"/>
                      <a:gd name="connsiteY63" fmla="*/ 342602 h 976639"/>
                      <a:gd name="connsiteX64" fmla="*/ 135942 w 982797"/>
                      <a:gd name="connsiteY64" fmla="*/ 340377 h 976639"/>
                      <a:gd name="connsiteX65" fmla="*/ 151542 w 982797"/>
                      <a:gd name="connsiteY65" fmla="*/ 302558 h 976639"/>
                      <a:gd name="connsiteX66" fmla="*/ 151542 w 982797"/>
                      <a:gd name="connsiteY66" fmla="*/ 295884 h 976639"/>
                      <a:gd name="connsiteX67" fmla="*/ 91371 w 982797"/>
                      <a:gd name="connsiteY67" fmla="*/ 209121 h 976639"/>
                      <a:gd name="connsiteX68" fmla="*/ 91371 w 982797"/>
                      <a:gd name="connsiteY68" fmla="*/ 200222 h 976639"/>
                      <a:gd name="connsiteX69" fmla="*/ 147085 w 982797"/>
                      <a:gd name="connsiteY69" fmla="*/ 133481 h 976639"/>
                      <a:gd name="connsiteX70" fmla="*/ 153771 w 982797"/>
                      <a:gd name="connsiteY70" fmla="*/ 133481 h 976639"/>
                      <a:gd name="connsiteX71" fmla="*/ 249599 w 982797"/>
                      <a:gd name="connsiteY71" fmla="*/ 180200 h 976639"/>
                      <a:gd name="connsiteX72" fmla="*/ 256285 w 982797"/>
                      <a:gd name="connsiteY72" fmla="*/ 180200 h 976639"/>
                      <a:gd name="connsiteX73" fmla="*/ 289713 w 982797"/>
                      <a:gd name="connsiteY73" fmla="*/ 157953 h 976639"/>
                      <a:gd name="connsiteX74" fmla="*/ 283027 w 982797"/>
                      <a:gd name="connsiteY74" fmla="*/ 44493 h 976639"/>
                      <a:gd name="connsiteX75" fmla="*/ 369942 w 982797"/>
                      <a:gd name="connsiteY75" fmla="*/ 11123 h 976639"/>
                      <a:gd name="connsiteX76" fmla="*/ 439027 w 982797"/>
                      <a:gd name="connsiteY76" fmla="*/ 106785 h 976639"/>
                      <a:gd name="connsiteX77" fmla="*/ 481370 w 982797"/>
                      <a:gd name="connsiteY77" fmla="*/ 102335 h 976639"/>
                      <a:gd name="connsiteX78" fmla="*/ 532627 w 982797"/>
                      <a:gd name="connsiteY78"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5312 w 982797"/>
                      <a:gd name="connsiteY24" fmla="*/ 814237 h 976639"/>
                      <a:gd name="connsiteX25" fmla="*/ 690855 w 982797"/>
                      <a:gd name="connsiteY25" fmla="*/ 823135 h 976639"/>
                      <a:gd name="connsiteX26" fmla="*/ 701998 w 982797"/>
                      <a:gd name="connsiteY26" fmla="*/ 929921 h 976639"/>
                      <a:gd name="connsiteX27" fmla="*/ 697540 w 982797"/>
                      <a:gd name="connsiteY27" fmla="*/ 934370 h 976639"/>
                      <a:gd name="connsiteX28" fmla="*/ 612855 w 982797"/>
                      <a:gd name="connsiteY28" fmla="*/ 963291 h 976639"/>
                      <a:gd name="connsiteX29" fmla="*/ 608398 w 982797"/>
                      <a:gd name="connsiteY29" fmla="*/ 963291 h 976639"/>
                      <a:gd name="connsiteX30" fmla="*/ 548227 w 982797"/>
                      <a:gd name="connsiteY30" fmla="*/ 874303 h 976639"/>
                      <a:gd name="connsiteX31" fmla="*/ 543770 w 982797"/>
                      <a:gd name="connsiteY31" fmla="*/ 869854 h 976639"/>
                      <a:gd name="connsiteX32" fmla="*/ 501427 w 982797"/>
                      <a:gd name="connsiteY32" fmla="*/ 874303 h 976639"/>
                      <a:gd name="connsiteX33" fmla="*/ 494741 w 982797"/>
                      <a:gd name="connsiteY33" fmla="*/ 876528 h 976639"/>
                      <a:gd name="connsiteX34" fmla="*/ 450170 w 982797"/>
                      <a:gd name="connsiteY34" fmla="*/ 974414 h 976639"/>
                      <a:gd name="connsiteX35" fmla="*/ 445713 w 982797"/>
                      <a:gd name="connsiteY35" fmla="*/ 976639 h 976639"/>
                      <a:gd name="connsiteX36" fmla="*/ 356570 w 982797"/>
                      <a:gd name="connsiteY36" fmla="*/ 958842 h 976639"/>
                      <a:gd name="connsiteX37" fmla="*/ 352113 w 982797"/>
                      <a:gd name="connsiteY37" fmla="*/ 956617 h 976639"/>
                      <a:gd name="connsiteX38" fmla="*/ 347656 w 982797"/>
                      <a:gd name="connsiteY38" fmla="*/ 847607 h 976639"/>
                      <a:gd name="connsiteX39" fmla="*/ 340970 w 982797"/>
                      <a:gd name="connsiteY39" fmla="*/ 843158 h 976639"/>
                      <a:gd name="connsiteX40" fmla="*/ 305313 w 982797"/>
                      <a:gd name="connsiteY40" fmla="*/ 825360 h 976639"/>
                      <a:gd name="connsiteX41" fmla="*/ 296399 w 982797"/>
                      <a:gd name="connsiteY41" fmla="*/ 825360 h 976639"/>
                      <a:gd name="connsiteX42" fmla="*/ 211713 w 982797"/>
                      <a:gd name="connsiteY42" fmla="*/ 887652 h 976639"/>
                      <a:gd name="connsiteX43" fmla="*/ 205028 w 982797"/>
                      <a:gd name="connsiteY43" fmla="*/ 887652 h 976639"/>
                      <a:gd name="connsiteX44" fmla="*/ 138171 w 982797"/>
                      <a:gd name="connsiteY44" fmla="*/ 829810 h 976639"/>
                      <a:gd name="connsiteX45" fmla="*/ 135942 w 982797"/>
                      <a:gd name="connsiteY45" fmla="*/ 823135 h 976639"/>
                      <a:gd name="connsiteX46" fmla="*/ 182742 w 982797"/>
                      <a:gd name="connsiteY46" fmla="*/ 725249 h 976639"/>
                      <a:gd name="connsiteX47" fmla="*/ 182742 w 982797"/>
                      <a:gd name="connsiteY47" fmla="*/ 720800 h 976639"/>
                      <a:gd name="connsiteX48" fmla="*/ 160457 w 982797"/>
                      <a:gd name="connsiteY48" fmla="*/ 687429 h 976639"/>
                      <a:gd name="connsiteX49" fmla="*/ 153771 w 982797"/>
                      <a:gd name="connsiteY49" fmla="*/ 685205 h 976639"/>
                      <a:gd name="connsiteX50" fmla="*/ 49028 w 982797"/>
                      <a:gd name="connsiteY50" fmla="*/ 696328 h 976639"/>
                      <a:gd name="connsiteX51" fmla="*/ 42343 w 982797"/>
                      <a:gd name="connsiteY51" fmla="*/ 691879 h 976639"/>
                      <a:gd name="connsiteX52" fmla="*/ 11143 w 982797"/>
                      <a:gd name="connsiteY52" fmla="*/ 609565 h 976639"/>
                      <a:gd name="connsiteX53" fmla="*/ 15600 w 982797"/>
                      <a:gd name="connsiteY53" fmla="*/ 602891 h 976639"/>
                      <a:gd name="connsiteX54" fmla="*/ 104742 w 982797"/>
                      <a:gd name="connsiteY54" fmla="*/ 542824 h 976639"/>
                      <a:gd name="connsiteX55" fmla="*/ 106971 w 982797"/>
                      <a:gd name="connsiteY55" fmla="*/ 536150 h 976639"/>
                      <a:gd name="connsiteX56" fmla="*/ 104742 w 982797"/>
                      <a:gd name="connsiteY56" fmla="*/ 496106 h 976639"/>
                      <a:gd name="connsiteX57" fmla="*/ 102514 w 982797"/>
                      <a:gd name="connsiteY57" fmla="*/ 489432 h 976639"/>
                      <a:gd name="connsiteX58" fmla="*/ 4457 w 982797"/>
                      <a:gd name="connsiteY58" fmla="*/ 444938 h 976639"/>
                      <a:gd name="connsiteX59" fmla="*/ 0 w 982797"/>
                      <a:gd name="connsiteY59" fmla="*/ 440489 h 976639"/>
                      <a:gd name="connsiteX60" fmla="*/ 15600 w 982797"/>
                      <a:gd name="connsiteY60" fmla="*/ 353726 h 976639"/>
                      <a:gd name="connsiteX61" fmla="*/ 20057 w 982797"/>
                      <a:gd name="connsiteY61" fmla="*/ 351501 h 976639"/>
                      <a:gd name="connsiteX62" fmla="*/ 129257 w 982797"/>
                      <a:gd name="connsiteY62" fmla="*/ 342602 h 976639"/>
                      <a:gd name="connsiteX63" fmla="*/ 135942 w 982797"/>
                      <a:gd name="connsiteY63" fmla="*/ 340377 h 976639"/>
                      <a:gd name="connsiteX64" fmla="*/ 151542 w 982797"/>
                      <a:gd name="connsiteY64" fmla="*/ 302558 h 976639"/>
                      <a:gd name="connsiteX65" fmla="*/ 151542 w 982797"/>
                      <a:gd name="connsiteY65" fmla="*/ 295884 h 976639"/>
                      <a:gd name="connsiteX66" fmla="*/ 91371 w 982797"/>
                      <a:gd name="connsiteY66" fmla="*/ 209121 h 976639"/>
                      <a:gd name="connsiteX67" fmla="*/ 91371 w 982797"/>
                      <a:gd name="connsiteY67" fmla="*/ 200222 h 976639"/>
                      <a:gd name="connsiteX68" fmla="*/ 147085 w 982797"/>
                      <a:gd name="connsiteY68" fmla="*/ 133481 h 976639"/>
                      <a:gd name="connsiteX69" fmla="*/ 153771 w 982797"/>
                      <a:gd name="connsiteY69" fmla="*/ 133481 h 976639"/>
                      <a:gd name="connsiteX70" fmla="*/ 249599 w 982797"/>
                      <a:gd name="connsiteY70" fmla="*/ 180200 h 976639"/>
                      <a:gd name="connsiteX71" fmla="*/ 256285 w 982797"/>
                      <a:gd name="connsiteY71" fmla="*/ 180200 h 976639"/>
                      <a:gd name="connsiteX72" fmla="*/ 289713 w 982797"/>
                      <a:gd name="connsiteY72" fmla="*/ 157953 h 976639"/>
                      <a:gd name="connsiteX73" fmla="*/ 283027 w 982797"/>
                      <a:gd name="connsiteY73" fmla="*/ 44493 h 976639"/>
                      <a:gd name="connsiteX74" fmla="*/ 369942 w 982797"/>
                      <a:gd name="connsiteY74" fmla="*/ 11123 h 976639"/>
                      <a:gd name="connsiteX75" fmla="*/ 439027 w 982797"/>
                      <a:gd name="connsiteY75" fmla="*/ 106785 h 976639"/>
                      <a:gd name="connsiteX76" fmla="*/ 481370 w 982797"/>
                      <a:gd name="connsiteY76" fmla="*/ 102335 h 976639"/>
                      <a:gd name="connsiteX77" fmla="*/ 532627 w 982797"/>
                      <a:gd name="connsiteY77"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97540 w 982797"/>
                      <a:gd name="connsiteY26" fmla="*/ 934370 h 976639"/>
                      <a:gd name="connsiteX27" fmla="*/ 612855 w 982797"/>
                      <a:gd name="connsiteY27" fmla="*/ 963291 h 976639"/>
                      <a:gd name="connsiteX28" fmla="*/ 608398 w 982797"/>
                      <a:gd name="connsiteY28" fmla="*/ 963291 h 976639"/>
                      <a:gd name="connsiteX29" fmla="*/ 548227 w 982797"/>
                      <a:gd name="connsiteY29" fmla="*/ 874303 h 976639"/>
                      <a:gd name="connsiteX30" fmla="*/ 543770 w 982797"/>
                      <a:gd name="connsiteY30" fmla="*/ 869854 h 976639"/>
                      <a:gd name="connsiteX31" fmla="*/ 501427 w 982797"/>
                      <a:gd name="connsiteY31" fmla="*/ 874303 h 976639"/>
                      <a:gd name="connsiteX32" fmla="*/ 494741 w 982797"/>
                      <a:gd name="connsiteY32" fmla="*/ 876528 h 976639"/>
                      <a:gd name="connsiteX33" fmla="*/ 450170 w 982797"/>
                      <a:gd name="connsiteY33" fmla="*/ 974414 h 976639"/>
                      <a:gd name="connsiteX34" fmla="*/ 445713 w 982797"/>
                      <a:gd name="connsiteY34" fmla="*/ 976639 h 976639"/>
                      <a:gd name="connsiteX35" fmla="*/ 356570 w 982797"/>
                      <a:gd name="connsiteY35" fmla="*/ 958842 h 976639"/>
                      <a:gd name="connsiteX36" fmla="*/ 352113 w 982797"/>
                      <a:gd name="connsiteY36" fmla="*/ 956617 h 976639"/>
                      <a:gd name="connsiteX37" fmla="*/ 347656 w 982797"/>
                      <a:gd name="connsiteY37" fmla="*/ 847607 h 976639"/>
                      <a:gd name="connsiteX38" fmla="*/ 340970 w 982797"/>
                      <a:gd name="connsiteY38" fmla="*/ 843158 h 976639"/>
                      <a:gd name="connsiteX39" fmla="*/ 305313 w 982797"/>
                      <a:gd name="connsiteY39" fmla="*/ 825360 h 976639"/>
                      <a:gd name="connsiteX40" fmla="*/ 296399 w 982797"/>
                      <a:gd name="connsiteY40" fmla="*/ 825360 h 976639"/>
                      <a:gd name="connsiteX41" fmla="*/ 211713 w 982797"/>
                      <a:gd name="connsiteY41" fmla="*/ 887652 h 976639"/>
                      <a:gd name="connsiteX42" fmla="*/ 205028 w 982797"/>
                      <a:gd name="connsiteY42" fmla="*/ 887652 h 976639"/>
                      <a:gd name="connsiteX43" fmla="*/ 138171 w 982797"/>
                      <a:gd name="connsiteY43" fmla="*/ 829810 h 976639"/>
                      <a:gd name="connsiteX44" fmla="*/ 135942 w 982797"/>
                      <a:gd name="connsiteY44" fmla="*/ 823135 h 976639"/>
                      <a:gd name="connsiteX45" fmla="*/ 182742 w 982797"/>
                      <a:gd name="connsiteY45" fmla="*/ 725249 h 976639"/>
                      <a:gd name="connsiteX46" fmla="*/ 182742 w 982797"/>
                      <a:gd name="connsiteY46" fmla="*/ 720800 h 976639"/>
                      <a:gd name="connsiteX47" fmla="*/ 160457 w 982797"/>
                      <a:gd name="connsiteY47" fmla="*/ 687429 h 976639"/>
                      <a:gd name="connsiteX48" fmla="*/ 153771 w 982797"/>
                      <a:gd name="connsiteY48" fmla="*/ 685205 h 976639"/>
                      <a:gd name="connsiteX49" fmla="*/ 49028 w 982797"/>
                      <a:gd name="connsiteY49" fmla="*/ 696328 h 976639"/>
                      <a:gd name="connsiteX50" fmla="*/ 42343 w 982797"/>
                      <a:gd name="connsiteY50" fmla="*/ 691879 h 976639"/>
                      <a:gd name="connsiteX51" fmla="*/ 11143 w 982797"/>
                      <a:gd name="connsiteY51" fmla="*/ 609565 h 976639"/>
                      <a:gd name="connsiteX52" fmla="*/ 15600 w 982797"/>
                      <a:gd name="connsiteY52" fmla="*/ 602891 h 976639"/>
                      <a:gd name="connsiteX53" fmla="*/ 104742 w 982797"/>
                      <a:gd name="connsiteY53" fmla="*/ 542824 h 976639"/>
                      <a:gd name="connsiteX54" fmla="*/ 106971 w 982797"/>
                      <a:gd name="connsiteY54" fmla="*/ 536150 h 976639"/>
                      <a:gd name="connsiteX55" fmla="*/ 104742 w 982797"/>
                      <a:gd name="connsiteY55" fmla="*/ 496106 h 976639"/>
                      <a:gd name="connsiteX56" fmla="*/ 102514 w 982797"/>
                      <a:gd name="connsiteY56" fmla="*/ 489432 h 976639"/>
                      <a:gd name="connsiteX57" fmla="*/ 4457 w 982797"/>
                      <a:gd name="connsiteY57" fmla="*/ 444938 h 976639"/>
                      <a:gd name="connsiteX58" fmla="*/ 0 w 982797"/>
                      <a:gd name="connsiteY58" fmla="*/ 440489 h 976639"/>
                      <a:gd name="connsiteX59" fmla="*/ 15600 w 982797"/>
                      <a:gd name="connsiteY59" fmla="*/ 353726 h 976639"/>
                      <a:gd name="connsiteX60" fmla="*/ 20057 w 982797"/>
                      <a:gd name="connsiteY60" fmla="*/ 351501 h 976639"/>
                      <a:gd name="connsiteX61" fmla="*/ 129257 w 982797"/>
                      <a:gd name="connsiteY61" fmla="*/ 342602 h 976639"/>
                      <a:gd name="connsiteX62" fmla="*/ 135942 w 982797"/>
                      <a:gd name="connsiteY62" fmla="*/ 340377 h 976639"/>
                      <a:gd name="connsiteX63" fmla="*/ 151542 w 982797"/>
                      <a:gd name="connsiteY63" fmla="*/ 302558 h 976639"/>
                      <a:gd name="connsiteX64" fmla="*/ 151542 w 982797"/>
                      <a:gd name="connsiteY64" fmla="*/ 295884 h 976639"/>
                      <a:gd name="connsiteX65" fmla="*/ 91371 w 982797"/>
                      <a:gd name="connsiteY65" fmla="*/ 209121 h 976639"/>
                      <a:gd name="connsiteX66" fmla="*/ 91371 w 982797"/>
                      <a:gd name="connsiteY66" fmla="*/ 200222 h 976639"/>
                      <a:gd name="connsiteX67" fmla="*/ 147085 w 982797"/>
                      <a:gd name="connsiteY67" fmla="*/ 133481 h 976639"/>
                      <a:gd name="connsiteX68" fmla="*/ 153771 w 982797"/>
                      <a:gd name="connsiteY68" fmla="*/ 133481 h 976639"/>
                      <a:gd name="connsiteX69" fmla="*/ 249599 w 982797"/>
                      <a:gd name="connsiteY69" fmla="*/ 180200 h 976639"/>
                      <a:gd name="connsiteX70" fmla="*/ 256285 w 982797"/>
                      <a:gd name="connsiteY70" fmla="*/ 180200 h 976639"/>
                      <a:gd name="connsiteX71" fmla="*/ 289713 w 982797"/>
                      <a:gd name="connsiteY71" fmla="*/ 157953 h 976639"/>
                      <a:gd name="connsiteX72" fmla="*/ 283027 w 982797"/>
                      <a:gd name="connsiteY72" fmla="*/ 44493 h 976639"/>
                      <a:gd name="connsiteX73" fmla="*/ 369942 w 982797"/>
                      <a:gd name="connsiteY73" fmla="*/ 11123 h 976639"/>
                      <a:gd name="connsiteX74" fmla="*/ 439027 w 982797"/>
                      <a:gd name="connsiteY74" fmla="*/ 106785 h 976639"/>
                      <a:gd name="connsiteX75" fmla="*/ 481370 w 982797"/>
                      <a:gd name="connsiteY75" fmla="*/ 102335 h 976639"/>
                      <a:gd name="connsiteX76" fmla="*/ 532627 w 982797"/>
                      <a:gd name="connsiteY76"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12855 w 982797"/>
                      <a:gd name="connsiteY26" fmla="*/ 963291 h 976639"/>
                      <a:gd name="connsiteX27" fmla="*/ 608398 w 982797"/>
                      <a:gd name="connsiteY27" fmla="*/ 963291 h 976639"/>
                      <a:gd name="connsiteX28" fmla="*/ 548227 w 982797"/>
                      <a:gd name="connsiteY28" fmla="*/ 874303 h 976639"/>
                      <a:gd name="connsiteX29" fmla="*/ 543770 w 982797"/>
                      <a:gd name="connsiteY29" fmla="*/ 869854 h 976639"/>
                      <a:gd name="connsiteX30" fmla="*/ 501427 w 982797"/>
                      <a:gd name="connsiteY30" fmla="*/ 874303 h 976639"/>
                      <a:gd name="connsiteX31" fmla="*/ 494741 w 982797"/>
                      <a:gd name="connsiteY31" fmla="*/ 876528 h 976639"/>
                      <a:gd name="connsiteX32" fmla="*/ 450170 w 982797"/>
                      <a:gd name="connsiteY32" fmla="*/ 974414 h 976639"/>
                      <a:gd name="connsiteX33" fmla="*/ 445713 w 982797"/>
                      <a:gd name="connsiteY33" fmla="*/ 976639 h 976639"/>
                      <a:gd name="connsiteX34" fmla="*/ 356570 w 982797"/>
                      <a:gd name="connsiteY34" fmla="*/ 958842 h 976639"/>
                      <a:gd name="connsiteX35" fmla="*/ 352113 w 982797"/>
                      <a:gd name="connsiteY35" fmla="*/ 956617 h 976639"/>
                      <a:gd name="connsiteX36" fmla="*/ 347656 w 982797"/>
                      <a:gd name="connsiteY36" fmla="*/ 847607 h 976639"/>
                      <a:gd name="connsiteX37" fmla="*/ 340970 w 982797"/>
                      <a:gd name="connsiteY37" fmla="*/ 843158 h 976639"/>
                      <a:gd name="connsiteX38" fmla="*/ 305313 w 982797"/>
                      <a:gd name="connsiteY38" fmla="*/ 825360 h 976639"/>
                      <a:gd name="connsiteX39" fmla="*/ 296399 w 982797"/>
                      <a:gd name="connsiteY39" fmla="*/ 825360 h 976639"/>
                      <a:gd name="connsiteX40" fmla="*/ 211713 w 982797"/>
                      <a:gd name="connsiteY40" fmla="*/ 887652 h 976639"/>
                      <a:gd name="connsiteX41" fmla="*/ 205028 w 982797"/>
                      <a:gd name="connsiteY41" fmla="*/ 887652 h 976639"/>
                      <a:gd name="connsiteX42" fmla="*/ 138171 w 982797"/>
                      <a:gd name="connsiteY42" fmla="*/ 829810 h 976639"/>
                      <a:gd name="connsiteX43" fmla="*/ 135942 w 982797"/>
                      <a:gd name="connsiteY43" fmla="*/ 823135 h 976639"/>
                      <a:gd name="connsiteX44" fmla="*/ 182742 w 982797"/>
                      <a:gd name="connsiteY44" fmla="*/ 725249 h 976639"/>
                      <a:gd name="connsiteX45" fmla="*/ 182742 w 982797"/>
                      <a:gd name="connsiteY45" fmla="*/ 720800 h 976639"/>
                      <a:gd name="connsiteX46" fmla="*/ 160457 w 982797"/>
                      <a:gd name="connsiteY46" fmla="*/ 687429 h 976639"/>
                      <a:gd name="connsiteX47" fmla="*/ 153771 w 982797"/>
                      <a:gd name="connsiteY47" fmla="*/ 685205 h 976639"/>
                      <a:gd name="connsiteX48" fmla="*/ 49028 w 982797"/>
                      <a:gd name="connsiteY48" fmla="*/ 696328 h 976639"/>
                      <a:gd name="connsiteX49" fmla="*/ 42343 w 982797"/>
                      <a:gd name="connsiteY49" fmla="*/ 691879 h 976639"/>
                      <a:gd name="connsiteX50" fmla="*/ 11143 w 982797"/>
                      <a:gd name="connsiteY50" fmla="*/ 609565 h 976639"/>
                      <a:gd name="connsiteX51" fmla="*/ 15600 w 982797"/>
                      <a:gd name="connsiteY51" fmla="*/ 602891 h 976639"/>
                      <a:gd name="connsiteX52" fmla="*/ 104742 w 982797"/>
                      <a:gd name="connsiteY52" fmla="*/ 542824 h 976639"/>
                      <a:gd name="connsiteX53" fmla="*/ 106971 w 982797"/>
                      <a:gd name="connsiteY53" fmla="*/ 536150 h 976639"/>
                      <a:gd name="connsiteX54" fmla="*/ 104742 w 982797"/>
                      <a:gd name="connsiteY54" fmla="*/ 496106 h 976639"/>
                      <a:gd name="connsiteX55" fmla="*/ 102514 w 982797"/>
                      <a:gd name="connsiteY55" fmla="*/ 489432 h 976639"/>
                      <a:gd name="connsiteX56" fmla="*/ 4457 w 982797"/>
                      <a:gd name="connsiteY56" fmla="*/ 444938 h 976639"/>
                      <a:gd name="connsiteX57" fmla="*/ 0 w 982797"/>
                      <a:gd name="connsiteY57" fmla="*/ 440489 h 976639"/>
                      <a:gd name="connsiteX58" fmla="*/ 15600 w 982797"/>
                      <a:gd name="connsiteY58" fmla="*/ 353726 h 976639"/>
                      <a:gd name="connsiteX59" fmla="*/ 20057 w 982797"/>
                      <a:gd name="connsiteY59" fmla="*/ 351501 h 976639"/>
                      <a:gd name="connsiteX60" fmla="*/ 129257 w 982797"/>
                      <a:gd name="connsiteY60" fmla="*/ 342602 h 976639"/>
                      <a:gd name="connsiteX61" fmla="*/ 135942 w 982797"/>
                      <a:gd name="connsiteY61" fmla="*/ 340377 h 976639"/>
                      <a:gd name="connsiteX62" fmla="*/ 151542 w 982797"/>
                      <a:gd name="connsiteY62" fmla="*/ 302558 h 976639"/>
                      <a:gd name="connsiteX63" fmla="*/ 151542 w 982797"/>
                      <a:gd name="connsiteY63" fmla="*/ 295884 h 976639"/>
                      <a:gd name="connsiteX64" fmla="*/ 91371 w 982797"/>
                      <a:gd name="connsiteY64" fmla="*/ 209121 h 976639"/>
                      <a:gd name="connsiteX65" fmla="*/ 91371 w 982797"/>
                      <a:gd name="connsiteY65" fmla="*/ 200222 h 976639"/>
                      <a:gd name="connsiteX66" fmla="*/ 147085 w 982797"/>
                      <a:gd name="connsiteY66" fmla="*/ 133481 h 976639"/>
                      <a:gd name="connsiteX67" fmla="*/ 153771 w 982797"/>
                      <a:gd name="connsiteY67" fmla="*/ 133481 h 976639"/>
                      <a:gd name="connsiteX68" fmla="*/ 249599 w 982797"/>
                      <a:gd name="connsiteY68" fmla="*/ 180200 h 976639"/>
                      <a:gd name="connsiteX69" fmla="*/ 256285 w 982797"/>
                      <a:gd name="connsiteY69" fmla="*/ 180200 h 976639"/>
                      <a:gd name="connsiteX70" fmla="*/ 289713 w 982797"/>
                      <a:gd name="connsiteY70" fmla="*/ 157953 h 976639"/>
                      <a:gd name="connsiteX71" fmla="*/ 283027 w 982797"/>
                      <a:gd name="connsiteY71" fmla="*/ 44493 h 976639"/>
                      <a:gd name="connsiteX72" fmla="*/ 369942 w 982797"/>
                      <a:gd name="connsiteY72" fmla="*/ 11123 h 976639"/>
                      <a:gd name="connsiteX73" fmla="*/ 439027 w 982797"/>
                      <a:gd name="connsiteY73" fmla="*/ 106785 h 976639"/>
                      <a:gd name="connsiteX74" fmla="*/ 481370 w 982797"/>
                      <a:gd name="connsiteY74" fmla="*/ 102335 h 976639"/>
                      <a:gd name="connsiteX75" fmla="*/ 532627 w 982797"/>
                      <a:gd name="connsiteY75"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43770 w 982797"/>
                      <a:gd name="connsiteY28" fmla="*/ 869854 h 976639"/>
                      <a:gd name="connsiteX29" fmla="*/ 501427 w 982797"/>
                      <a:gd name="connsiteY29" fmla="*/ 874303 h 976639"/>
                      <a:gd name="connsiteX30" fmla="*/ 494741 w 982797"/>
                      <a:gd name="connsiteY30" fmla="*/ 876528 h 976639"/>
                      <a:gd name="connsiteX31" fmla="*/ 450170 w 982797"/>
                      <a:gd name="connsiteY31" fmla="*/ 974414 h 976639"/>
                      <a:gd name="connsiteX32" fmla="*/ 445713 w 982797"/>
                      <a:gd name="connsiteY32" fmla="*/ 976639 h 976639"/>
                      <a:gd name="connsiteX33" fmla="*/ 356570 w 982797"/>
                      <a:gd name="connsiteY33" fmla="*/ 958842 h 976639"/>
                      <a:gd name="connsiteX34" fmla="*/ 352113 w 982797"/>
                      <a:gd name="connsiteY34" fmla="*/ 956617 h 976639"/>
                      <a:gd name="connsiteX35" fmla="*/ 347656 w 982797"/>
                      <a:gd name="connsiteY35" fmla="*/ 847607 h 976639"/>
                      <a:gd name="connsiteX36" fmla="*/ 340970 w 982797"/>
                      <a:gd name="connsiteY36" fmla="*/ 843158 h 976639"/>
                      <a:gd name="connsiteX37" fmla="*/ 305313 w 982797"/>
                      <a:gd name="connsiteY37" fmla="*/ 825360 h 976639"/>
                      <a:gd name="connsiteX38" fmla="*/ 296399 w 982797"/>
                      <a:gd name="connsiteY38" fmla="*/ 825360 h 976639"/>
                      <a:gd name="connsiteX39" fmla="*/ 211713 w 982797"/>
                      <a:gd name="connsiteY39" fmla="*/ 887652 h 976639"/>
                      <a:gd name="connsiteX40" fmla="*/ 205028 w 982797"/>
                      <a:gd name="connsiteY40" fmla="*/ 887652 h 976639"/>
                      <a:gd name="connsiteX41" fmla="*/ 138171 w 982797"/>
                      <a:gd name="connsiteY41" fmla="*/ 829810 h 976639"/>
                      <a:gd name="connsiteX42" fmla="*/ 135942 w 982797"/>
                      <a:gd name="connsiteY42" fmla="*/ 823135 h 976639"/>
                      <a:gd name="connsiteX43" fmla="*/ 182742 w 982797"/>
                      <a:gd name="connsiteY43" fmla="*/ 725249 h 976639"/>
                      <a:gd name="connsiteX44" fmla="*/ 182742 w 982797"/>
                      <a:gd name="connsiteY44" fmla="*/ 720800 h 976639"/>
                      <a:gd name="connsiteX45" fmla="*/ 160457 w 982797"/>
                      <a:gd name="connsiteY45" fmla="*/ 687429 h 976639"/>
                      <a:gd name="connsiteX46" fmla="*/ 153771 w 982797"/>
                      <a:gd name="connsiteY46" fmla="*/ 685205 h 976639"/>
                      <a:gd name="connsiteX47" fmla="*/ 49028 w 982797"/>
                      <a:gd name="connsiteY47" fmla="*/ 696328 h 976639"/>
                      <a:gd name="connsiteX48" fmla="*/ 42343 w 982797"/>
                      <a:gd name="connsiteY48" fmla="*/ 691879 h 976639"/>
                      <a:gd name="connsiteX49" fmla="*/ 11143 w 982797"/>
                      <a:gd name="connsiteY49" fmla="*/ 609565 h 976639"/>
                      <a:gd name="connsiteX50" fmla="*/ 15600 w 982797"/>
                      <a:gd name="connsiteY50" fmla="*/ 602891 h 976639"/>
                      <a:gd name="connsiteX51" fmla="*/ 104742 w 982797"/>
                      <a:gd name="connsiteY51" fmla="*/ 542824 h 976639"/>
                      <a:gd name="connsiteX52" fmla="*/ 106971 w 982797"/>
                      <a:gd name="connsiteY52" fmla="*/ 536150 h 976639"/>
                      <a:gd name="connsiteX53" fmla="*/ 104742 w 982797"/>
                      <a:gd name="connsiteY53" fmla="*/ 496106 h 976639"/>
                      <a:gd name="connsiteX54" fmla="*/ 102514 w 982797"/>
                      <a:gd name="connsiteY54" fmla="*/ 489432 h 976639"/>
                      <a:gd name="connsiteX55" fmla="*/ 4457 w 982797"/>
                      <a:gd name="connsiteY55" fmla="*/ 444938 h 976639"/>
                      <a:gd name="connsiteX56" fmla="*/ 0 w 982797"/>
                      <a:gd name="connsiteY56" fmla="*/ 440489 h 976639"/>
                      <a:gd name="connsiteX57" fmla="*/ 15600 w 982797"/>
                      <a:gd name="connsiteY57" fmla="*/ 353726 h 976639"/>
                      <a:gd name="connsiteX58" fmla="*/ 20057 w 982797"/>
                      <a:gd name="connsiteY58" fmla="*/ 351501 h 976639"/>
                      <a:gd name="connsiteX59" fmla="*/ 129257 w 982797"/>
                      <a:gd name="connsiteY59" fmla="*/ 342602 h 976639"/>
                      <a:gd name="connsiteX60" fmla="*/ 135942 w 982797"/>
                      <a:gd name="connsiteY60" fmla="*/ 340377 h 976639"/>
                      <a:gd name="connsiteX61" fmla="*/ 151542 w 982797"/>
                      <a:gd name="connsiteY61" fmla="*/ 302558 h 976639"/>
                      <a:gd name="connsiteX62" fmla="*/ 151542 w 982797"/>
                      <a:gd name="connsiteY62" fmla="*/ 295884 h 976639"/>
                      <a:gd name="connsiteX63" fmla="*/ 91371 w 982797"/>
                      <a:gd name="connsiteY63" fmla="*/ 209121 h 976639"/>
                      <a:gd name="connsiteX64" fmla="*/ 91371 w 982797"/>
                      <a:gd name="connsiteY64" fmla="*/ 200222 h 976639"/>
                      <a:gd name="connsiteX65" fmla="*/ 147085 w 982797"/>
                      <a:gd name="connsiteY65" fmla="*/ 133481 h 976639"/>
                      <a:gd name="connsiteX66" fmla="*/ 153771 w 982797"/>
                      <a:gd name="connsiteY66" fmla="*/ 133481 h 976639"/>
                      <a:gd name="connsiteX67" fmla="*/ 249599 w 982797"/>
                      <a:gd name="connsiteY67" fmla="*/ 180200 h 976639"/>
                      <a:gd name="connsiteX68" fmla="*/ 256285 w 982797"/>
                      <a:gd name="connsiteY68" fmla="*/ 180200 h 976639"/>
                      <a:gd name="connsiteX69" fmla="*/ 289713 w 982797"/>
                      <a:gd name="connsiteY69" fmla="*/ 157953 h 976639"/>
                      <a:gd name="connsiteX70" fmla="*/ 283027 w 982797"/>
                      <a:gd name="connsiteY70" fmla="*/ 44493 h 976639"/>
                      <a:gd name="connsiteX71" fmla="*/ 369942 w 982797"/>
                      <a:gd name="connsiteY71" fmla="*/ 11123 h 976639"/>
                      <a:gd name="connsiteX72" fmla="*/ 439027 w 982797"/>
                      <a:gd name="connsiteY72" fmla="*/ 106785 h 976639"/>
                      <a:gd name="connsiteX73" fmla="*/ 481370 w 982797"/>
                      <a:gd name="connsiteY73" fmla="*/ 102335 h 976639"/>
                      <a:gd name="connsiteX74" fmla="*/ 532627 w 982797"/>
                      <a:gd name="connsiteY7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01427 w 982797"/>
                      <a:gd name="connsiteY28" fmla="*/ 874303 h 976639"/>
                      <a:gd name="connsiteX29" fmla="*/ 494741 w 982797"/>
                      <a:gd name="connsiteY29" fmla="*/ 876528 h 976639"/>
                      <a:gd name="connsiteX30" fmla="*/ 450170 w 982797"/>
                      <a:gd name="connsiteY30" fmla="*/ 974414 h 976639"/>
                      <a:gd name="connsiteX31" fmla="*/ 445713 w 982797"/>
                      <a:gd name="connsiteY31" fmla="*/ 976639 h 976639"/>
                      <a:gd name="connsiteX32" fmla="*/ 356570 w 982797"/>
                      <a:gd name="connsiteY32" fmla="*/ 958842 h 976639"/>
                      <a:gd name="connsiteX33" fmla="*/ 352113 w 982797"/>
                      <a:gd name="connsiteY33" fmla="*/ 956617 h 976639"/>
                      <a:gd name="connsiteX34" fmla="*/ 347656 w 982797"/>
                      <a:gd name="connsiteY34" fmla="*/ 847607 h 976639"/>
                      <a:gd name="connsiteX35" fmla="*/ 340970 w 982797"/>
                      <a:gd name="connsiteY35" fmla="*/ 843158 h 976639"/>
                      <a:gd name="connsiteX36" fmla="*/ 305313 w 982797"/>
                      <a:gd name="connsiteY36" fmla="*/ 825360 h 976639"/>
                      <a:gd name="connsiteX37" fmla="*/ 296399 w 982797"/>
                      <a:gd name="connsiteY37" fmla="*/ 825360 h 976639"/>
                      <a:gd name="connsiteX38" fmla="*/ 211713 w 982797"/>
                      <a:gd name="connsiteY38" fmla="*/ 887652 h 976639"/>
                      <a:gd name="connsiteX39" fmla="*/ 205028 w 982797"/>
                      <a:gd name="connsiteY39" fmla="*/ 887652 h 976639"/>
                      <a:gd name="connsiteX40" fmla="*/ 138171 w 982797"/>
                      <a:gd name="connsiteY40" fmla="*/ 829810 h 976639"/>
                      <a:gd name="connsiteX41" fmla="*/ 135942 w 982797"/>
                      <a:gd name="connsiteY41" fmla="*/ 823135 h 976639"/>
                      <a:gd name="connsiteX42" fmla="*/ 182742 w 982797"/>
                      <a:gd name="connsiteY42" fmla="*/ 725249 h 976639"/>
                      <a:gd name="connsiteX43" fmla="*/ 182742 w 982797"/>
                      <a:gd name="connsiteY43" fmla="*/ 720800 h 976639"/>
                      <a:gd name="connsiteX44" fmla="*/ 160457 w 982797"/>
                      <a:gd name="connsiteY44" fmla="*/ 687429 h 976639"/>
                      <a:gd name="connsiteX45" fmla="*/ 153771 w 982797"/>
                      <a:gd name="connsiteY45" fmla="*/ 685205 h 976639"/>
                      <a:gd name="connsiteX46" fmla="*/ 49028 w 982797"/>
                      <a:gd name="connsiteY46" fmla="*/ 696328 h 976639"/>
                      <a:gd name="connsiteX47" fmla="*/ 42343 w 982797"/>
                      <a:gd name="connsiteY47" fmla="*/ 691879 h 976639"/>
                      <a:gd name="connsiteX48" fmla="*/ 11143 w 982797"/>
                      <a:gd name="connsiteY48" fmla="*/ 609565 h 976639"/>
                      <a:gd name="connsiteX49" fmla="*/ 15600 w 982797"/>
                      <a:gd name="connsiteY49" fmla="*/ 602891 h 976639"/>
                      <a:gd name="connsiteX50" fmla="*/ 104742 w 982797"/>
                      <a:gd name="connsiteY50" fmla="*/ 542824 h 976639"/>
                      <a:gd name="connsiteX51" fmla="*/ 106971 w 982797"/>
                      <a:gd name="connsiteY51" fmla="*/ 536150 h 976639"/>
                      <a:gd name="connsiteX52" fmla="*/ 104742 w 982797"/>
                      <a:gd name="connsiteY52" fmla="*/ 496106 h 976639"/>
                      <a:gd name="connsiteX53" fmla="*/ 102514 w 982797"/>
                      <a:gd name="connsiteY53" fmla="*/ 489432 h 976639"/>
                      <a:gd name="connsiteX54" fmla="*/ 4457 w 982797"/>
                      <a:gd name="connsiteY54" fmla="*/ 444938 h 976639"/>
                      <a:gd name="connsiteX55" fmla="*/ 0 w 982797"/>
                      <a:gd name="connsiteY55" fmla="*/ 440489 h 976639"/>
                      <a:gd name="connsiteX56" fmla="*/ 15600 w 982797"/>
                      <a:gd name="connsiteY56" fmla="*/ 353726 h 976639"/>
                      <a:gd name="connsiteX57" fmla="*/ 20057 w 982797"/>
                      <a:gd name="connsiteY57" fmla="*/ 351501 h 976639"/>
                      <a:gd name="connsiteX58" fmla="*/ 129257 w 982797"/>
                      <a:gd name="connsiteY58" fmla="*/ 342602 h 976639"/>
                      <a:gd name="connsiteX59" fmla="*/ 135942 w 982797"/>
                      <a:gd name="connsiteY59" fmla="*/ 340377 h 976639"/>
                      <a:gd name="connsiteX60" fmla="*/ 151542 w 982797"/>
                      <a:gd name="connsiteY60" fmla="*/ 302558 h 976639"/>
                      <a:gd name="connsiteX61" fmla="*/ 151542 w 982797"/>
                      <a:gd name="connsiteY61" fmla="*/ 295884 h 976639"/>
                      <a:gd name="connsiteX62" fmla="*/ 91371 w 982797"/>
                      <a:gd name="connsiteY62" fmla="*/ 209121 h 976639"/>
                      <a:gd name="connsiteX63" fmla="*/ 91371 w 982797"/>
                      <a:gd name="connsiteY63" fmla="*/ 200222 h 976639"/>
                      <a:gd name="connsiteX64" fmla="*/ 147085 w 982797"/>
                      <a:gd name="connsiteY64" fmla="*/ 133481 h 976639"/>
                      <a:gd name="connsiteX65" fmla="*/ 153771 w 982797"/>
                      <a:gd name="connsiteY65" fmla="*/ 133481 h 976639"/>
                      <a:gd name="connsiteX66" fmla="*/ 249599 w 982797"/>
                      <a:gd name="connsiteY66" fmla="*/ 180200 h 976639"/>
                      <a:gd name="connsiteX67" fmla="*/ 256285 w 982797"/>
                      <a:gd name="connsiteY67" fmla="*/ 180200 h 976639"/>
                      <a:gd name="connsiteX68" fmla="*/ 289713 w 982797"/>
                      <a:gd name="connsiteY68" fmla="*/ 157953 h 976639"/>
                      <a:gd name="connsiteX69" fmla="*/ 283027 w 982797"/>
                      <a:gd name="connsiteY69" fmla="*/ 44493 h 976639"/>
                      <a:gd name="connsiteX70" fmla="*/ 369942 w 982797"/>
                      <a:gd name="connsiteY70" fmla="*/ 11123 h 976639"/>
                      <a:gd name="connsiteX71" fmla="*/ 439027 w 982797"/>
                      <a:gd name="connsiteY71" fmla="*/ 106785 h 976639"/>
                      <a:gd name="connsiteX72" fmla="*/ 481370 w 982797"/>
                      <a:gd name="connsiteY72" fmla="*/ 102335 h 976639"/>
                      <a:gd name="connsiteX73" fmla="*/ 532627 w 982797"/>
                      <a:gd name="connsiteY7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9485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05313 w 982797"/>
                      <a:gd name="connsiteY34" fmla="*/ 825360 h 976639"/>
                      <a:gd name="connsiteX35" fmla="*/ 296399 w 982797"/>
                      <a:gd name="connsiteY35" fmla="*/ 825360 h 976639"/>
                      <a:gd name="connsiteX36" fmla="*/ 211713 w 982797"/>
                      <a:gd name="connsiteY36" fmla="*/ 887652 h 976639"/>
                      <a:gd name="connsiteX37" fmla="*/ 205028 w 982797"/>
                      <a:gd name="connsiteY37" fmla="*/ 887652 h 976639"/>
                      <a:gd name="connsiteX38" fmla="*/ 138171 w 982797"/>
                      <a:gd name="connsiteY38" fmla="*/ 829810 h 976639"/>
                      <a:gd name="connsiteX39" fmla="*/ 135942 w 982797"/>
                      <a:gd name="connsiteY39" fmla="*/ 823135 h 976639"/>
                      <a:gd name="connsiteX40" fmla="*/ 182742 w 982797"/>
                      <a:gd name="connsiteY40" fmla="*/ 725249 h 976639"/>
                      <a:gd name="connsiteX41" fmla="*/ 182742 w 982797"/>
                      <a:gd name="connsiteY41" fmla="*/ 720800 h 976639"/>
                      <a:gd name="connsiteX42" fmla="*/ 160457 w 982797"/>
                      <a:gd name="connsiteY42" fmla="*/ 687429 h 976639"/>
                      <a:gd name="connsiteX43" fmla="*/ 153771 w 982797"/>
                      <a:gd name="connsiteY43" fmla="*/ 685205 h 976639"/>
                      <a:gd name="connsiteX44" fmla="*/ 49028 w 982797"/>
                      <a:gd name="connsiteY44" fmla="*/ 696328 h 976639"/>
                      <a:gd name="connsiteX45" fmla="*/ 42343 w 982797"/>
                      <a:gd name="connsiteY45" fmla="*/ 691879 h 976639"/>
                      <a:gd name="connsiteX46" fmla="*/ 11143 w 982797"/>
                      <a:gd name="connsiteY46" fmla="*/ 609565 h 976639"/>
                      <a:gd name="connsiteX47" fmla="*/ 15600 w 982797"/>
                      <a:gd name="connsiteY47" fmla="*/ 602891 h 976639"/>
                      <a:gd name="connsiteX48" fmla="*/ 104742 w 982797"/>
                      <a:gd name="connsiteY48" fmla="*/ 542824 h 976639"/>
                      <a:gd name="connsiteX49" fmla="*/ 106971 w 982797"/>
                      <a:gd name="connsiteY49" fmla="*/ 536150 h 976639"/>
                      <a:gd name="connsiteX50" fmla="*/ 104742 w 982797"/>
                      <a:gd name="connsiteY50" fmla="*/ 496106 h 976639"/>
                      <a:gd name="connsiteX51" fmla="*/ 102514 w 982797"/>
                      <a:gd name="connsiteY51" fmla="*/ 489432 h 976639"/>
                      <a:gd name="connsiteX52" fmla="*/ 4457 w 982797"/>
                      <a:gd name="connsiteY52" fmla="*/ 444938 h 976639"/>
                      <a:gd name="connsiteX53" fmla="*/ 0 w 982797"/>
                      <a:gd name="connsiteY53" fmla="*/ 440489 h 976639"/>
                      <a:gd name="connsiteX54" fmla="*/ 15600 w 982797"/>
                      <a:gd name="connsiteY54" fmla="*/ 353726 h 976639"/>
                      <a:gd name="connsiteX55" fmla="*/ 20057 w 982797"/>
                      <a:gd name="connsiteY55" fmla="*/ 351501 h 976639"/>
                      <a:gd name="connsiteX56" fmla="*/ 129257 w 982797"/>
                      <a:gd name="connsiteY56" fmla="*/ 342602 h 976639"/>
                      <a:gd name="connsiteX57" fmla="*/ 135942 w 982797"/>
                      <a:gd name="connsiteY57" fmla="*/ 340377 h 976639"/>
                      <a:gd name="connsiteX58" fmla="*/ 151542 w 982797"/>
                      <a:gd name="connsiteY58" fmla="*/ 302558 h 976639"/>
                      <a:gd name="connsiteX59" fmla="*/ 151542 w 982797"/>
                      <a:gd name="connsiteY59" fmla="*/ 295884 h 976639"/>
                      <a:gd name="connsiteX60" fmla="*/ 91371 w 982797"/>
                      <a:gd name="connsiteY60" fmla="*/ 209121 h 976639"/>
                      <a:gd name="connsiteX61" fmla="*/ 91371 w 982797"/>
                      <a:gd name="connsiteY61" fmla="*/ 200222 h 976639"/>
                      <a:gd name="connsiteX62" fmla="*/ 147085 w 982797"/>
                      <a:gd name="connsiteY62" fmla="*/ 133481 h 976639"/>
                      <a:gd name="connsiteX63" fmla="*/ 153771 w 982797"/>
                      <a:gd name="connsiteY63" fmla="*/ 133481 h 976639"/>
                      <a:gd name="connsiteX64" fmla="*/ 249599 w 982797"/>
                      <a:gd name="connsiteY64" fmla="*/ 180200 h 976639"/>
                      <a:gd name="connsiteX65" fmla="*/ 256285 w 982797"/>
                      <a:gd name="connsiteY65" fmla="*/ 180200 h 976639"/>
                      <a:gd name="connsiteX66" fmla="*/ 289713 w 982797"/>
                      <a:gd name="connsiteY66" fmla="*/ 157953 h 976639"/>
                      <a:gd name="connsiteX67" fmla="*/ 283027 w 982797"/>
                      <a:gd name="connsiteY67" fmla="*/ 44493 h 976639"/>
                      <a:gd name="connsiteX68" fmla="*/ 369942 w 982797"/>
                      <a:gd name="connsiteY68" fmla="*/ 11123 h 976639"/>
                      <a:gd name="connsiteX69" fmla="*/ 439027 w 982797"/>
                      <a:gd name="connsiteY69" fmla="*/ 106785 h 976639"/>
                      <a:gd name="connsiteX70" fmla="*/ 481370 w 982797"/>
                      <a:gd name="connsiteY70" fmla="*/ 102335 h 976639"/>
                      <a:gd name="connsiteX71" fmla="*/ 532627 w 982797"/>
                      <a:gd name="connsiteY7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296399 w 982797"/>
                      <a:gd name="connsiteY34" fmla="*/ 825360 h 976639"/>
                      <a:gd name="connsiteX35" fmla="*/ 211713 w 982797"/>
                      <a:gd name="connsiteY35" fmla="*/ 887652 h 976639"/>
                      <a:gd name="connsiteX36" fmla="*/ 205028 w 982797"/>
                      <a:gd name="connsiteY36" fmla="*/ 887652 h 976639"/>
                      <a:gd name="connsiteX37" fmla="*/ 138171 w 982797"/>
                      <a:gd name="connsiteY37" fmla="*/ 829810 h 976639"/>
                      <a:gd name="connsiteX38" fmla="*/ 135942 w 982797"/>
                      <a:gd name="connsiteY38" fmla="*/ 823135 h 976639"/>
                      <a:gd name="connsiteX39" fmla="*/ 182742 w 982797"/>
                      <a:gd name="connsiteY39" fmla="*/ 725249 h 976639"/>
                      <a:gd name="connsiteX40" fmla="*/ 182742 w 982797"/>
                      <a:gd name="connsiteY40" fmla="*/ 720800 h 976639"/>
                      <a:gd name="connsiteX41" fmla="*/ 160457 w 982797"/>
                      <a:gd name="connsiteY41" fmla="*/ 687429 h 976639"/>
                      <a:gd name="connsiteX42" fmla="*/ 153771 w 982797"/>
                      <a:gd name="connsiteY42" fmla="*/ 685205 h 976639"/>
                      <a:gd name="connsiteX43" fmla="*/ 49028 w 982797"/>
                      <a:gd name="connsiteY43" fmla="*/ 696328 h 976639"/>
                      <a:gd name="connsiteX44" fmla="*/ 42343 w 982797"/>
                      <a:gd name="connsiteY44" fmla="*/ 691879 h 976639"/>
                      <a:gd name="connsiteX45" fmla="*/ 11143 w 982797"/>
                      <a:gd name="connsiteY45" fmla="*/ 609565 h 976639"/>
                      <a:gd name="connsiteX46" fmla="*/ 15600 w 982797"/>
                      <a:gd name="connsiteY46" fmla="*/ 602891 h 976639"/>
                      <a:gd name="connsiteX47" fmla="*/ 104742 w 982797"/>
                      <a:gd name="connsiteY47" fmla="*/ 542824 h 976639"/>
                      <a:gd name="connsiteX48" fmla="*/ 106971 w 982797"/>
                      <a:gd name="connsiteY48" fmla="*/ 536150 h 976639"/>
                      <a:gd name="connsiteX49" fmla="*/ 104742 w 982797"/>
                      <a:gd name="connsiteY49" fmla="*/ 496106 h 976639"/>
                      <a:gd name="connsiteX50" fmla="*/ 102514 w 982797"/>
                      <a:gd name="connsiteY50" fmla="*/ 489432 h 976639"/>
                      <a:gd name="connsiteX51" fmla="*/ 4457 w 982797"/>
                      <a:gd name="connsiteY51" fmla="*/ 444938 h 976639"/>
                      <a:gd name="connsiteX52" fmla="*/ 0 w 982797"/>
                      <a:gd name="connsiteY52" fmla="*/ 440489 h 976639"/>
                      <a:gd name="connsiteX53" fmla="*/ 15600 w 982797"/>
                      <a:gd name="connsiteY53" fmla="*/ 353726 h 976639"/>
                      <a:gd name="connsiteX54" fmla="*/ 20057 w 982797"/>
                      <a:gd name="connsiteY54" fmla="*/ 351501 h 976639"/>
                      <a:gd name="connsiteX55" fmla="*/ 129257 w 982797"/>
                      <a:gd name="connsiteY55" fmla="*/ 342602 h 976639"/>
                      <a:gd name="connsiteX56" fmla="*/ 135942 w 982797"/>
                      <a:gd name="connsiteY56" fmla="*/ 340377 h 976639"/>
                      <a:gd name="connsiteX57" fmla="*/ 151542 w 982797"/>
                      <a:gd name="connsiteY57" fmla="*/ 302558 h 976639"/>
                      <a:gd name="connsiteX58" fmla="*/ 151542 w 982797"/>
                      <a:gd name="connsiteY58" fmla="*/ 295884 h 976639"/>
                      <a:gd name="connsiteX59" fmla="*/ 91371 w 982797"/>
                      <a:gd name="connsiteY59" fmla="*/ 209121 h 976639"/>
                      <a:gd name="connsiteX60" fmla="*/ 91371 w 982797"/>
                      <a:gd name="connsiteY60" fmla="*/ 200222 h 976639"/>
                      <a:gd name="connsiteX61" fmla="*/ 147085 w 982797"/>
                      <a:gd name="connsiteY61" fmla="*/ 133481 h 976639"/>
                      <a:gd name="connsiteX62" fmla="*/ 153771 w 982797"/>
                      <a:gd name="connsiteY62" fmla="*/ 133481 h 976639"/>
                      <a:gd name="connsiteX63" fmla="*/ 249599 w 982797"/>
                      <a:gd name="connsiteY63" fmla="*/ 180200 h 976639"/>
                      <a:gd name="connsiteX64" fmla="*/ 256285 w 982797"/>
                      <a:gd name="connsiteY64" fmla="*/ 180200 h 976639"/>
                      <a:gd name="connsiteX65" fmla="*/ 289713 w 982797"/>
                      <a:gd name="connsiteY65" fmla="*/ 157953 h 976639"/>
                      <a:gd name="connsiteX66" fmla="*/ 283027 w 982797"/>
                      <a:gd name="connsiteY66" fmla="*/ 44493 h 976639"/>
                      <a:gd name="connsiteX67" fmla="*/ 369942 w 982797"/>
                      <a:gd name="connsiteY67" fmla="*/ 11123 h 976639"/>
                      <a:gd name="connsiteX68" fmla="*/ 439027 w 982797"/>
                      <a:gd name="connsiteY68" fmla="*/ 106785 h 976639"/>
                      <a:gd name="connsiteX69" fmla="*/ 481370 w 982797"/>
                      <a:gd name="connsiteY69" fmla="*/ 102335 h 976639"/>
                      <a:gd name="connsiteX70" fmla="*/ 532627 w 982797"/>
                      <a:gd name="connsiteY70" fmla="*/ 0 h 976639"/>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52113 w 982797"/>
                      <a:gd name="connsiteY31" fmla="*/ 956617 h 974414"/>
                      <a:gd name="connsiteX32" fmla="*/ 347656 w 982797"/>
                      <a:gd name="connsiteY32" fmla="*/ 847607 h 974414"/>
                      <a:gd name="connsiteX33" fmla="*/ 296399 w 982797"/>
                      <a:gd name="connsiteY33" fmla="*/ 825360 h 974414"/>
                      <a:gd name="connsiteX34" fmla="*/ 211713 w 982797"/>
                      <a:gd name="connsiteY34" fmla="*/ 887652 h 974414"/>
                      <a:gd name="connsiteX35" fmla="*/ 205028 w 982797"/>
                      <a:gd name="connsiteY35" fmla="*/ 887652 h 974414"/>
                      <a:gd name="connsiteX36" fmla="*/ 138171 w 982797"/>
                      <a:gd name="connsiteY36" fmla="*/ 829810 h 974414"/>
                      <a:gd name="connsiteX37" fmla="*/ 135942 w 982797"/>
                      <a:gd name="connsiteY37" fmla="*/ 823135 h 974414"/>
                      <a:gd name="connsiteX38" fmla="*/ 182742 w 982797"/>
                      <a:gd name="connsiteY38" fmla="*/ 725249 h 974414"/>
                      <a:gd name="connsiteX39" fmla="*/ 182742 w 982797"/>
                      <a:gd name="connsiteY39" fmla="*/ 720800 h 974414"/>
                      <a:gd name="connsiteX40" fmla="*/ 160457 w 982797"/>
                      <a:gd name="connsiteY40" fmla="*/ 687429 h 974414"/>
                      <a:gd name="connsiteX41" fmla="*/ 153771 w 982797"/>
                      <a:gd name="connsiteY41" fmla="*/ 685205 h 974414"/>
                      <a:gd name="connsiteX42" fmla="*/ 49028 w 982797"/>
                      <a:gd name="connsiteY42" fmla="*/ 696328 h 974414"/>
                      <a:gd name="connsiteX43" fmla="*/ 42343 w 982797"/>
                      <a:gd name="connsiteY43" fmla="*/ 691879 h 974414"/>
                      <a:gd name="connsiteX44" fmla="*/ 11143 w 982797"/>
                      <a:gd name="connsiteY44" fmla="*/ 609565 h 974414"/>
                      <a:gd name="connsiteX45" fmla="*/ 15600 w 982797"/>
                      <a:gd name="connsiteY45" fmla="*/ 602891 h 974414"/>
                      <a:gd name="connsiteX46" fmla="*/ 104742 w 982797"/>
                      <a:gd name="connsiteY46" fmla="*/ 542824 h 974414"/>
                      <a:gd name="connsiteX47" fmla="*/ 106971 w 982797"/>
                      <a:gd name="connsiteY47" fmla="*/ 536150 h 974414"/>
                      <a:gd name="connsiteX48" fmla="*/ 104742 w 982797"/>
                      <a:gd name="connsiteY48" fmla="*/ 496106 h 974414"/>
                      <a:gd name="connsiteX49" fmla="*/ 102514 w 982797"/>
                      <a:gd name="connsiteY49" fmla="*/ 489432 h 974414"/>
                      <a:gd name="connsiteX50" fmla="*/ 4457 w 982797"/>
                      <a:gd name="connsiteY50" fmla="*/ 444938 h 974414"/>
                      <a:gd name="connsiteX51" fmla="*/ 0 w 982797"/>
                      <a:gd name="connsiteY51" fmla="*/ 440489 h 974414"/>
                      <a:gd name="connsiteX52" fmla="*/ 15600 w 982797"/>
                      <a:gd name="connsiteY52" fmla="*/ 353726 h 974414"/>
                      <a:gd name="connsiteX53" fmla="*/ 20057 w 982797"/>
                      <a:gd name="connsiteY53" fmla="*/ 351501 h 974414"/>
                      <a:gd name="connsiteX54" fmla="*/ 129257 w 982797"/>
                      <a:gd name="connsiteY54" fmla="*/ 342602 h 974414"/>
                      <a:gd name="connsiteX55" fmla="*/ 135942 w 982797"/>
                      <a:gd name="connsiteY55" fmla="*/ 340377 h 974414"/>
                      <a:gd name="connsiteX56" fmla="*/ 151542 w 982797"/>
                      <a:gd name="connsiteY56" fmla="*/ 302558 h 974414"/>
                      <a:gd name="connsiteX57" fmla="*/ 151542 w 982797"/>
                      <a:gd name="connsiteY57" fmla="*/ 295884 h 974414"/>
                      <a:gd name="connsiteX58" fmla="*/ 91371 w 982797"/>
                      <a:gd name="connsiteY58" fmla="*/ 209121 h 974414"/>
                      <a:gd name="connsiteX59" fmla="*/ 91371 w 982797"/>
                      <a:gd name="connsiteY59" fmla="*/ 200222 h 974414"/>
                      <a:gd name="connsiteX60" fmla="*/ 147085 w 982797"/>
                      <a:gd name="connsiteY60" fmla="*/ 133481 h 974414"/>
                      <a:gd name="connsiteX61" fmla="*/ 153771 w 982797"/>
                      <a:gd name="connsiteY61" fmla="*/ 133481 h 974414"/>
                      <a:gd name="connsiteX62" fmla="*/ 249599 w 982797"/>
                      <a:gd name="connsiteY62" fmla="*/ 180200 h 974414"/>
                      <a:gd name="connsiteX63" fmla="*/ 256285 w 982797"/>
                      <a:gd name="connsiteY63" fmla="*/ 180200 h 974414"/>
                      <a:gd name="connsiteX64" fmla="*/ 289713 w 982797"/>
                      <a:gd name="connsiteY64" fmla="*/ 157953 h 974414"/>
                      <a:gd name="connsiteX65" fmla="*/ 283027 w 982797"/>
                      <a:gd name="connsiteY65" fmla="*/ 44493 h 974414"/>
                      <a:gd name="connsiteX66" fmla="*/ 369942 w 982797"/>
                      <a:gd name="connsiteY66" fmla="*/ 11123 h 974414"/>
                      <a:gd name="connsiteX67" fmla="*/ 439027 w 982797"/>
                      <a:gd name="connsiteY67" fmla="*/ 106785 h 974414"/>
                      <a:gd name="connsiteX68" fmla="*/ 481370 w 982797"/>
                      <a:gd name="connsiteY68" fmla="*/ 102335 h 974414"/>
                      <a:gd name="connsiteX69" fmla="*/ 532627 w 982797"/>
                      <a:gd name="connsiteY6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11713 w 982797"/>
                      <a:gd name="connsiteY33" fmla="*/ 887652 h 974414"/>
                      <a:gd name="connsiteX34" fmla="*/ 205028 w 982797"/>
                      <a:gd name="connsiteY34" fmla="*/ 887652 h 974414"/>
                      <a:gd name="connsiteX35" fmla="*/ 138171 w 982797"/>
                      <a:gd name="connsiteY35" fmla="*/ 829810 h 974414"/>
                      <a:gd name="connsiteX36" fmla="*/ 135942 w 982797"/>
                      <a:gd name="connsiteY36" fmla="*/ 823135 h 974414"/>
                      <a:gd name="connsiteX37" fmla="*/ 182742 w 982797"/>
                      <a:gd name="connsiteY37" fmla="*/ 725249 h 974414"/>
                      <a:gd name="connsiteX38" fmla="*/ 182742 w 982797"/>
                      <a:gd name="connsiteY38" fmla="*/ 720800 h 974414"/>
                      <a:gd name="connsiteX39" fmla="*/ 160457 w 982797"/>
                      <a:gd name="connsiteY39" fmla="*/ 687429 h 974414"/>
                      <a:gd name="connsiteX40" fmla="*/ 153771 w 982797"/>
                      <a:gd name="connsiteY40" fmla="*/ 685205 h 974414"/>
                      <a:gd name="connsiteX41" fmla="*/ 49028 w 982797"/>
                      <a:gd name="connsiteY41" fmla="*/ 696328 h 974414"/>
                      <a:gd name="connsiteX42" fmla="*/ 42343 w 982797"/>
                      <a:gd name="connsiteY42" fmla="*/ 691879 h 974414"/>
                      <a:gd name="connsiteX43" fmla="*/ 11143 w 982797"/>
                      <a:gd name="connsiteY43" fmla="*/ 609565 h 974414"/>
                      <a:gd name="connsiteX44" fmla="*/ 15600 w 982797"/>
                      <a:gd name="connsiteY44" fmla="*/ 602891 h 974414"/>
                      <a:gd name="connsiteX45" fmla="*/ 104742 w 982797"/>
                      <a:gd name="connsiteY45" fmla="*/ 542824 h 974414"/>
                      <a:gd name="connsiteX46" fmla="*/ 106971 w 982797"/>
                      <a:gd name="connsiteY46" fmla="*/ 536150 h 974414"/>
                      <a:gd name="connsiteX47" fmla="*/ 104742 w 982797"/>
                      <a:gd name="connsiteY47" fmla="*/ 496106 h 974414"/>
                      <a:gd name="connsiteX48" fmla="*/ 102514 w 982797"/>
                      <a:gd name="connsiteY48" fmla="*/ 489432 h 974414"/>
                      <a:gd name="connsiteX49" fmla="*/ 4457 w 982797"/>
                      <a:gd name="connsiteY49" fmla="*/ 444938 h 974414"/>
                      <a:gd name="connsiteX50" fmla="*/ 0 w 982797"/>
                      <a:gd name="connsiteY50" fmla="*/ 440489 h 974414"/>
                      <a:gd name="connsiteX51" fmla="*/ 15600 w 982797"/>
                      <a:gd name="connsiteY51" fmla="*/ 353726 h 974414"/>
                      <a:gd name="connsiteX52" fmla="*/ 20057 w 982797"/>
                      <a:gd name="connsiteY52" fmla="*/ 351501 h 974414"/>
                      <a:gd name="connsiteX53" fmla="*/ 129257 w 982797"/>
                      <a:gd name="connsiteY53" fmla="*/ 342602 h 974414"/>
                      <a:gd name="connsiteX54" fmla="*/ 135942 w 982797"/>
                      <a:gd name="connsiteY54" fmla="*/ 340377 h 974414"/>
                      <a:gd name="connsiteX55" fmla="*/ 151542 w 982797"/>
                      <a:gd name="connsiteY55" fmla="*/ 302558 h 974414"/>
                      <a:gd name="connsiteX56" fmla="*/ 151542 w 982797"/>
                      <a:gd name="connsiteY56" fmla="*/ 295884 h 974414"/>
                      <a:gd name="connsiteX57" fmla="*/ 91371 w 982797"/>
                      <a:gd name="connsiteY57" fmla="*/ 209121 h 974414"/>
                      <a:gd name="connsiteX58" fmla="*/ 91371 w 982797"/>
                      <a:gd name="connsiteY58" fmla="*/ 200222 h 974414"/>
                      <a:gd name="connsiteX59" fmla="*/ 147085 w 982797"/>
                      <a:gd name="connsiteY59" fmla="*/ 133481 h 974414"/>
                      <a:gd name="connsiteX60" fmla="*/ 153771 w 982797"/>
                      <a:gd name="connsiteY60" fmla="*/ 133481 h 974414"/>
                      <a:gd name="connsiteX61" fmla="*/ 249599 w 982797"/>
                      <a:gd name="connsiteY61" fmla="*/ 180200 h 974414"/>
                      <a:gd name="connsiteX62" fmla="*/ 256285 w 982797"/>
                      <a:gd name="connsiteY62" fmla="*/ 180200 h 974414"/>
                      <a:gd name="connsiteX63" fmla="*/ 289713 w 982797"/>
                      <a:gd name="connsiteY63" fmla="*/ 157953 h 974414"/>
                      <a:gd name="connsiteX64" fmla="*/ 283027 w 982797"/>
                      <a:gd name="connsiteY64" fmla="*/ 44493 h 974414"/>
                      <a:gd name="connsiteX65" fmla="*/ 369942 w 982797"/>
                      <a:gd name="connsiteY65" fmla="*/ 11123 h 974414"/>
                      <a:gd name="connsiteX66" fmla="*/ 439027 w 982797"/>
                      <a:gd name="connsiteY66" fmla="*/ 106785 h 974414"/>
                      <a:gd name="connsiteX67" fmla="*/ 481370 w 982797"/>
                      <a:gd name="connsiteY67" fmla="*/ 102335 h 974414"/>
                      <a:gd name="connsiteX68" fmla="*/ 532627 w 982797"/>
                      <a:gd name="connsiteY68"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8171 w 982797"/>
                      <a:gd name="connsiteY34" fmla="*/ 829810 h 974414"/>
                      <a:gd name="connsiteX35" fmla="*/ 135942 w 982797"/>
                      <a:gd name="connsiteY35" fmla="*/ 823135 h 974414"/>
                      <a:gd name="connsiteX36" fmla="*/ 182742 w 982797"/>
                      <a:gd name="connsiteY36" fmla="*/ 725249 h 974414"/>
                      <a:gd name="connsiteX37" fmla="*/ 182742 w 982797"/>
                      <a:gd name="connsiteY37" fmla="*/ 720800 h 974414"/>
                      <a:gd name="connsiteX38" fmla="*/ 160457 w 982797"/>
                      <a:gd name="connsiteY38" fmla="*/ 687429 h 974414"/>
                      <a:gd name="connsiteX39" fmla="*/ 153771 w 982797"/>
                      <a:gd name="connsiteY39" fmla="*/ 685205 h 974414"/>
                      <a:gd name="connsiteX40" fmla="*/ 49028 w 982797"/>
                      <a:gd name="connsiteY40" fmla="*/ 696328 h 974414"/>
                      <a:gd name="connsiteX41" fmla="*/ 42343 w 982797"/>
                      <a:gd name="connsiteY41" fmla="*/ 691879 h 974414"/>
                      <a:gd name="connsiteX42" fmla="*/ 11143 w 982797"/>
                      <a:gd name="connsiteY42" fmla="*/ 609565 h 974414"/>
                      <a:gd name="connsiteX43" fmla="*/ 15600 w 982797"/>
                      <a:gd name="connsiteY43" fmla="*/ 602891 h 974414"/>
                      <a:gd name="connsiteX44" fmla="*/ 104742 w 982797"/>
                      <a:gd name="connsiteY44" fmla="*/ 542824 h 974414"/>
                      <a:gd name="connsiteX45" fmla="*/ 106971 w 982797"/>
                      <a:gd name="connsiteY45" fmla="*/ 536150 h 974414"/>
                      <a:gd name="connsiteX46" fmla="*/ 104742 w 982797"/>
                      <a:gd name="connsiteY46" fmla="*/ 496106 h 974414"/>
                      <a:gd name="connsiteX47" fmla="*/ 102514 w 982797"/>
                      <a:gd name="connsiteY47" fmla="*/ 489432 h 974414"/>
                      <a:gd name="connsiteX48" fmla="*/ 4457 w 982797"/>
                      <a:gd name="connsiteY48" fmla="*/ 444938 h 974414"/>
                      <a:gd name="connsiteX49" fmla="*/ 0 w 982797"/>
                      <a:gd name="connsiteY49" fmla="*/ 440489 h 974414"/>
                      <a:gd name="connsiteX50" fmla="*/ 15600 w 982797"/>
                      <a:gd name="connsiteY50" fmla="*/ 353726 h 974414"/>
                      <a:gd name="connsiteX51" fmla="*/ 20057 w 982797"/>
                      <a:gd name="connsiteY51" fmla="*/ 351501 h 974414"/>
                      <a:gd name="connsiteX52" fmla="*/ 129257 w 982797"/>
                      <a:gd name="connsiteY52" fmla="*/ 342602 h 974414"/>
                      <a:gd name="connsiteX53" fmla="*/ 135942 w 982797"/>
                      <a:gd name="connsiteY53" fmla="*/ 340377 h 974414"/>
                      <a:gd name="connsiteX54" fmla="*/ 151542 w 982797"/>
                      <a:gd name="connsiteY54" fmla="*/ 302558 h 974414"/>
                      <a:gd name="connsiteX55" fmla="*/ 151542 w 982797"/>
                      <a:gd name="connsiteY55" fmla="*/ 295884 h 974414"/>
                      <a:gd name="connsiteX56" fmla="*/ 91371 w 982797"/>
                      <a:gd name="connsiteY56" fmla="*/ 209121 h 974414"/>
                      <a:gd name="connsiteX57" fmla="*/ 91371 w 982797"/>
                      <a:gd name="connsiteY57" fmla="*/ 200222 h 974414"/>
                      <a:gd name="connsiteX58" fmla="*/ 147085 w 982797"/>
                      <a:gd name="connsiteY58" fmla="*/ 133481 h 974414"/>
                      <a:gd name="connsiteX59" fmla="*/ 153771 w 982797"/>
                      <a:gd name="connsiteY59" fmla="*/ 133481 h 974414"/>
                      <a:gd name="connsiteX60" fmla="*/ 249599 w 982797"/>
                      <a:gd name="connsiteY60" fmla="*/ 180200 h 974414"/>
                      <a:gd name="connsiteX61" fmla="*/ 256285 w 982797"/>
                      <a:gd name="connsiteY61" fmla="*/ 180200 h 974414"/>
                      <a:gd name="connsiteX62" fmla="*/ 289713 w 982797"/>
                      <a:gd name="connsiteY62" fmla="*/ 157953 h 974414"/>
                      <a:gd name="connsiteX63" fmla="*/ 283027 w 982797"/>
                      <a:gd name="connsiteY63" fmla="*/ 44493 h 974414"/>
                      <a:gd name="connsiteX64" fmla="*/ 369942 w 982797"/>
                      <a:gd name="connsiteY64" fmla="*/ 11123 h 974414"/>
                      <a:gd name="connsiteX65" fmla="*/ 439027 w 982797"/>
                      <a:gd name="connsiteY65" fmla="*/ 106785 h 974414"/>
                      <a:gd name="connsiteX66" fmla="*/ 481370 w 982797"/>
                      <a:gd name="connsiteY66" fmla="*/ 102335 h 974414"/>
                      <a:gd name="connsiteX67" fmla="*/ 532627 w 982797"/>
                      <a:gd name="connsiteY67"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82742 w 982797"/>
                      <a:gd name="connsiteY36" fmla="*/ 720800 h 974414"/>
                      <a:gd name="connsiteX37" fmla="*/ 160457 w 982797"/>
                      <a:gd name="connsiteY37" fmla="*/ 687429 h 974414"/>
                      <a:gd name="connsiteX38" fmla="*/ 153771 w 982797"/>
                      <a:gd name="connsiteY38" fmla="*/ 685205 h 974414"/>
                      <a:gd name="connsiteX39" fmla="*/ 49028 w 982797"/>
                      <a:gd name="connsiteY39" fmla="*/ 696328 h 974414"/>
                      <a:gd name="connsiteX40" fmla="*/ 42343 w 982797"/>
                      <a:gd name="connsiteY40" fmla="*/ 691879 h 974414"/>
                      <a:gd name="connsiteX41" fmla="*/ 11143 w 982797"/>
                      <a:gd name="connsiteY41" fmla="*/ 609565 h 974414"/>
                      <a:gd name="connsiteX42" fmla="*/ 15600 w 982797"/>
                      <a:gd name="connsiteY42" fmla="*/ 602891 h 974414"/>
                      <a:gd name="connsiteX43" fmla="*/ 104742 w 982797"/>
                      <a:gd name="connsiteY43" fmla="*/ 542824 h 974414"/>
                      <a:gd name="connsiteX44" fmla="*/ 106971 w 982797"/>
                      <a:gd name="connsiteY44" fmla="*/ 536150 h 974414"/>
                      <a:gd name="connsiteX45" fmla="*/ 104742 w 982797"/>
                      <a:gd name="connsiteY45" fmla="*/ 496106 h 974414"/>
                      <a:gd name="connsiteX46" fmla="*/ 102514 w 982797"/>
                      <a:gd name="connsiteY46" fmla="*/ 489432 h 974414"/>
                      <a:gd name="connsiteX47" fmla="*/ 4457 w 982797"/>
                      <a:gd name="connsiteY47" fmla="*/ 444938 h 974414"/>
                      <a:gd name="connsiteX48" fmla="*/ 0 w 982797"/>
                      <a:gd name="connsiteY48" fmla="*/ 440489 h 974414"/>
                      <a:gd name="connsiteX49" fmla="*/ 15600 w 982797"/>
                      <a:gd name="connsiteY49" fmla="*/ 353726 h 974414"/>
                      <a:gd name="connsiteX50" fmla="*/ 20057 w 982797"/>
                      <a:gd name="connsiteY50" fmla="*/ 351501 h 974414"/>
                      <a:gd name="connsiteX51" fmla="*/ 129257 w 982797"/>
                      <a:gd name="connsiteY51" fmla="*/ 342602 h 974414"/>
                      <a:gd name="connsiteX52" fmla="*/ 135942 w 982797"/>
                      <a:gd name="connsiteY52" fmla="*/ 340377 h 974414"/>
                      <a:gd name="connsiteX53" fmla="*/ 151542 w 982797"/>
                      <a:gd name="connsiteY53" fmla="*/ 302558 h 974414"/>
                      <a:gd name="connsiteX54" fmla="*/ 151542 w 982797"/>
                      <a:gd name="connsiteY54" fmla="*/ 295884 h 974414"/>
                      <a:gd name="connsiteX55" fmla="*/ 91371 w 982797"/>
                      <a:gd name="connsiteY55" fmla="*/ 209121 h 974414"/>
                      <a:gd name="connsiteX56" fmla="*/ 91371 w 982797"/>
                      <a:gd name="connsiteY56" fmla="*/ 200222 h 974414"/>
                      <a:gd name="connsiteX57" fmla="*/ 147085 w 982797"/>
                      <a:gd name="connsiteY57" fmla="*/ 133481 h 974414"/>
                      <a:gd name="connsiteX58" fmla="*/ 153771 w 982797"/>
                      <a:gd name="connsiteY58" fmla="*/ 133481 h 974414"/>
                      <a:gd name="connsiteX59" fmla="*/ 249599 w 982797"/>
                      <a:gd name="connsiteY59" fmla="*/ 180200 h 974414"/>
                      <a:gd name="connsiteX60" fmla="*/ 256285 w 982797"/>
                      <a:gd name="connsiteY60" fmla="*/ 180200 h 974414"/>
                      <a:gd name="connsiteX61" fmla="*/ 289713 w 982797"/>
                      <a:gd name="connsiteY61" fmla="*/ 157953 h 974414"/>
                      <a:gd name="connsiteX62" fmla="*/ 283027 w 982797"/>
                      <a:gd name="connsiteY62" fmla="*/ 44493 h 974414"/>
                      <a:gd name="connsiteX63" fmla="*/ 369942 w 982797"/>
                      <a:gd name="connsiteY63" fmla="*/ 11123 h 974414"/>
                      <a:gd name="connsiteX64" fmla="*/ 439027 w 982797"/>
                      <a:gd name="connsiteY64" fmla="*/ 106785 h 974414"/>
                      <a:gd name="connsiteX65" fmla="*/ 481370 w 982797"/>
                      <a:gd name="connsiteY65" fmla="*/ 102335 h 974414"/>
                      <a:gd name="connsiteX66" fmla="*/ 532627 w 982797"/>
                      <a:gd name="connsiteY66"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60457 w 982797"/>
                      <a:gd name="connsiteY36" fmla="*/ 687429 h 974414"/>
                      <a:gd name="connsiteX37" fmla="*/ 153771 w 982797"/>
                      <a:gd name="connsiteY37" fmla="*/ 685205 h 974414"/>
                      <a:gd name="connsiteX38" fmla="*/ 49028 w 982797"/>
                      <a:gd name="connsiteY38" fmla="*/ 696328 h 974414"/>
                      <a:gd name="connsiteX39" fmla="*/ 42343 w 982797"/>
                      <a:gd name="connsiteY39" fmla="*/ 691879 h 974414"/>
                      <a:gd name="connsiteX40" fmla="*/ 11143 w 982797"/>
                      <a:gd name="connsiteY40" fmla="*/ 609565 h 974414"/>
                      <a:gd name="connsiteX41" fmla="*/ 15600 w 982797"/>
                      <a:gd name="connsiteY41" fmla="*/ 602891 h 974414"/>
                      <a:gd name="connsiteX42" fmla="*/ 104742 w 982797"/>
                      <a:gd name="connsiteY42" fmla="*/ 542824 h 974414"/>
                      <a:gd name="connsiteX43" fmla="*/ 106971 w 982797"/>
                      <a:gd name="connsiteY43" fmla="*/ 536150 h 974414"/>
                      <a:gd name="connsiteX44" fmla="*/ 104742 w 982797"/>
                      <a:gd name="connsiteY44" fmla="*/ 496106 h 974414"/>
                      <a:gd name="connsiteX45" fmla="*/ 102514 w 982797"/>
                      <a:gd name="connsiteY45" fmla="*/ 489432 h 974414"/>
                      <a:gd name="connsiteX46" fmla="*/ 4457 w 982797"/>
                      <a:gd name="connsiteY46" fmla="*/ 444938 h 974414"/>
                      <a:gd name="connsiteX47" fmla="*/ 0 w 982797"/>
                      <a:gd name="connsiteY47" fmla="*/ 440489 h 974414"/>
                      <a:gd name="connsiteX48" fmla="*/ 15600 w 982797"/>
                      <a:gd name="connsiteY48" fmla="*/ 353726 h 974414"/>
                      <a:gd name="connsiteX49" fmla="*/ 20057 w 982797"/>
                      <a:gd name="connsiteY49" fmla="*/ 351501 h 974414"/>
                      <a:gd name="connsiteX50" fmla="*/ 129257 w 982797"/>
                      <a:gd name="connsiteY50" fmla="*/ 342602 h 974414"/>
                      <a:gd name="connsiteX51" fmla="*/ 135942 w 982797"/>
                      <a:gd name="connsiteY51" fmla="*/ 340377 h 974414"/>
                      <a:gd name="connsiteX52" fmla="*/ 151542 w 982797"/>
                      <a:gd name="connsiteY52" fmla="*/ 302558 h 974414"/>
                      <a:gd name="connsiteX53" fmla="*/ 151542 w 982797"/>
                      <a:gd name="connsiteY53" fmla="*/ 295884 h 974414"/>
                      <a:gd name="connsiteX54" fmla="*/ 91371 w 982797"/>
                      <a:gd name="connsiteY54" fmla="*/ 209121 h 974414"/>
                      <a:gd name="connsiteX55" fmla="*/ 91371 w 982797"/>
                      <a:gd name="connsiteY55" fmla="*/ 200222 h 974414"/>
                      <a:gd name="connsiteX56" fmla="*/ 147085 w 982797"/>
                      <a:gd name="connsiteY56" fmla="*/ 133481 h 974414"/>
                      <a:gd name="connsiteX57" fmla="*/ 153771 w 982797"/>
                      <a:gd name="connsiteY57" fmla="*/ 133481 h 974414"/>
                      <a:gd name="connsiteX58" fmla="*/ 249599 w 982797"/>
                      <a:gd name="connsiteY58" fmla="*/ 180200 h 974414"/>
                      <a:gd name="connsiteX59" fmla="*/ 256285 w 982797"/>
                      <a:gd name="connsiteY59" fmla="*/ 180200 h 974414"/>
                      <a:gd name="connsiteX60" fmla="*/ 289713 w 982797"/>
                      <a:gd name="connsiteY60" fmla="*/ 157953 h 974414"/>
                      <a:gd name="connsiteX61" fmla="*/ 283027 w 982797"/>
                      <a:gd name="connsiteY61" fmla="*/ 44493 h 974414"/>
                      <a:gd name="connsiteX62" fmla="*/ 369942 w 982797"/>
                      <a:gd name="connsiteY62" fmla="*/ 11123 h 974414"/>
                      <a:gd name="connsiteX63" fmla="*/ 439027 w 982797"/>
                      <a:gd name="connsiteY63" fmla="*/ 106785 h 974414"/>
                      <a:gd name="connsiteX64" fmla="*/ 481370 w 982797"/>
                      <a:gd name="connsiteY64" fmla="*/ 102335 h 974414"/>
                      <a:gd name="connsiteX65" fmla="*/ 532627 w 982797"/>
                      <a:gd name="connsiteY65"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42343 w 982797"/>
                      <a:gd name="connsiteY38" fmla="*/ 691879 h 974414"/>
                      <a:gd name="connsiteX39" fmla="*/ 11143 w 982797"/>
                      <a:gd name="connsiteY39" fmla="*/ 609565 h 974414"/>
                      <a:gd name="connsiteX40" fmla="*/ 15600 w 982797"/>
                      <a:gd name="connsiteY40" fmla="*/ 602891 h 974414"/>
                      <a:gd name="connsiteX41" fmla="*/ 104742 w 982797"/>
                      <a:gd name="connsiteY41" fmla="*/ 542824 h 974414"/>
                      <a:gd name="connsiteX42" fmla="*/ 106971 w 982797"/>
                      <a:gd name="connsiteY42" fmla="*/ 536150 h 974414"/>
                      <a:gd name="connsiteX43" fmla="*/ 104742 w 982797"/>
                      <a:gd name="connsiteY43" fmla="*/ 496106 h 974414"/>
                      <a:gd name="connsiteX44" fmla="*/ 102514 w 982797"/>
                      <a:gd name="connsiteY44" fmla="*/ 489432 h 974414"/>
                      <a:gd name="connsiteX45" fmla="*/ 4457 w 982797"/>
                      <a:gd name="connsiteY45" fmla="*/ 444938 h 974414"/>
                      <a:gd name="connsiteX46" fmla="*/ 0 w 982797"/>
                      <a:gd name="connsiteY46" fmla="*/ 440489 h 974414"/>
                      <a:gd name="connsiteX47" fmla="*/ 15600 w 982797"/>
                      <a:gd name="connsiteY47" fmla="*/ 353726 h 974414"/>
                      <a:gd name="connsiteX48" fmla="*/ 20057 w 982797"/>
                      <a:gd name="connsiteY48" fmla="*/ 351501 h 974414"/>
                      <a:gd name="connsiteX49" fmla="*/ 129257 w 982797"/>
                      <a:gd name="connsiteY49" fmla="*/ 342602 h 974414"/>
                      <a:gd name="connsiteX50" fmla="*/ 135942 w 982797"/>
                      <a:gd name="connsiteY50" fmla="*/ 340377 h 974414"/>
                      <a:gd name="connsiteX51" fmla="*/ 151542 w 982797"/>
                      <a:gd name="connsiteY51" fmla="*/ 302558 h 974414"/>
                      <a:gd name="connsiteX52" fmla="*/ 151542 w 982797"/>
                      <a:gd name="connsiteY52" fmla="*/ 295884 h 974414"/>
                      <a:gd name="connsiteX53" fmla="*/ 91371 w 982797"/>
                      <a:gd name="connsiteY53" fmla="*/ 209121 h 974414"/>
                      <a:gd name="connsiteX54" fmla="*/ 91371 w 982797"/>
                      <a:gd name="connsiteY54" fmla="*/ 200222 h 974414"/>
                      <a:gd name="connsiteX55" fmla="*/ 147085 w 982797"/>
                      <a:gd name="connsiteY55" fmla="*/ 133481 h 974414"/>
                      <a:gd name="connsiteX56" fmla="*/ 153771 w 982797"/>
                      <a:gd name="connsiteY56" fmla="*/ 133481 h 974414"/>
                      <a:gd name="connsiteX57" fmla="*/ 249599 w 982797"/>
                      <a:gd name="connsiteY57" fmla="*/ 180200 h 974414"/>
                      <a:gd name="connsiteX58" fmla="*/ 256285 w 982797"/>
                      <a:gd name="connsiteY58" fmla="*/ 180200 h 974414"/>
                      <a:gd name="connsiteX59" fmla="*/ 289713 w 982797"/>
                      <a:gd name="connsiteY59" fmla="*/ 157953 h 974414"/>
                      <a:gd name="connsiteX60" fmla="*/ 283027 w 982797"/>
                      <a:gd name="connsiteY60" fmla="*/ 44493 h 974414"/>
                      <a:gd name="connsiteX61" fmla="*/ 369942 w 982797"/>
                      <a:gd name="connsiteY61" fmla="*/ 11123 h 974414"/>
                      <a:gd name="connsiteX62" fmla="*/ 439027 w 982797"/>
                      <a:gd name="connsiteY62" fmla="*/ 106785 h 974414"/>
                      <a:gd name="connsiteX63" fmla="*/ 481370 w 982797"/>
                      <a:gd name="connsiteY63" fmla="*/ 102335 h 974414"/>
                      <a:gd name="connsiteX64" fmla="*/ 532627 w 982797"/>
                      <a:gd name="connsiteY64"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1143 w 982797"/>
                      <a:gd name="connsiteY38" fmla="*/ 609565 h 974414"/>
                      <a:gd name="connsiteX39" fmla="*/ 15600 w 982797"/>
                      <a:gd name="connsiteY39" fmla="*/ 602891 h 974414"/>
                      <a:gd name="connsiteX40" fmla="*/ 104742 w 982797"/>
                      <a:gd name="connsiteY40" fmla="*/ 542824 h 974414"/>
                      <a:gd name="connsiteX41" fmla="*/ 106971 w 982797"/>
                      <a:gd name="connsiteY41" fmla="*/ 536150 h 974414"/>
                      <a:gd name="connsiteX42" fmla="*/ 104742 w 982797"/>
                      <a:gd name="connsiteY42" fmla="*/ 496106 h 974414"/>
                      <a:gd name="connsiteX43" fmla="*/ 102514 w 982797"/>
                      <a:gd name="connsiteY43" fmla="*/ 489432 h 974414"/>
                      <a:gd name="connsiteX44" fmla="*/ 4457 w 982797"/>
                      <a:gd name="connsiteY44" fmla="*/ 444938 h 974414"/>
                      <a:gd name="connsiteX45" fmla="*/ 0 w 982797"/>
                      <a:gd name="connsiteY45" fmla="*/ 440489 h 974414"/>
                      <a:gd name="connsiteX46" fmla="*/ 15600 w 982797"/>
                      <a:gd name="connsiteY46" fmla="*/ 353726 h 974414"/>
                      <a:gd name="connsiteX47" fmla="*/ 20057 w 982797"/>
                      <a:gd name="connsiteY47" fmla="*/ 351501 h 974414"/>
                      <a:gd name="connsiteX48" fmla="*/ 129257 w 982797"/>
                      <a:gd name="connsiteY48" fmla="*/ 342602 h 974414"/>
                      <a:gd name="connsiteX49" fmla="*/ 135942 w 982797"/>
                      <a:gd name="connsiteY49" fmla="*/ 340377 h 974414"/>
                      <a:gd name="connsiteX50" fmla="*/ 151542 w 982797"/>
                      <a:gd name="connsiteY50" fmla="*/ 302558 h 974414"/>
                      <a:gd name="connsiteX51" fmla="*/ 151542 w 982797"/>
                      <a:gd name="connsiteY51" fmla="*/ 295884 h 974414"/>
                      <a:gd name="connsiteX52" fmla="*/ 91371 w 982797"/>
                      <a:gd name="connsiteY52" fmla="*/ 209121 h 974414"/>
                      <a:gd name="connsiteX53" fmla="*/ 91371 w 982797"/>
                      <a:gd name="connsiteY53" fmla="*/ 200222 h 974414"/>
                      <a:gd name="connsiteX54" fmla="*/ 147085 w 982797"/>
                      <a:gd name="connsiteY54" fmla="*/ 133481 h 974414"/>
                      <a:gd name="connsiteX55" fmla="*/ 153771 w 982797"/>
                      <a:gd name="connsiteY55" fmla="*/ 133481 h 974414"/>
                      <a:gd name="connsiteX56" fmla="*/ 249599 w 982797"/>
                      <a:gd name="connsiteY56" fmla="*/ 180200 h 974414"/>
                      <a:gd name="connsiteX57" fmla="*/ 256285 w 982797"/>
                      <a:gd name="connsiteY57" fmla="*/ 180200 h 974414"/>
                      <a:gd name="connsiteX58" fmla="*/ 289713 w 982797"/>
                      <a:gd name="connsiteY58" fmla="*/ 157953 h 974414"/>
                      <a:gd name="connsiteX59" fmla="*/ 283027 w 982797"/>
                      <a:gd name="connsiteY59" fmla="*/ 44493 h 974414"/>
                      <a:gd name="connsiteX60" fmla="*/ 369942 w 982797"/>
                      <a:gd name="connsiteY60" fmla="*/ 11123 h 974414"/>
                      <a:gd name="connsiteX61" fmla="*/ 439027 w 982797"/>
                      <a:gd name="connsiteY61" fmla="*/ 106785 h 974414"/>
                      <a:gd name="connsiteX62" fmla="*/ 481370 w 982797"/>
                      <a:gd name="connsiteY62" fmla="*/ 102335 h 974414"/>
                      <a:gd name="connsiteX63" fmla="*/ 532627 w 982797"/>
                      <a:gd name="connsiteY63"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6971 w 982797"/>
                      <a:gd name="connsiteY40" fmla="*/ 536150 h 974414"/>
                      <a:gd name="connsiteX41" fmla="*/ 104742 w 982797"/>
                      <a:gd name="connsiteY41" fmla="*/ 496106 h 974414"/>
                      <a:gd name="connsiteX42" fmla="*/ 102514 w 982797"/>
                      <a:gd name="connsiteY42" fmla="*/ 489432 h 974414"/>
                      <a:gd name="connsiteX43" fmla="*/ 4457 w 982797"/>
                      <a:gd name="connsiteY43" fmla="*/ 444938 h 974414"/>
                      <a:gd name="connsiteX44" fmla="*/ 0 w 982797"/>
                      <a:gd name="connsiteY44" fmla="*/ 440489 h 974414"/>
                      <a:gd name="connsiteX45" fmla="*/ 15600 w 982797"/>
                      <a:gd name="connsiteY45" fmla="*/ 353726 h 974414"/>
                      <a:gd name="connsiteX46" fmla="*/ 20057 w 982797"/>
                      <a:gd name="connsiteY46" fmla="*/ 351501 h 974414"/>
                      <a:gd name="connsiteX47" fmla="*/ 129257 w 982797"/>
                      <a:gd name="connsiteY47" fmla="*/ 342602 h 974414"/>
                      <a:gd name="connsiteX48" fmla="*/ 135942 w 982797"/>
                      <a:gd name="connsiteY48" fmla="*/ 340377 h 974414"/>
                      <a:gd name="connsiteX49" fmla="*/ 151542 w 982797"/>
                      <a:gd name="connsiteY49" fmla="*/ 302558 h 974414"/>
                      <a:gd name="connsiteX50" fmla="*/ 151542 w 982797"/>
                      <a:gd name="connsiteY50" fmla="*/ 295884 h 974414"/>
                      <a:gd name="connsiteX51" fmla="*/ 91371 w 982797"/>
                      <a:gd name="connsiteY51" fmla="*/ 209121 h 974414"/>
                      <a:gd name="connsiteX52" fmla="*/ 91371 w 982797"/>
                      <a:gd name="connsiteY52" fmla="*/ 200222 h 974414"/>
                      <a:gd name="connsiteX53" fmla="*/ 147085 w 982797"/>
                      <a:gd name="connsiteY53" fmla="*/ 133481 h 974414"/>
                      <a:gd name="connsiteX54" fmla="*/ 153771 w 982797"/>
                      <a:gd name="connsiteY54" fmla="*/ 133481 h 974414"/>
                      <a:gd name="connsiteX55" fmla="*/ 249599 w 982797"/>
                      <a:gd name="connsiteY55" fmla="*/ 180200 h 974414"/>
                      <a:gd name="connsiteX56" fmla="*/ 256285 w 982797"/>
                      <a:gd name="connsiteY56" fmla="*/ 180200 h 974414"/>
                      <a:gd name="connsiteX57" fmla="*/ 289713 w 982797"/>
                      <a:gd name="connsiteY57" fmla="*/ 157953 h 974414"/>
                      <a:gd name="connsiteX58" fmla="*/ 283027 w 982797"/>
                      <a:gd name="connsiteY58" fmla="*/ 44493 h 974414"/>
                      <a:gd name="connsiteX59" fmla="*/ 369942 w 982797"/>
                      <a:gd name="connsiteY59" fmla="*/ 11123 h 974414"/>
                      <a:gd name="connsiteX60" fmla="*/ 439027 w 982797"/>
                      <a:gd name="connsiteY60" fmla="*/ 106785 h 974414"/>
                      <a:gd name="connsiteX61" fmla="*/ 481370 w 982797"/>
                      <a:gd name="connsiteY61" fmla="*/ 102335 h 974414"/>
                      <a:gd name="connsiteX62" fmla="*/ 532627 w 982797"/>
                      <a:gd name="connsiteY62"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102514 w 982797"/>
                      <a:gd name="connsiteY41" fmla="*/ 489432 h 974414"/>
                      <a:gd name="connsiteX42" fmla="*/ 4457 w 982797"/>
                      <a:gd name="connsiteY42" fmla="*/ 444938 h 974414"/>
                      <a:gd name="connsiteX43" fmla="*/ 0 w 982797"/>
                      <a:gd name="connsiteY43" fmla="*/ 440489 h 974414"/>
                      <a:gd name="connsiteX44" fmla="*/ 15600 w 982797"/>
                      <a:gd name="connsiteY44" fmla="*/ 353726 h 974414"/>
                      <a:gd name="connsiteX45" fmla="*/ 20057 w 982797"/>
                      <a:gd name="connsiteY45" fmla="*/ 351501 h 974414"/>
                      <a:gd name="connsiteX46" fmla="*/ 129257 w 982797"/>
                      <a:gd name="connsiteY46" fmla="*/ 342602 h 974414"/>
                      <a:gd name="connsiteX47" fmla="*/ 135942 w 982797"/>
                      <a:gd name="connsiteY47" fmla="*/ 340377 h 974414"/>
                      <a:gd name="connsiteX48" fmla="*/ 151542 w 982797"/>
                      <a:gd name="connsiteY48" fmla="*/ 302558 h 974414"/>
                      <a:gd name="connsiteX49" fmla="*/ 151542 w 982797"/>
                      <a:gd name="connsiteY49" fmla="*/ 295884 h 974414"/>
                      <a:gd name="connsiteX50" fmla="*/ 91371 w 982797"/>
                      <a:gd name="connsiteY50" fmla="*/ 209121 h 974414"/>
                      <a:gd name="connsiteX51" fmla="*/ 91371 w 982797"/>
                      <a:gd name="connsiteY51" fmla="*/ 200222 h 974414"/>
                      <a:gd name="connsiteX52" fmla="*/ 147085 w 982797"/>
                      <a:gd name="connsiteY52" fmla="*/ 133481 h 974414"/>
                      <a:gd name="connsiteX53" fmla="*/ 153771 w 982797"/>
                      <a:gd name="connsiteY53" fmla="*/ 133481 h 974414"/>
                      <a:gd name="connsiteX54" fmla="*/ 249599 w 982797"/>
                      <a:gd name="connsiteY54" fmla="*/ 180200 h 974414"/>
                      <a:gd name="connsiteX55" fmla="*/ 256285 w 982797"/>
                      <a:gd name="connsiteY55" fmla="*/ 180200 h 974414"/>
                      <a:gd name="connsiteX56" fmla="*/ 289713 w 982797"/>
                      <a:gd name="connsiteY56" fmla="*/ 157953 h 974414"/>
                      <a:gd name="connsiteX57" fmla="*/ 283027 w 982797"/>
                      <a:gd name="connsiteY57" fmla="*/ 44493 h 974414"/>
                      <a:gd name="connsiteX58" fmla="*/ 369942 w 982797"/>
                      <a:gd name="connsiteY58" fmla="*/ 11123 h 974414"/>
                      <a:gd name="connsiteX59" fmla="*/ 439027 w 982797"/>
                      <a:gd name="connsiteY59" fmla="*/ 106785 h 974414"/>
                      <a:gd name="connsiteX60" fmla="*/ 481370 w 982797"/>
                      <a:gd name="connsiteY60" fmla="*/ 102335 h 974414"/>
                      <a:gd name="connsiteX61" fmla="*/ 532627 w 982797"/>
                      <a:gd name="connsiteY61"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15600 w 982797"/>
                      <a:gd name="connsiteY43" fmla="*/ 353726 h 974414"/>
                      <a:gd name="connsiteX44" fmla="*/ 20057 w 982797"/>
                      <a:gd name="connsiteY44" fmla="*/ 351501 h 974414"/>
                      <a:gd name="connsiteX45" fmla="*/ 129257 w 982797"/>
                      <a:gd name="connsiteY45" fmla="*/ 342602 h 974414"/>
                      <a:gd name="connsiteX46" fmla="*/ 135942 w 982797"/>
                      <a:gd name="connsiteY46" fmla="*/ 340377 h 974414"/>
                      <a:gd name="connsiteX47" fmla="*/ 151542 w 982797"/>
                      <a:gd name="connsiteY47" fmla="*/ 302558 h 974414"/>
                      <a:gd name="connsiteX48" fmla="*/ 151542 w 982797"/>
                      <a:gd name="connsiteY48" fmla="*/ 295884 h 974414"/>
                      <a:gd name="connsiteX49" fmla="*/ 91371 w 982797"/>
                      <a:gd name="connsiteY49" fmla="*/ 209121 h 974414"/>
                      <a:gd name="connsiteX50" fmla="*/ 91371 w 982797"/>
                      <a:gd name="connsiteY50" fmla="*/ 200222 h 974414"/>
                      <a:gd name="connsiteX51" fmla="*/ 147085 w 982797"/>
                      <a:gd name="connsiteY51" fmla="*/ 133481 h 974414"/>
                      <a:gd name="connsiteX52" fmla="*/ 153771 w 982797"/>
                      <a:gd name="connsiteY52" fmla="*/ 133481 h 974414"/>
                      <a:gd name="connsiteX53" fmla="*/ 249599 w 982797"/>
                      <a:gd name="connsiteY53" fmla="*/ 180200 h 974414"/>
                      <a:gd name="connsiteX54" fmla="*/ 256285 w 982797"/>
                      <a:gd name="connsiteY54" fmla="*/ 180200 h 974414"/>
                      <a:gd name="connsiteX55" fmla="*/ 289713 w 982797"/>
                      <a:gd name="connsiteY55" fmla="*/ 157953 h 974414"/>
                      <a:gd name="connsiteX56" fmla="*/ 283027 w 982797"/>
                      <a:gd name="connsiteY56" fmla="*/ 44493 h 974414"/>
                      <a:gd name="connsiteX57" fmla="*/ 369942 w 982797"/>
                      <a:gd name="connsiteY57" fmla="*/ 11123 h 974414"/>
                      <a:gd name="connsiteX58" fmla="*/ 439027 w 982797"/>
                      <a:gd name="connsiteY58" fmla="*/ 106785 h 974414"/>
                      <a:gd name="connsiteX59" fmla="*/ 481370 w 982797"/>
                      <a:gd name="connsiteY59" fmla="*/ 102335 h 974414"/>
                      <a:gd name="connsiteX60" fmla="*/ 532627 w 982797"/>
                      <a:gd name="connsiteY60"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24800 w 978340"/>
                      <a:gd name="connsiteY43" fmla="*/ 342602 h 974414"/>
                      <a:gd name="connsiteX44" fmla="*/ 131485 w 978340"/>
                      <a:gd name="connsiteY44" fmla="*/ 340377 h 974414"/>
                      <a:gd name="connsiteX45" fmla="*/ 147085 w 978340"/>
                      <a:gd name="connsiteY45" fmla="*/ 302558 h 974414"/>
                      <a:gd name="connsiteX46" fmla="*/ 147085 w 978340"/>
                      <a:gd name="connsiteY46" fmla="*/ 295884 h 974414"/>
                      <a:gd name="connsiteX47" fmla="*/ 86914 w 978340"/>
                      <a:gd name="connsiteY47" fmla="*/ 209121 h 974414"/>
                      <a:gd name="connsiteX48" fmla="*/ 86914 w 978340"/>
                      <a:gd name="connsiteY48" fmla="*/ 200222 h 974414"/>
                      <a:gd name="connsiteX49" fmla="*/ 142628 w 978340"/>
                      <a:gd name="connsiteY49" fmla="*/ 133481 h 974414"/>
                      <a:gd name="connsiteX50" fmla="*/ 149314 w 978340"/>
                      <a:gd name="connsiteY50" fmla="*/ 133481 h 974414"/>
                      <a:gd name="connsiteX51" fmla="*/ 245142 w 978340"/>
                      <a:gd name="connsiteY51" fmla="*/ 180200 h 974414"/>
                      <a:gd name="connsiteX52" fmla="*/ 251828 w 978340"/>
                      <a:gd name="connsiteY52" fmla="*/ 180200 h 974414"/>
                      <a:gd name="connsiteX53" fmla="*/ 285256 w 978340"/>
                      <a:gd name="connsiteY53" fmla="*/ 157953 h 974414"/>
                      <a:gd name="connsiteX54" fmla="*/ 278570 w 978340"/>
                      <a:gd name="connsiteY54" fmla="*/ 44493 h 974414"/>
                      <a:gd name="connsiteX55" fmla="*/ 365485 w 978340"/>
                      <a:gd name="connsiteY55" fmla="*/ 11123 h 974414"/>
                      <a:gd name="connsiteX56" fmla="*/ 434570 w 978340"/>
                      <a:gd name="connsiteY56" fmla="*/ 106785 h 974414"/>
                      <a:gd name="connsiteX57" fmla="*/ 476913 w 978340"/>
                      <a:gd name="connsiteY57" fmla="*/ 102335 h 974414"/>
                      <a:gd name="connsiteX58" fmla="*/ 528170 w 978340"/>
                      <a:gd name="connsiteY58"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147085 w 978340"/>
                      <a:gd name="connsiteY45" fmla="*/ 295884 h 974414"/>
                      <a:gd name="connsiteX46" fmla="*/ 86914 w 978340"/>
                      <a:gd name="connsiteY46" fmla="*/ 209121 h 974414"/>
                      <a:gd name="connsiteX47" fmla="*/ 86914 w 978340"/>
                      <a:gd name="connsiteY47" fmla="*/ 200222 h 974414"/>
                      <a:gd name="connsiteX48" fmla="*/ 142628 w 978340"/>
                      <a:gd name="connsiteY48" fmla="*/ 133481 h 974414"/>
                      <a:gd name="connsiteX49" fmla="*/ 149314 w 978340"/>
                      <a:gd name="connsiteY49" fmla="*/ 133481 h 974414"/>
                      <a:gd name="connsiteX50" fmla="*/ 245142 w 978340"/>
                      <a:gd name="connsiteY50" fmla="*/ 180200 h 974414"/>
                      <a:gd name="connsiteX51" fmla="*/ 251828 w 978340"/>
                      <a:gd name="connsiteY51" fmla="*/ 180200 h 974414"/>
                      <a:gd name="connsiteX52" fmla="*/ 285256 w 978340"/>
                      <a:gd name="connsiteY52" fmla="*/ 157953 h 974414"/>
                      <a:gd name="connsiteX53" fmla="*/ 278570 w 978340"/>
                      <a:gd name="connsiteY53" fmla="*/ 44493 h 974414"/>
                      <a:gd name="connsiteX54" fmla="*/ 365485 w 978340"/>
                      <a:gd name="connsiteY54" fmla="*/ 11123 h 974414"/>
                      <a:gd name="connsiteX55" fmla="*/ 434570 w 978340"/>
                      <a:gd name="connsiteY55" fmla="*/ 106785 h 974414"/>
                      <a:gd name="connsiteX56" fmla="*/ 476913 w 978340"/>
                      <a:gd name="connsiteY56" fmla="*/ 102335 h 974414"/>
                      <a:gd name="connsiteX57" fmla="*/ 528170 w 978340"/>
                      <a:gd name="connsiteY57"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9121 h 974414"/>
                      <a:gd name="connsiteX46" fmla="*/ 86914 w 978340"/>
                      <a:gd name="connsiteY46" fmla="*/ 200222 h 974414"/>
                      <a:gd name="connsiteX47" fmla="*/ 142628 w 978340"/>
                      <a:gd name="connsiteY47" fmla="*/ 133481 h 974414"/>
                      <a:gd name="connsiteX48" fmla="*/ 149314 w 978340"/>
                      <a:gd name="connsiteY48" fmla="*/ 133481 h 974414"/>
                      <a:gd name="connsiteX49" fmla="*/ 245142 w 978340"/>
                      <a:gd name="connsiteY49" fmla="*/ 180200 h 974414"/>
                      <a:gd name="connsiteX50" fmla="*/ 251828 w 978340"/>
                      <a:gd name="connsiteY50" fmla="*/ 180200 h 974414"/>
                      <a:gd name="connsiteX51" fmla="*/ 285256 w 978340"/>
                      <a:gd name="connsiteY51" fmla="*/ 157953 h 974414"/>
                      <a:gd name="connsiteX52" fmla="*/ 278570 w 978340"/>
                      <a:gd name="connsiteY52" fmla="*/ 44493 h 974414"/>
                      <a:gd name="connsiteX53" fmla="*/ 365485 w 978340"/>
                      <a:gd name="connsiteY53" fmla="*/ 11123 h 974414"/>
                      <a:gd name="connsiteX54" fmla="*/ 434570 w 978340"/>
                      <a:gd name="connsiteY54" fmla="*/ 106785 h 974414"/>
                      <a:gd name="connsiteX55" fmla="*/ 476913 w 978340"/>
                      <a:gd name="connsiteY55" fmla="*/ 102335 h 974414"/>
                      <a:gd name="connsiteX56" fmla="*/ 528170 w 978340"/>
                      <a:gd name="connsiteY56"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149314 w 978340"/>
                      <a:gd name="connsiteY47" fmla="*/ 133481 h 974414"/>
                      <a:gd name="connsiteX48" fmla="*/ 245142 w 978340"/>
                      <a:gd name="connsiteY48" fmla="*/ 180200 h 974414"/>
                      <a:gd name="connsiteX49" fmla="*/ 251828 w 978340"/>
                      <a:gd name="connsiteY49" fmla="*/ 180200 h 974414"/>
                      <a:gd name="connsiteX50" fmla="*/ 285256 w 978340"/>
                      <a:gd name="connsiteY50" fmla="*/ 157953 h 974414"/>
                      <a:gd name="connsiteX51" fmla="*/ 278570 w 978340"/>
                      <a:gd name="connsiteY51" fmla="*/ 44493 h 974414"/>
                      <a:gd name="connsiteX52" fmla="*/ 365485 w 978340"/>
                      <a:gd name="connsiteY52" fmla="*/ 11123 h 974414"/>
                      <a:gd name="connsiteX53" fmla="*/ 434570 w 978340"/>
                      <a:gd name="connsiteY53" fmla="*/ 106785 h 974414"/>
                      <a:gd name="connsiteX54" fmla="*/ 476913 w 978340"/>
                      <a:gd name="connsiteY54" fmla="*/ 102335 h 974414"/>
                      <a:gd name="connsiteX55" fmla="*/ 528170 w 978340"/>
                      <a:gd name="connsiteY55"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45142 w 978340"/>
                      <a:gd name="connsiteY47" fmla="*/ 180200 h 974414"/>
                      <a:gd name="connsiteX48" fmla="*/ 251828 w 978340"/>
                      <a:gd name="connsiteY48" fmla="*/ 180200 h 974414"/>
                      <a:gd name="connsiteX49" fmla="*/ 285256 w 978340"/>
                      <a:gd name="connsiteY49" fmla="*/ 157953 h 974414"/>
                      <a:gd name="connsiteX50" fmla="*/ 278570 w 978340"/>
                      <a:gd name="connsiteY50" fmla="*/ 44493 h 974414"/>
                      <a:gd name="connsiteX51" fmla="*/ 365485 w 978340"/>
                      <a:gd name="connsiteY51" fmla="*/ 11123 h 974414"/>
                      <a:gd name="connsiteX52" fmla="*/ 434570 w 978340"/>
                      <a:gd name="connsiteY52" fmla="*/ 106785 h 974414"/>
                      <a:gd name="connsiteX53" fmla="*/ 476913 w 978340"/>
                      <a:gd name="connsiteY53" fmla="*/ 102335 h 974414"/>
                      <a:gd name="connsiteX54" fmla="*/ 528170 w 978340"/>
                      <a:gd name="connsiteY54"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51828 w 978340"/>
                      <a:gd name="connsiteY47" fmla="*/ 180200 h 974414"/>
                      <a:gd name="connsiteX48" fmla="*/ 285256 w 978340"/>
                      <a:gd name="connsiteY48" fmla="*/ 157953 h 974414"/>
                      <a:gd name="connsiteX49" fmla="*/ 278570 w 978340"/>
                      <a:gd name="connsiteY49" fmla="*/ 44493 h 974414"/>
                      <a:gd name="connsiteX50" fmla="*/ 365485 w 978340"/>
                      <a:gd name="connsiteY50" fmla="*/ 11123 h 974414"/>
                      <a:gd name="connsiteX51" fmla="*/ 434570 w 978340"/>
                      <a:gd name="connsiteY51" fmla="*/ 106785 h 974414"/>
                      <a:gd name="connsiteX52" fmla="*/ 476913 w 978340"/>
                      <a:gd name="connsiteY52" fmla="*/ 102335 h 974414"/>
                      <a:gd name="connsiteX53" fmla="*/ 528170 w 978340"/>
                      <a:gd name="connsiteY53" fmla="*/ 0 h 97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78340" h="974414">
                        <a:moveTo>
                          <a:pt x="488055" y="299009"/>
                        </a:moveTo>
                        <a:cubicBezTo>
                          <a:pt x="383573" y="299009"/>
                          <a:pt x="298873" y="383268"/>
                          <a:pt x="298873" y="487207"/>
                        </a:cubicBezTo>
                        <a:cubicBezTo>
                          <a:pt x="298873" y="591146"/>
                          <a:pt x="383573" y="675405"/>
                          <a:pt x="488055" y="675405"/>
                        </a:cubicBezTo>
                        <a:cubicBezTo>
                          <a:pt x="592537" y="675405"/>
                          <a:pt x="677237" y="591146"/>
                          <a:pt x="677237" y="487207"/>
                        </a:cubicBezTo>
                        <a:cubicBezTo>
                          <a:pt x="677237" y="383268"/>
                          <a:pt x="592537" y="299009"/>
                          <a:pt x="488055" y="299009"/>
                        </a:cubicBezTo>
                        <a:close/>
                        <a:moveTo>
                          <a:pt x="528170" y="0"/>
                        </a:moveTo>
                        <a:lnTo>
                          <a:pt x="621769" y="13348"/>
                        </a:lnTo>
                        <a:lnTo>
                          <a:pt x="637369" y="131256"/>
                        </a:lnTo>
                        <a:lnTo>
                          <a:pt x="673026" y="151279"/>
                        </a:lnTo>
                        <a:lnTo>
                          <a:pt x="775540" y="86763"/>
                        </a:lnTo>
                        <a:lnTo>
                          <a:pt x="842397" y="144605"/>
                        </a:lnTo>
                        <a:lnTo>
                          <a:pt x="795597" y="253614"/>
                        </a:lnTo>
                        <a:lnTo>
                          <a:pt x="817883" y="286985"/>
                        </a:lnTo>
                        <a:lnTo>
                          <a:pt x="933768" y="278086"/>
                        </a:lnTo>
                        <a:lnTo>
                          <a:pt x="967197" y="367074"/>
                        </a:lnTo>
                        <a:lnTo>
                          <a:pt x="873597" y="431590"/>
                        </a:lnTo>
                        <a:lnTo>
                          <a:pt x="873597" y="478308"/>
                        </a:lnTo>
                        <a:lnTo>
                          <a:pt x="978340" y="529476"/>
                        </a:lnTo>
                        <a:lnTo>
                          <a:pt x="962740" y="620689"/>
                        </a:lnTo>
                        <a:lnTo>
                          <a:pt x="846854" y="634037"/>
                        </a:lnTo>
                        <a:lnTo>
                          <a:pt x="826797" y="674081"/>
                        </a:lnTo>
                        <a:lnTo>
                          <a:pt x="891426" y="774192"/>
                        </a:lnTo>
                        <a:lnTo>
                          <a:pt x="831254" y="840933"/>
                        </a:lnTo>
                        <a:lnTo>
                          <a:pt x="724283" y="791990"/>
                        </a:lnTo>
                        <a:lnTo>
                          <a:pt x="686398" y="823135"/>
                        </a:lnTo>
                        <a:lnTo>
                          <a:pt x="697541" y="929921"/>
                        </a:lnTo>
                        <a:lnTo>
                          <a:pt x="603941" y="963291"/>
                        </a:lnTo>
                        <a:lnTo>
                          <a:pt x="546286" y="875561"/>
                        </a:lnTo>
                        <a:lnTo>
                          <a:pt x="490284" y="875584"/>
                        </a:lnTo>
                        <a:lnTo>
                          <a:pt x="445713" y="974414"/>
                        </a:lnTo>
                        <a:lnTo>
                          <a:pt x="352113" y="958842"/>
                        </a:lnTo>
                        <a:lnTo>
                          <a:pt x="343199" y="847607"/>
                        </a:lnTo>
                        <a:lnTo>
                          <a:pt x="291942" y="825360"/>
                        </a:lnTo>
                        <a:lnTo>
                          <a:pt x="200571" y="887652"/>
                        </a:lnTo>
                        <a:lnTo>
                          <a:pt x="131485" y="823135"/>
                        </a:lnTo>
                        <a:lnTo>
                          <a:pt x="178285" y="725249"/>
                        </a:lnTo>
                        <a:lnTo>
                          <a:pt x="149314" y="685205"/>
                        </a:lnTo>
                        <a:lnTo>
                          <a:pt x="44571" y="696328"/>
                        </a:lnTo>
                        <a:lnTo>
                          <a:pt x="11143" y="602891"/>
                        </a:lnTo>
                        <a:lnTo>
                          <a:pt x="100285" y="542824"/>
                        </a:lnTo>
                        <a:lnTo>
                          <a:pt x="100285" y="496106"/>
                        </a:lnTo>
                        <a:lnTo>
                          <a:pt x="0" y="444938"/>
                        </a:lnTo>
                        <a:lnTo>
                          <a:pt x="15600" y="351501"/>
                        </a:lnTo>
                        <a:lnTo>
                          <a:pt x="131485" y="340377"/>
                        </a:lnTo>
                        <a:lnTo>
                          <a:pt x="147085" y="302558"/>
                        </a:lnTo>
                        <a:lnTo>
                          <a:pt x="86914" y="200222"/>
                        </a:lnTo>
                        <a:lnTo>
                          <a:pt x="142628" y="133481"/>
                        </a:lnTo>
                        <a:lnTo>
                          <a:pt x="251828" y="180200"/>
                        </a:lnTo>
                        <a:lnTo>
                          <a:pt x="285256" y="157953"/>
                        </a:lnTo>
                        <a:lnTo>
                          <a:pt x="278570" y="44493"/>
                        </a:lnTo>
                        <a:lnTo>
                          <a:pt x="365485" y="11123"/>
                        </a:lnTo>
                        <a:lnTo>
                          <a:pt x="434570" y="106785"/>
                        </a:lnTo>
                        <a:lnTo>
                          <a:pt x="476913" y="102335"/>
                        </a:lnTo>
                        <a:lnTo>
                          <a:pt x="528170" y="0"/>
                        </a:lnTo>
                        <a:close/>
                      </a:path>
                    </a:pathLst>
                  </a:custGeom>
                  <a:grpFill/>
                  <a:ln w="19050">
                    <a:solidFill>
                      <a:schemeClr val="bg1"/>
                    </a:solidFill>
                    <a:prstDash val="solid"/>
                    <a:round/>
                    <a:headEnd/>
                    <a:tailEnd/>
                  </a:ln>
                  <a:effectLst/>
                </p:spPr>
                <p:txBody>
                  <a:bodyPr vert="horz" wrap="square" lIns="91440" tIns="45720" rIns="91440" bIns="45720" numCol="1" anchor="t" anchorCtr="0" compatLnSpc="1">
                    <a:prstTxWarp prst="textNoShape">
                      <a:avLst/>
                    </a:prstTxWarp>
                    <a:noAutofit/>
                  </a:bodyPr>
                  <a:lstStyle/>
                  <a:p>
                    <a:pPr>
                      <a:defRPr/>
                    </a:pPr>
                    <a:endParaRPr lang="en-US" dirty="0">
                      <a:solidFill>
                        <a:prstClr val="black"/>
                      </a:solidFill>
                      <a:latin typeface="Univers for KPMG" panose="020B0603020202020204" pitchFamily="34" charset="0"/>
                      <a:cs typeface="Arial" panose="020B0604020202020204" pitchFamily="34" charset="0"/>
                    </a:endParaRPr>
                  </a:p>
                </p:txBody>
              </p:sp>
              <p:sp>
                <p:nvSpPr>
                  <p:cNvPr id="121" name="Freeform 120"/>
                  <p:cNvSpPr>
                    <a:spLocks/>
                  </p:cNvSpPr>
                  <p:nvPr/>
                </p:nvSpPr>
                <p:spPr bwMode="auto">
                  <a:xfrm>
                    <a:off x="1370390" y="3543393"/>
                    <a:ext cx="3873496" cy="3857933"/>
                  </a:xfrm>
                  <a:custGeom>
                    <a:avLst/>
                    <a:gdLst>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376627 w 985025"/>
                      <a:gd name="connsiteY95" fmla="*/ 15573 h 978864"/>
                      <a:gd name="connsiteX96" fmla="*/ 434570 w 985025"/>
                      <a:gd name="connsiteY96" fmla="*/ 104560 h 978864"/>
                      <a:gd name="connsiteX97" fmla="*/ 439027 w 985025"/>
                      <a:gd name="connsiteY97" fmla="*/ 109010 h 978864"/>
                      <a:gd name="connsiteX98" fmla="*/ 481370 w 985025"/>
                      <a:gd name="connsiteY98" fmla="*/ 104560 h 978864"/>
                      <a:gd name="connsiteX99" fmla="*/ 488055 w 985025"/>
                      <a:gd name="connsiteY99" fmla="*/ 100111 h 978864"/>
                      <a:gd name="connsiteX100" fmla="*/ 532627 w 985025"/>
                      <a:gd name="connsiteY100" fmla="*/ 2225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4570 w 985025"/>
                      <a:gd name="connsiteY95" fmla="*/ 104560 h 978864"/>
                      <a:gd name="connsiteX96" fmla="*/ 439027 w 985025"/>
                      <a:gd name="connsiteY96" fmla="*/ 109010 h 978864"/>
                      <a:gd name="connsiteX97" fmla="*/ 481370 w 985025"/>
                      <a:gd name="connsiteY97" fmla="*/ 104560 h 978864"/>
                      <a:gd name="connsiteX98" fmla="*/ 488055 w 985025"/>
                      <a:gd name="connsiteY98" fmla="*/ 100111 h 978864"/>
                      <a:gd name="connsiteX99" fmla="*/ 532627 w 985025"/>
                      <a:gd name="connsiteY99" fmla="*/ 2225 h 978864"/>
                      <a:gd name="connsiteX100" fmla="*/ 537084 w 985025"/>
                      <a:gd name="connsiteY100"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9027 w 985025"/>
                      <a:gd name="connsiteY95" fmla="*/ 109010 h 978864"/>
                      <a:gd name="connsiteX96" fmla="*/ 481370 w 985025"/>
                      <a:gd name="connsiteY96" fmla="*/ 104560 h 978864"/>
                      <a:gd name="connsiteX97" fmla="*/ 488055 w 985025"/>
                      <a:gd name="connsiteY97" fmla="*/ 100111 h 978864"/>
                      <a:gd name="connsiteX98" fmla="*/ 532627 w 985025"/>
                      <a:gd name="connsiteY98" fmla="*/ 2225 h 978864"/>
                      <a:gd name="connsiteX99" fmla="*/ 537084 w 985025"/>
                      <a:gd name="connsiteY99"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369942 w 985025"/>
                      <a:gd name="connsiteY93" fmla="*/ 13348 h 978864"/>
                      <a:gd name="connsiteX94" fmla="*/ 439027 w 985025"/>
                      <a:gd name="connsiteY94" fmla="*/ 109010 h 978864"/>
                      <a:gd name="connsiteX95" fmla="*/ 481370 w 985025"/>
                      <a:gd name="connsiteY95" fmla="*/ 104560 h 978864"/>
                      <a:gd name="connsiteX96" fmla="*/ 488055 w 985025"/>
                      <a:gd name="connsiteY96" fmla="*/ 100111 h 978864"/>
                      <a:gd name="connsiteX97" fmla="*/ 532627 w 985025"/>
                      <a:gd name="connsiteY97" fmla="*/ 2225 h 978864"/>
                      <a:gd name="connsiteX98" fmla="*/ 537084 w 985025"/>
                      <a:gd name="connsiteY98"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488055 w 985025"/>
                      <a:gd name="connsiteY95" fmla="*/ 100111 h 978864"/>
                      <a:gd name="connsiteX96" fmla="*/ 532627 w 985025"/>
                      <a:gd name="connsiteY96" fmla="*/ 2225 h 978864"/>
                      <a:gd name="connsiteX97" fmla="*/ 537084 w 985025"/>
                      <a:gd name="connsiteY97"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532627 w 985025"/>
                      <a:gd name="connsiteY95" fmla="*/ 2225 h 978864"/>
                      <a:gd name="connsiteX96" fmla="*/ 537084 w 985025"/>
                      <a:gd name="connsiteY96" fmla="*/ 0 h 978864"/>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0684 w 985025"/>
                      <a:gd name="connsiteY7" fmla="*/ 20022 h 976639"/>
                      <a:gd name="connsiteX8" fmla="*/ 637369 w 985025"/>
                      <a:gd name="connsiteY8" fmla="*/ 124582 h 976639"/>
                      <a:gd name="connsiteX9" fmla="*/ 641826 w 985025"/>
                      <a:gd name="connsiteY9" fmla="*/ 131256 h 976639"/>
                      <a:gd name="connsiteX10" fmla="*/ 677483 w 985025"/>
                      <a:gd name="connsiteY10" fmla="*/ 151279 h 976639"/>
                      <a:gd name="connsiteX11" fmla="*/ 686398 w 985025"/>
                      <a:gd name="connsiteY11" fmla="*/ 146829 h 976639"/>
                      <a:gd name="connsiteX12" fmla="*/ 773312 w 985025"/>
                      <a:gd name="connsiteY12" fmla="*/ 86763 h 976639"/>
                      <a:gd name="connsiteX13" fmla="*/ 779997 w 985025"/>
                      <a:gd name="connsiteY13" fmla="*/ 86763 h 976639"/>
                      <a:gd name="connsiteX14" fmla="*/ 846854 w 985025"/>
                      <a:gd name="connsiteY14" fmla="*/ 144605 h 976639"/>
                      <a:gd name="connsiteX15" fmla="*/ 846854 w 985025"/>
                      <a:gd name="connsiteY15" fmla="*/ 151279 h 976639"/>
                      <a:gd name="connsiteX16" fmla="*/ 800054 w 985025"/>
                      <a:gd name="connsiteY16" fmla="*/ 246940 h 976639"/>
                      <a:gd name="connsiteX17" fmla="*/ 800054 w 985025"/>
                      <a:gd name="connsiteY17" fmla="*/ 253614 h 976639"/>
                      <a:gd name="connsiteX18" fmla="*/ 822340 w 985025"/>
                      <a:gd name="connsiteY18" fmla="*/ 286985 h 976639"/>
                      <a:gd name="connsiteX19" fmla="*/ 829026 w 985025"/>
                      <a:gd name="connsiteY19" fmla="*/ 289209 h 976639"/>
                      <a:gd name="connsiteX20" fmla="*/ 938225 w 985025"/>
                      <a:gd name="connsiteY20" fmla="*/ 278086 h 976639"/>
                      <a:gd name="connsiteX21" fmla="*/ 940454 w 985025"/>
                      <a:gd name="connsiteY21" fmla="*/ 284760 h 976639"/>
                      <a:gd name="connsiteX22" fmla="*/ 971654 w 985025"/>
                      <a:gd name="connsiteY22" fmla="*/ 367074 h 976639"/>
                      <a:gd name="connsiteX23" fmla="*/ 967197 w 985025"/>
                      <a:gd name="connsiteY23" fmla="*/ 373748 h 976639"/>
                      <a:gd name="connsiteX24" fmla="*/ 878054 w 985025"/>
                      <a:gd name="connsiteY24" fmla="*/ 431590 h 976639"/>
                      <a:gd name="connsiteX25" fmla="*/ 875825 w 985025"/>
                      <a:gd name="connsiteY25" fmla="*/ 436039 h 976639"/>
                      <a:gd name="connsiteX26" fmla="*/ 878054 w 985025"/>
                      <a:gd name="connsiteY26" fmla="*/ 478308 h 976639"/>
                      <a:gd name="connsiteX27" fmla="*/ 884740 w 985025"/>
                      <a:gd name="connsiteY27" fmla="*/ 484982 h 976639"/>
                      <a:gd name="connsiteX28" fmla="*/ 982797 w 985025"/>
                      <a:gd name="connsiteY28" fmla="*/ 529476 h 976639"/>
                      <a:gd name="connsiteX29" fmla="*/ 985025 w 985025"/>
                      <a:gd name="connsiteY29" fmla="*/ 533926 h 976639"/>
                      <a:gd name="connsiteX30" fmla="*/ 967197 w 985025"/>
                      <a:gd name="connsiteY30" fmla="*/ 620689 h 976639"/>
                      <a:gd name="connsiteX31" fmla="*/ 962739 w 985025"/>
                      <a:gd name="connsiteY31" fmla="*/ 625138 h 976639"/>
                      <a:gd name="connsiteX32" fmla="*/ 855768 w 985025"/>
                      <a:gd name="connsiteY32" fmla="*/ 631812 h 976639"/>
                      <a:gd name="connsiteX33" fmla="*/ 851311 w 985025"/>
                      <a:gd name="connsiteY33" fmla="*/ 634037 h 976639"/>
                      <a:gd name="connsiteX34" fmla="*/ 831254 w 985025"/>
                      <a:gd name="connsiteY34" fmla="*/ 674081 h 976639"/>
                      <a:gd name="connsiteX35" fmla="*/ 831254 w 985025"/>
                      <a:gd name="connsiteY35" fmla="*/ 678531 h 976639"/>
                      <a:gd name="connsiteX36" fmla="*/ 895883 w 985025"/>
                      <a:gd name="connsiteY36" fmla="*/ 767518 h 976639"/>
                      <a:gd name="connsiteX37" fmla="*/ 895883 w 985025"/>
                      <a:gd name="connsiteY37" fmla="*/ 774192 h 976639"/>
                      <a:gd name="connsiteX38" fmla="*/ 835711 w 985025"/>
                      <a:gd name="connsiteY38" fmla="*/ 840933 h 976639"/>
                      <a:gd name="connsiteX39" fmla="*/ 831254 w 985025"/>
                      <a:gd name="connsiteY39" fmla="*/ 840933 h 976639"/>
                      <a:gd name="connsiteX40" fmla="*/ 733197 w 985025"/>
                      <a:gd name="connsiteY40" fmla="*/ 791990 h 976639"/>
                      <a:gd name="connsiteX41" fmla="*/ 728740 w 985025"/>
                      <a:gd name="connsiteY41" fmla="*/ 791990 h 976639"/>
                      <a:gd name="connsiteX42" fmla="*/ 695312 w 985025"/>
                      <a:gd name="connsiteY42" fmla="*/ 814237 h 976639"/>
                      <a:gd name="connsiteX43" fmla="*/ 690855 w 985025"/>
                      <a:gd name="connsiteY43" fmla="*/ 823135 h 976639"/>
                      <a:gd name="connsiteX44" fmla="*/ 701998 w 985025"/>
                      <a:gd name="connsiteY44" fmla="*/ 929921 h 976639"/>
                      <a:gd name="connsiteX45" fmla="*/ 697540 w 985025"/>
                      <a:gd name="connsiteY45" fmla="*/ 934370 h 976639"/>
                      <a:gd name="connsiteX46" fmla="*/ 612855 w 985025"/>
                      <a:gd name="connsiteY46" fmla="*/ 963291 h 976639"/>
                      <a:gd name="connsiteX47" fmla="*/ 608398 w 985025"/>
                      <a:gd name="connsiteY47" fmla="*/ 963291 h 976639"/>
                      <a:gd name="connsiteX48" fmla="*/ 548227 w 985025"/>
                      <a:gd name="connsiteY48" fmla="*/ 874303 h 976639"/>
                      <a:gd name="connsiteX49" fmla="*/ 543770 w 985025"/>
                      <a:gd name="connsiteY49" fmla="*/ 869854 h 976639"/>
                      <a:gd name="connsiteX50" fmla="*/ 501427 w 985025"/>
                      <a:gd name="connsiteY50" fmla="*/ 874303 h 976639"/>
                      <a:gd name="connsiteX51" fmla="*/ 494741 w 985025"/>
                      <a:gd name="connsiteY51" fmla="*/ 876528 h 976639"/>
                      <a:gd name="connsiteX52" fmla="*/ 450170 w 985025"/>
                      <a:gd name="connsiteY52" fmla="*/ 974414 h 976639"/>
                      <a:gd name="connsiteX53" fmla="*/ 445713 w 985025"/>
                      <a:gd name="connsiteY53" fmla="*/ 976639 h 976639"/>
                      <a:gd name="connsiteX54" fmla="*/ 356570 w 985025"/>
                      <a:gd name="connsiteY54" fmla="*/ 958842 h 976639"/>
                      <a:gd name="connsiteX55" fmla="*/ 352113 w 985025"/>
                      <a:gd name="connsiteY55" fmla="*/ 956617 h 976639"/>
                      <a:gd name="connsiteX56" fmla="*/ 347656 w 985025"/>
                      <a:gd name="connsiteY56" fmla="*/ 847607 h 976639"/>
                      <a:gd name="connsiteX57" fmla="*/ 340970 w 985025"/>
                      <a:gd name="connsiteY57" fmla="*/ 843158 h 976639"/>
                      <a:gd name="connsiteX58" fmla="*/ 305313 w 985025"/>
                      <a:gd name="connsiteY58" fmla="*/ 825360 h 976639"/>
                      <a:gd name="connsiteX59" fmla="*/ 296399 w 985025"/>
                      <a:gd name="connsiteY59" fmla="*/ 825360 h 976639"/>
                      <a:gd name="connsiteX60" fmla="*/ 211713 w 985025"/>
                      <a:gd name="connsiteY60" fmla="*/ 887652 h 976639"/>
                      <a:gd name="connsiteX61" fmla="*/ 205028 w 985025"/>
                      <a:gd name="connsiteY61" fmla="*/ 887652 h 976639"/>
                      <a:gd name="connsiteX62" fmla="*/ 138171 w 985025"/>
                      <a:gd name="connsiteY62" fmla="*/ 829810 h 976639"/>
                      <a:gd name="connsiteX63" fmla="*/ 135942 w 985025"/>
                      <a:gd name="connsiteY63" fmla="*/ 823135 h 976639"/>
                      <a:gd name="connsiteX64" fmla="*/ 182742 w 985025"/>
                      <a:gd name="connsiteY64" fmla="*/ 725249 h 976639"/>
                      <a:gd name="connsiteX65" fmla="*/ 182742 w 985025"/>
                      <a:gd name="connsiteY65" fmla="*/ 720800 h 976639"/>
                      <a:gd name="connsiteX66" fmla="*/ 160457 w 985025"/>
                      <a:gd name="connsiteY66" fmla="*/ 687429 h 976639"/>
                      <a:gd name="connsiteX67" fmla="*/ 153771 w 985025"/>
                      <a:gd name="connsiteY67" fmla="*/ 685205 h 976639"/>
                      <a:gd name="connsiteX68" fmla="*/ 49028 w 985025"/>
                      <a:gd name="connsiteY68" fmla="*/ 696328 h 976639"/>
                      <a:gd name="connsiteX69" fmla="*/ 42343 w 985025"/>
                      <a:gd name="connsiteY69" fmla="*/ 691879 h 976639"/>
                      <a:gd name="connsiteX70" fmla="*/ 11143 w 985025"/>
                      <a:gd name="connsiteY70" fmla="*/ 609565 h 976639"/>
                      <a:gd name="connsiteX71" fmla="*/ 15600 w 985025"/>
                      <a:gd name="connsiteY71" fmla="*/ 602891 h 976639"/>
                      <a:gd name="connsiteX72" fmla="*/ 104742 w 985025"/>
                      <a:gd name="connsiteY72" fmla="*/ 542824 h 976639"/>
                      <a:gd name="connsiteX73" fmla="*/ 106971 w 985025"/>
                      <a:gd name="connsiteY73" fmla="*/ 536150 h 976639"/>
                      <a:gd name="connsiteX74" fmla="*/ 104742 w 985025"/>
                      <a:gd name="connsiteY74" fmla="*/ 496106 h 976639"/>
                      <a:gd name="connsiteX75" fmla="*/ 102514 w 985025"/>
                      <a:gd name="connsiteY75" fmla="*/ 489432 h 976639"/>
                      <a:gd name="connsiteX76" fmla="*/ 4457 w 985025"/>
                      <a:gd name="connsiteY76" fmla="*/ 444938 h 976639"/>
                      <a:gd name="connsiteX77" fmla="*/ 0 w 985025"/>
                      <a:gd name="connsiteY77" fmla="*/ 440489 h 976639"/>
                      <a:gd name="connsiteX78" fmla="*/ 15600 w 985025"/>
                      <a:gd name="connsiteY78" fmla="*/ 353726 h 976639"/>
                      <a:gd name="connsiteX79" fmla="*/ 20057 w 985025"/>
                      <a:gd name="connsiteY79" fmla="*/ 351501 h 976639"/>
                      <a:gd name="connsiteX80" fmla="*/ 129257 w 985025"/>
                      <a:gd name="connsiteY80" fmla="*/ 342602 h 976639"/>
                      <a:gd name="connsiteX81" fmla="*/ 135942 w 985025"/>
                      <a:gd name="connsiteY81" fmla="*/ 340377 h 976639"/>
                      <a:gd name="connsiteX82" fmla="*/ 151542 w 985025"/>
                      <a:gd name="connsiteY82" fmla="*/ 302558 h 976639"/>
                      <a:gd name="connsiteX83" fmla="*/ 151542 w 985025"/>
                      <a:gd name="connsiteY83" fmla="*/ 295884 h 976639"/>
                      <a:gd name="connsiteX84" fmla="*/ 91371 w 985025"/>
                      <a:gd name="connsiteY84" fmla="*/ 209121 h 976639"/>
                      <a:gd name="connsiteX85" fmla="*/ 91371 w 985025"/>
                      <a:gd name="connsiteY85" fmla="*/ 200222 h 976639"/>
                      <a:gd name="connsiteX86" fmla="*/ 147085 w 985025"/>
                      <a:gd name="connsiteY86" fmla="*/ 133481 h 976639"/>
                      <a:gd name="connsiteX87" fmla="*/ 153771 w 985025"/>
                      <a:gd name="connsiteY87" fmla="*/ 133481 h 976639"/>
                      <a:gd name="connsiteX88" fmla="*/ 249599 w 985025"/>
                      <a:gd name="connsiteY88" fmla="*/ 180200 h 976639"/>
                      <a:gd name="connsiteX89" fmla="*/ 256285 w 985025"/>
                      <a:gd name="connsiteY89" fmla="*/ 180200 h 976639"/>
                      <a:gd name="connsiteX90" fmla="*/ 289713 w 985025"/>
                      <a:gd name="connsiteY90" fmla="*/ 157953 h 976639"/>
                      <a:gd name="connsiteX91" fmla="*/ 283027 w 985025"/>
                      <a:gd name="connsiteY91" fmla="*/ 44493 h 976639"/>
                      <a:gd name="connsiteX92" fmla="*/ 369942 w 985025"/>
                      <a:gd name="connsiteY92" fmla="*/ 11123 h 976639"/>
                      <a:gd name="connsiteX93" fmla="*/ 439027 w 985025"/>
                      <a:gd name="connsiteY93" fmla="*/ 106785 h 976639"/>
                      <a:gd name="connsiteX94" fmla="*/ 481370 w 985025"/>
                      <a:gd name="connsiteY94" fmla="*/ 102335 h 976639"/>
                      <a:gd name="connsiteX95" fmla="*/ 532627 w 985025"/>
                      <a:gd name="connsiteY9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7369 w 985025"/>
                      <a:gd name="connsiteY7" fmla="*/ 124582 h 976639"/>
                      <a:gd name="connsiteX8" fmla="*/ 641826 w 985025"/>
                      <a:gd name="connsiteY8" fmla="*/ 131256 h 976639"/>
                      <a:gd name="connsiteX9" fmla="*/ 677483 w 985025"/>
                      <a:gd name="connsiteY9" fmla="*/ 151279 h 976639"/>
                      <a:gd name="connsiteX10" fmla="*/ 686398 w 985025"/>
                      <a:gd name="connsiteY10" fmla="*/ 146829 h 976639"/>
                      <a:gd name="connsiteX11" fmla="*/ 773312 w 985025"/>
                      <a:gd name="connsiteY11" fmla="*/ 86763 h 976639"/>
                      <a:gd name="connsiteX12" fmla="*/ 779997 w 985025"/>
                      <a:gd name="connsiteY12" fmla="*/ 86763 h 976639"/>
                      <a:gd name="connsiteX13" fmla="*/ 846854 w 985025"/>
                      <a:gd name="connsiteY13" fmla="*/ 144605 h 976639"/>
                      <a:gd name="connsiteX14" fmla="*/ 846854 w 985025"/>
                      <a:gd name="connsiteY14" fmla="*/ 151279 h 976639"/>
                      <a:gd name="connsiteX15" fmla="*/ 800054 w 985025"/>
                      <a:gd name="connsiteY15" fmla="*/ 246940 h 976639"/>
                      <a:gd name="connsiteX16" fmla="*/ 800054 w 985025"/>
                      <a:gd name="connsiteY16" fmla="*/ 253614 h 976639"/>
                      <a:gd name="connsiteX17" fmla="*/ 822340 w 985025"/>
                      <a:gd name="connsiteY17" fmla="*/ 286985 h 976639"/>
                      <a:gd name="connsiteX18" fmla="*/ 829026 w 985025"/>
                      <a:gd name="connsiteY18" fmla="*/ 289209 h 976639"/>
                      <a:gd name="connsiteX19" fmla="*/ 938225 w 985025"/>
                      <a:gd name="connsiteY19" fmla="*/ 278086 h 976639"/>
                      <a:gd name="connsiteX20" fmla="*/ 940454 w 985025"/>
                      <a:gd name="connsiteY20" fmla="*/ 284760 h 976639"/>
                      <a:gd name="connsiteX21" fmla="*/ 971654 w 985025"/>
                      <a:gd name="connsiteY21" fmla="*/ 367074 h 976639"/>
                      <a:gd name="connsiteX22" fmla="*/ 967197 w 985025"/>
                      <a:gd name="connsiteY22" fmla="*/ 373748 h 976639"/>
                      <a:gd name="connsiteX23" fmla="*/ 878054 w 985025"/>
                      <a:gd name="connsiteY23" fmla="*/ 431590 h 976639"/>
                      <a:gd name="connsiteX24" fmla="*/ 875825 w 985025"/>
                      <a:gd name="connsiteY24" fmla="*/ 436039 h 976639"/>
                      <a:gd name="connsiteX25" fmla="*/ 878054 w 985025"/>
                      <a:gd name="connsiteY25" fmla="*/ 478308 h 976639"/>
                      <a:gd name="connsiteX26" fmla="*/ 884740 w 985025"/>
                      <a:gd name="connsiteY26" fmla="*/ 484982 h 976639"/>
                      <a:gd name="connsiteX27" fmla="*/ 982797 w 985025"/>
                      <a:gd name="connsiteY27" fmla="*/ 529476 h 976639"/>
                      <a:gd name="connsiteX28" fmla="*/ 985025 w 985025"/>
                      <a:gd name="connsiteY28" fmla="*/ 533926 h 976639"/>
                      <a:gd name="connsiteX29" fmla="*/ 967197 w 985025"/>
                      <a:gd name="connsiteY29" fmla="*/ 620689 h 976639"/>
                      <a:gd name="connsiteX30" fmla="*/ 962739 w 985025"/>
                      <a:gd name="connsiteY30" fmla="*/ 625138 h 976639"/>
                      <a:gd name="connsiteX31" fmla="*/ 855768 w 985025"/>
                      <a:gd name="connsiteY31" fmla="*/ 631812 h 976639"/>
                      <a:gd name="connsiteX32" fmla="*/ 851311 w 985025"/>
                      <a:gd name="connsiteY32" fmla="*/ 634037 h 976639"/>
                      <a:gd name="connsiteX33" fmla="*/ 831254 w 985025"/>
                      <a:gd name="connsiteY33" fmla="*/ 674081 h 976639"/>
                      <a:gd name="connsiteX34" fmla="*/ 831254 w 985025"/>
                      <a:gd name="connsiteY34" fmla="*/ 678531 h 976639"/>
                      <a:gd name="connsiteX35" fmla="*/ 895883 w 985025"/>
                      <a:gd name="connsiteY35" fmla="*/ 767518 h 976639"/>
                      <a:gd name="connsiteX36" fmla="*/ 895883 w 985025"/>
                      <a:gd name="connsiteY36" fmla="*/ 774192 h 976639"/>
                      <a:gd name="connsiteX37" fmla="*/ 835711 w 985025"/>
                      <a:gd name="connsiteY37" fmla="*/ 840933 h 976639"/>
                      <a:gd name="connsiteX38" fmla="*/ 831254 w 985025"/>
                      <a:gd name="connsiteY38" fmla="*/ 840933 h 976639"/>
                      <a:gd name="connsiteX39" fmla="*/ 733197 w 985025"/>
                      <a:gd name="connsiteY39" fmla="*/ 791990 h 976639"/>
                      <a:gd name="connsiteX40" fmla="*/ 728740 w 985025"/>
                      <a:gd name="connsiteY40" fmla="*/ 791990 h 976639"/>
                      <a:gd name="connsiteX41" fmla="*/ 695312 w 985025"/>
                      <a:gd name="connsiteY41" fmla="*/ 814237 h 976639"/>
                      <a:gd name="connsiteX42" fmla="*/ 690855 w 985025"/>
                      <a:gd name="connsiteY42" fmla="*/ 823135 h 976639"/>
                      <a:gd name="connsiteX43" fmla="*/ 701998 w 985025"/>
                      <a:gd name="connsiteY43" fmla="*/ 929921 h 976639"/>
                      <a:gd name="connsiteX44" fmla="*/ 697540 w 985025"/>
                      <a:gd name="connsiteY44" fmla="*/ 934370 h 976639"/>
                      <a:gd name="connsiteX45" fmla="*/ 612855 w 985025"/>
                      <a:gd name="connsiteY45" fmla="*/ 963291 h 976639"/>
                      <a:gd name="connsiteX46" fmla="*/ 608398 w 985025"/>
                      <a:gd name="connsiteY46" fmla="*/ 963291 h 976639"/>
                      <a:gd name="connsiteX47" fmla="*/ 548227 w 985025"/>
                      <a:gd name="connsiteY47" fmla="*/ 874303 h 976639"/>
                      <a:gd name="connsiteX48" fmla="*/ 543770 w 985025"/>
                      <a:gd name="connsiteY48" fmla="*/ 869854 h 976639"/>
                      <a:gd name="connsiteX49" fmla="*/ 501427 w 985025"/>
                      <a:gd name="connsiteY49" fmla="*/ 874303 h 976639"/>
                      <a:gd name="connsiteX50" fmla="*/ 494741 w 985025"/>
                      <a:gd name="connsiteY50" fmla="*/ 876528 h 976639"/>
                      <a:gd name="connsiteX51" fmla="*/ 450170 w 985025"/>
                      <a:gd name="connsiteY51" fmla="*/ 974414 h 976639"/>
                      <a:gd name="connsiteX52" fmla="*/ 445713 w 985025"/>
                      <a:gd name="connsiteY52" fmla="*/ 976639 h 976639"/>
                      <a:gd name="connsiteX53" fmla="*/ 356570 w 985025"/>
                      <a:gd name="connsiteY53" fmla="*/ 958842 h 976639"/>
                      <a:gd name="connsiteX54" fmla="*/ 352113 w 985025"/>
                      <a:gd name="connsiteY54" fmla="*/ 956617 h 976639"/>
                      <a:gd name="connsiteX55" fmla="*/ 347656 w 985025"/>
                      <a:gd name="connsiteY55" fmla="*/ 847607 h 976639"/>
                      <a:gd name="connsiteX56" fmla="*/ 340970 w 985025"/>
                      <a:gd name="connsiteY56" fmla="*/ 843158 h 976639"/>
                      <a:gd name="connsiteX57" fmla="*/ 305313 w 985025"/>
                      <a:gd name="connsiteY57" fmla="*/ 825360 h 976639"/>
                      <a:gd name="connsiteX58" fmla="*/ 296399 w 985025"/>
                      <a:gd name="connsiteY58" fmla="*/ 825360 h 976639"/>
                      <a:gd name="connsiteX59" fmla="*/ 211713 w 985025"/>
                      <a:gd name="connsiteY59" fmla="*/ 887652 h 976639"/>
                      <a:gd name="connsiteX60" fmla="*/ 205028 w 985025"/>
                      <a:gd name="connsiteY60" fmla="*/ 887652 h 976639"/>
                      <a:gd name="connsiteX61" fmla="*/ 138171 w 985025"/>
                      <a:gd name="connsiteY61" fmla="*/ 829810 h 976639"/>
                      <a:gd name="connsiteX62" fmla="*/ 135942 w 985025"/>
                      <a:gd name="connsiteY62" fmla="*/ 823135 h 976639"/>
                      <a:gd name="connsiteX63" fmla="*/ 182742 w 985025"/>
                      <a:gd name="connsiteY63" fmla="*/ 725249 h 976639"/>
                      <a:gd name="connsiteX64" fmla="*/ 182742 w 985025"/>
                      <a:gd name="connsiteY64" fmla="*/ 720800 h 976639"/>
                      <a:gd name="connsiteX65" fmla="*/ 160457 w 985025"/>
                      <a:gd name="connsiteY65" fmla="*/ 687429 h 976639"/>
                      <a:gd name="connsiteX66" fmla="*/ 153771 w 985025"/>
                      <a:gd name="connsiteY66" fmla="*/ 685205 h 976639"/>
                      <a:gd name="connsiteX67" fmla="*/ 49028 w 985025"/>
                      <a:gd name="connsiteY67" fmla="*/ 696328 h 976639"/>
                      <a:gd name="connsiteX68" fmla="*/ 42343 w 985025"/>
                      <a:gd name="connsiteY68" fmla="*/ 691879 h 976639"/>
                      <a:gd name="connsiteX69" fmla="*/ 11143 w 985025"/>
                      <a:gd name="connsiteY69" fmla="*/ 609565 h 976639"/>
                      <a:gd name="connsiteX70" fmla="*/ 15600 w 985025"/>
                      <a:gd name="connsiteY70" fmla="*/ 602891 h 976639"/>
                      <a:gd name="connsiteX71" fmla="*/ 104742 w 985025"/>
                      <a:gd name="connsiteY71" fmla="*/ 542824 h 976639"/>
                      <a:gd name="connsiteX72" fmla="*/ 106971 w 985025"/>
                      <a:gd name="connsiteY72" fmla="*/ 536150 h 976639"/>
                      <a:gd name="connsiteX73" fmla="*/ 104742 w 985025"/>
                      <a:gd name="connsiteY73" fmla="*/ 496106 h 976639"/>
                      <a:gd name="connsiteX74" fmla="*/ 102514 w 985025"/>
                      <a:gd name="connsiteY74" fmla="*/ 489432 h 976639"/>
                      <a:gd name="connsiteX75" fmla="*/ 4457 w 985025"/>
                      <a:gd name="connsiteY75" fmla="*/ 444938 h 976639"/>
                      <a:gd name="connsiteX76" fmla="*/ 0 w 985025"/>
                      <a:gd name="connsiteY76" fmla="*/ 440489 h 976639"/>
                      <a:gd name="connsiteX77" fmla="*/ 15600 w 985025"/>
                      <a:gd name="connsiteY77" fmla="*/ 353726 h 976639"/>
                      <a:gd name="connsiteX78" fmla="*/ 20057 w 985025"/>
                      <a:gd name="connsiteY78" fmla="*/ 351501 h 976639"/>
                      <a:gd name="connsiteX79" fmla="*/ 129257 w 985025"/>
                      <a:gd name="connsiteY79" fmla="*/ 342602 h 976639"/>
                      <a:gd name="connsiteX80" fmla="*/ 135942 w 985025"/>
                      <a:gd name="connsiteY80" fmla="*/ 340377 h 976639"/>
                      <a:gd name="connsiteX81" fmla="*/ 151542 w 985025"/>
                      <a:gd name="connsiteY81" fmla="*/ 302558 h 976639"/>
                      <a:gd name="connsiteX82" fmla="*/ 151542 w 985025"/>
                      <a:gd name="connsiteY82" fmla="*/ 295884 h 976639"/>
                      <a:gd name="connsiteX83" fmla="*/ 91371 w 985025"/>
                      <a:gd name="connsiteY83" fmla="*/ 209121 h 976639"/>
                      <a:gd name="connsiteX84" fmla="*/ 91371 w 985025"/>
                      <a:gd name="connsiteY84" fmla="*/ 200222 h 976639"/>
                      <a:gd name="connsiteX85" fmla="*/ 147085 w 985025"/>
                      <a:gd name="connsiteY85" fmla="*/ 133481 h 976639"/>
                      <a:gd name="connsiteX86" fmla="*/ 153771 w 985025"/>
                      <a:gd name="connsiteY86" fmla="*/ 133481 h 976639"/>
                      <a:gd name="connsiteX87" fmla="*/ 249599 w 985025"/>
                      <a:gd name="connsiteY87" fmla="*/ 180200 h 976639"/>
                      <a:gd name="connsiteX88" fmla="*/ 256285 w 985025"/>
                      <a:gd name="connsiteY88" fmla="*/ 180200 h 976639"/>
                      <a:gd name="connsiteX89" fmla="*/ 289713 w 985025"/>
                      <a:gd name="connsiteY89" fmla="*/ 157953 h 976639"/>
                      <a:gd name="connsiteX90" fmla="*/ 283027 w 985025"/>
                      <a:gd name="connsiteY90" fmla="*/ 44493 h 976639"/>
                      <a:gd name="connsiteX91" fmla="*/ 369942 w 985025"/>
                      <a:gd name="connsiteY91" fmla="*/ 11123 h 976639"/>
                      <a:gd name="connsiteX92" fmla="*/ 439027 w 985025"/>
                      <a:gd name="connsiteY92" fmla="*/ 106785 h 976639"/>
                      <a:gd name="connsiteX93" fmla="*/ 481370 w 985025"/>
                      <a:gd name="connsiteY93" fmla="*/ 102335 h 976639"/>
                      <a:gd name="connsiteX94" fmla="*/ 532627 w 985025"/>
                      <a:gd name="connsiteY94"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686398 w 985025"/>
                      <a:gd name="connsiteY9" fmla="*/ 146829 h 976639"/>
                      <a:gd name="connsiteX10" fmla="*/ 773312 w 985025"/>
                      <a:gd name="connsiteY10" fmla="*/ 86763 h 976639"/>
                      <a:gd name="connsiteX11" fmla="*/ 779997 w 985025"/>
                      <a:gd name="connsiteY11" fmla="*/ 86763 h 976639"/>
                      <a:gd name="connsiteX12" fmla="*/ 846854 w 985025"/>
                      <a:gd name="connsiteY12" fmla="*/ 144605 h 976639"/>
                      <a:gd name="connsiteX13" fmla="*/ 846854 w 985025"/>
                      <a:gd name="connsiteY13" fmla="*/ 151279 h 976639"/>
                      <a:gd name="connsiteX14" fmla="*/ 800054 w 985025"/>
                      <a:gd name="connsiteY14" fmla="*/ 246940 h 976639"/>
                      <a:gd name="connsiteX15" fmla="*/ 800054 w 985025"/>
                      <a:gd name="connsiteY15" fmla="*/ 253614 h 976639"/>
                      <a:gd name="connsiteX16" fmla="*/ 822340 w 985025"/>
                      <a:gd name="connsiteY16" fmla="*/ 286985 h 976639"/>
                      <a:gd name="connsiteX17" fmla="*/ 829026 w 985025"/>
                      <a:gd name="connsiteY17" fmla="*/ 289209 h 976639"/>
                      <a:gd name="connsiteX18" fmla="*/ 938225 w 985025"/>
                      <a:gd name="connsiteY18" fmla="*/ 278086 h 976639"/>
                      <a:gd name="connsiteX19" fmla="*/ 940454 w 985025"/>
                      <a:gd name="connsiteY19" fmla="*/ 284760 h 976639"/>
                      <a:gd name="connsiteX20" fmla="*/ 971654 w 985025"/>
                      <a:gd name="connsiteY20" fmla="*/ 367074 h 976639"/>
                      <a:gd name="connsiteX21" fmla="*/ 967197 w 985025"/>
                      <a:gd name="connsiteY21" fmla="*/ 373748 h 976639"/>
                      <a:gd name="connsiteX22" fmla="*/ 878054 w 985025"/>
                      <a:gd name="connsiteY22" fmla="*/ 431590 h 976639"/>
                      <a:gd name="connsiteX23" fmla="*/ 875825 w 985025"/>
                      <a:gd name="connsiteY23" fmla="*/ 436039 h 976639"/>
                      <a:gd name="connsiteX24" fmla="*/ 878054 w 985025"/>
                      <a:gd name="connsiteY24" fmla="*/ 478308 h 976639"/>
                      <a:gd name="connsiteX25" fmla="*/ 884740 w 985025"/>
                      <a:gd name="connsiteY25" fmla="*/ 484982 h 976639"/>
                      <a:gd name="connsiteX26" fmla="*/ 982797 w 985025"/>
                      <a:gd name="connsiteY26" fmla="*/ 529476 h 976639"/>
                      <a:gd name="connsiteX27" fmla="*/ 985025 w 985025"/>
                      <a:gd name="connsiteY27" fmla="*/ 533926 h 976639"/>
                      <a:gd name="connsiteX28" fmla="*/ 967197 w 985025"/>
                      <a:gd name="connsiteY28" fmla="*/ 620689 h 976639"/>
                      <a:gd name="connsiteX29" fmla="*/ 962739 w 985025"/>
                      <a:gd name="connsiteY29" fmla="*/ 625138 h 976639"/>
                      <a:gd name="connsiteX30" fmla="*/ 855768 w 985025"/>
                      <a:gd name="connsiteY30" fmla="*/ 631812 h 976639"/>
                      <a:gd name="connsiteX31" fmla="*/ 851311 w 985025"/>
                      <a:gd name="connsiteY31" fmla="*/ 634037 h 976639"/>
                      <a:gd name="connsiteX32" fmla="*/ 831254 w 985025"/>
                      <a:gd name="connsiteY32" fmla="*/ 674081 h 976639"/>
                      <a:gd name="connsiteX33" fmla="*/ 831254 w 985025"/>
                      <a:gd name="connsiteY33" fmla="*/ 678531 h 976639"/>
                      <a:gd name="connsiteX34" fmla="*/ 895883 w 985025"/>
                      <a:gd name="connsiteY34" fmla="*/ 767518 h 976639"/>
                      <a:gd name="connsiteX35" fmla="*/ 895883 w 985025"/>
                      <a:gd name="connsiteY35" fmla="*/ 774192 h 976639"/>
                      <a:gd name="connsiteX36" fmla="*/ 835711 w 985025"/>
                      <a:gd name="connsiteY36" fmla="*/ 840933 h 976639"/>
                      <a:gd name="connsiteX37" fmla="*/ 831254 w 985025"/>
                      <a:gd name="connsiteY37" fmla="*/ 840933 h 976639"/>
                      <a:gd name="connsiteX38" fmla="*/ 733197 w 985025"/>
                      <a:gd name="connsiteY38" fmla="*/ 791990 h 976639"/>
                      <a:gd name="connsiteX39" fmla="*/ 728740 w 985025"/>
                      <a:gd name="connsiteY39" fmla="*/ 791990 h 976639"/>
                      <a:gd name="connsiteX40" fmla="*/ 695312 w 985025"/>
                      <a:gd name="connsiteY40" fmla="*/ 814237 h 976639"/>
                      <a:gd name="connsiteX41" fmla="*/ 690855 w 985025"/>
                      <a:gd name="connsiteY41" fmla="*/ 823135 h 976639"/>
                      <a:gd name="connsiteX42" fmla="*/ 701998 w 985025"/>
                      <a:gd name="connsiteY42" fmla="*/ 929921 h 976639"/>
                      <a:gd name="connsiteX43" fmla="*/ 697540 w 985025"/>
                      <a:gd name="connsiteY43" fmla="*/ 934370 h 976639"/>
                      <a:gd name="connsiteX44" fmla="*/ 612855 w 985025"/>
                      <a:gd name="connsiteY44" fmla="*/ 963291 h 976639"/>
                      <a:gd name="connsiteX45" fmla="*/ 608398 w 985025"/>
                      <a:gd name="connsiteY45" fmla="*/ 963291 h 976639"/>
                      <a:gd name="connsiteX46" fmla="*/ 548227 w 985025"/>
                      <a:gd name="connsiteY46" fmla="*/ 874303 h 976639"/>
                      <a:gd name="connsiteX47" fmla="*/ 543770 w 985025"/>
                      <a:gd name="connsiteY47" fmla="*/ 869854 h 976639"/>
                      <a:gd name="connsiteX48" fmla="*/ 501427 w 985025"/>
                      <a:gd name="connsiteY48" fmla="*/ 874303 h 976639"/>
                      <a:gd name="connsiteX49" fmla="*/ 494741 w 985025"/>
                      <a:gd name="connsiteY49" fmla="*/ 876528 h 976639"/>
                      <a:gd name="connsiteX50" fmla="*/ 450170 w 985025"/>
                      <a:gd name="connsiteY50" fmla="*/ 974414 h 976639"/>
                      <a:gd name="connsiteX51" fmla="*/ 445713 w 985025"/>
                      <a:gd name="connsiteY51" fmla="*/ 976639 h 976639"/>
                      <a:gd name="connsiteX52" fmla="*/ 356570 w 985025"/>
                      <a:gd name="connsiteY52" fmla="*/ 958842 h 976639"/>
                      <a:gd name="connsiteX53" fmla="*/ 352113 w 985025"/>
                      <a:gd name="connsiteY53" fmla="*/ 956617 h 976639"/>
                      <a:gd name="connsiteX54" fmla="*/ 347656 w 985025"/>
                      <a:gd name="connsiteY54" fmla="*/ 847607 h 976639"/>
                      <a:gd name="connsiteX55" fmla="*/ 340970 w 985025"/>
                      <a:gd name="connsiteY55" fmla="*/ 843158 h 976639"/>
                      <a:gd name="connsiteX56" fmla="*/ 305313 w 985025"/>
                      <a:gd name="connsiteY56" fmla="*/ 825360 h 976639"/>
                      <a:gd name="connsiteX57" fmla="*/ 296399 w 985025"/>
                      <a:gd name="connsiteY57" fmla="*/ 825360 h 976639"/>
                      <a:gd name="connsiteX58" fmla="*/ 211713 w 985025"/>
                      <a:gd name="connsiteY58" fmla="*/ 887652 h 976639"/>
                      <a:gd name="connsiteX59" fmla="*/ 205028 w 985025"/>
                      <a:gd name="connsiteY59" fmla="*/ 887652 h 976639"/>
                      <a:gd name="connsiteX60" fmla="*/ 138171 w 985025"/>
                      <a:gd name="connsiteY60" fmla="*/ 829810 h 976639"/>
                      <a:gd name="connsiteX61" fmla="*/ 135942 w 985025"/>
                      <a:gd name="connsiteY61" fmla="*/ 823135 h 976639"/>
                      <a:gd name="connsiteX62" fmla="*/ 182742 w 985025"/>
                      <a:gd name="connsiteY62" fmla="*/ 725249 h 976639"/>
                      <a:gd name="connsiteX63" fmla="*/ 182742 w 985025"/>
                      <a:gd name="connsiteY63" fmla="*/ 720800 h 976639"/>
                      <a:gd name="connsiteX64" fmla="*/ 160457 w 985025"/>
                      <a:gd name="connsiteY64" fmla="*/ 687429 h 976639"/>
                      <a:gd name="connsiteX65" fmla="*/ 153771 w 985025"/>
                      <a:gd name="connsiteY65" fmla="*/ 685205 h 976639"/>
                      <a:gd name="connsiteX66" fmla="*/ 49028 w 985025"/>
                      <a:gd name="connsiteY66" fmla="*/ 696328 h 976639"/>
                      <a:gd name="connsiteX67" fmla="*/ 42343 w 985025"/>
                      <a:gd name="connsiteY67" fmla="*/ 691879 h 976639"/>
                      <a:gd name="connsiteX68" fmla="*/ 11143 w 985025"/>
                      <a:gd name="connsiteY68" fmla="*/ 609565 h 976639"/>
                      <a:gd name="connsiteX69" fmla="*/ 15600 w 985025"/>
                      <a:gd name="connsiteY69" fmla="*/ 602891 h 976639"/>
                      <a:gd name="connsiteX70" fmla="*/ 104742 w 985025"/>
                      <a:gd name="connsiteY70" fmla="*/ 542824 h 976639"/>
                      <a:gd name="connsiteX71" fmla="*/ 106971 w 985025"/>
                      <a:gd name="connsiteY71" fmla="*/ 536150 h 976639"/>
                      <a:gd name="connsiteX72" fmla="*/ 104742 w 985025"/>
                      <a:gd name="connsiteY72" fmla="*/ 496106 h 976639"/>
                      <a:gd name="connsiteX73" fmla="*/ 102514 w 985025"/>
                      <a:gd name="connsiteY73" fmla="*/ 489432 h 976639"/>
                      <a:gd name="connsiteX74" fmla="*/ 4457 w 985025"/>
                      <a:gd name="connsiteY74" fmla="*/ 444938 h 976639"/>
                      <a:gd name="connsiteX75" fmla="*/ 0 w 985025"/>
                      <a:gd name="connsiteY75" fmla="*/ 440489 h 976639"/>
                      <a:gd name="connsiteX76" fmla="*/ 15600 w 985025"/>
                      <a:gd name="connsiteY76" fmla="*/ 353726 h 976639"/>
                      <a:gd name="connsiteX77" fmla="*/ 20057 w 985025"/>
                      <a:gd name="connsiteY77" fmla="*/ 351501 h 976639"/>
                      <a:gd name="connsiteX78" fmla="*/ 129257 w 985025"/>
                      <a:gd name="connsiteY78" fmla="*/ 342602 h 976639"/>
                      <a:gd name="connsiteX79" fmla="*/ 135942 w 985025"/>
                      <a:gd name="connsiteY79" fmla="*/ 340377 h 976639"/>
                      <a:gd name="connsiteX80" fmla="*/ 151542 w 985025"/>
                      <a:gd name="connsiteY80" fmla="*/ 302558 h 976639"/>
                      <a:gd name="connsiteX81" fmla="*/ 151542 w 985025"/>
                      <a:gd name="connsiteY81" fmla="*/ 295884 h 976639"/>
                      <a:gd name="connsiteX82" fmla="*/ 91371 w 985025"/>
                      <a:gd name="connsiteY82" fmla="*/ 209121 h 976639"/>
                      <a:gd name="connsiteX83" fmla="*/ 91371 w 985025"/>
                      <a:gd name="connsiteY83" fmla="*/ 200222 h 976639"/>
                      <a:gd name="connsiteX84" fmla="*/ 147085 w 985025"/>
                      <a:gd name="connsiteY84" fmla="*/ 133481 h 976639"/>
                      <a:gd name="connsiteX85" fmla="*/ 153771 w 985025"/>
                      <a:gd name="connsiteY85" fmla="*/ 133481 h 976639"/>
                      <a:gd name="connsiteX86" fmla="*/ 249599 w 985025"/>
                      <a:gd name="connsiteY86" fmla="*/ 180200 h 976639"/>
                      <a:gd name="connsiteX87" fmla="*/ 256285 w 985025"/>
                      <a:gd name="connsiteY87" fmla="*/ 180200 h 976639"/>
                      <a:gd name="connsiteX88" fmla="*/ 289713 w 985025"/>
                      <a:gd name="connsiteY88" fmla="*/ 157953 h 976639"/>
                      <a:gd name="connsiteX89" fmla="*/ 283027 w 985025"/>
                      <a:gd name="connsiteY89" fmla="*/ 44493 h 976639"/>
                      <a:gd name="connsiteX90" fmla="*/ 369942 w 985025"/>
                      <a:gd name="connsiteY90" fmla="*/ 11123 h 976639"/>
                      <a:gd name="connsiteX91" fmla="*/ 439027 w 985025"/>
                      <a:gd name="connsiteY91" fmla="*/ 106785 h 976639"/>
                      <a:gd name="connsiteX92" fmla="*/ 481370 w 985025"/>
                      <a:gd name="connsiteY92" fmla="*/ 102335 h 976639"/>
                      <a:gd name="connsiteX93" fmla="*/ 532627 w 985025"/>
                      <a:gd name="connsiteY93"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3312 w 985025"/>
                      <a:gd name="connsiteY9" fmla="*/ 86763 h 976639"/>
                      <a:gd name="connsiteX10" fmla="*/ 779997 w 985025"/>
                      <a:gd name="connsiteY10" fmla="*/ 86763 h 976639"/>
                      <a:gd name="connsiteX11" fmla="*/ 846854 w 985025"/>
                      <a:gd name="connsiteY11" fmla="*/ 144605 h 976639"/>
                      <a:gd name="connsiteX12" fmla="*/ 846854 w 985025"/>
                      <a:gd name="connsiteY12" fmla="*/ 151279 h 976639"/>
                      <a:gd name="connsiteX13" fmla="*/ 800054 w 985025"/>
                      <a:gd name="connsiteY13" fmla="*/ 246940 h 976639"/>
                      <a:gd name="connsiteX14" fmla="*/ 800054 w 985025"/>
                      <a:gd name="connsiteY14" fmla="*/ 253614 h 976639"/>
                      <a:gd name="connsiteX15" fmla="*/ 822340 w 985025"/>
                      <a:gd name="connsiteY15" fmla="*/ 286985 h 976639"/>
                      <a:gd name="connsiteX16" fmla="*/ 829026 w 985025"/>
                      <a:gd name="connsiteY16" fmla="*/ 289209 h 976639"/>
                      <a:gd name="connsiteX17" fmla="*/ 938225 w 985025"/>
                      <a:gd name="connsiteY17" fmla="*/ 278086 h 976639"/>
                      <a:gd name="connsiteX18" fmla="*/ 940454 w 985025"/>
                      <a:gd name="connsiteY18" fmla="*/ 284760 h 976639"/>
                      <a:gd name="connsiteX19" fmla="*/ 971654 w 985025"/>
                      <a:gd name="connsiteY19" fmla="*/ 367074 h 976639"/>
                      <a:gd name="connsiteX20" fmla="*/ 967197 w 985025"/>
                      <a:gd name="connsiteY20" fmla="*/ 373748 h 976639"/>
                      <a:gd name="connsiteX21" fmla="*/ 878054 w 985025"/>
                      <a:gd name="connsiteY21" fmla="*/ 431590 h 976639"/>
                      <a:gd name="connsiteX22" fmla="*/ 875825 w 985025"/>
                      <a:gd name="connsiteY22" fmla="*/ 436039 h 976639"/>
                      <a:gd name="connsiteX23" fmla="*/ 878054 w 985025"/>
                      <a:gd name="connsiteY23" fmla="*/ 478308 h 976639"/>
                      <a:gd name="connsiteX24" fmla="*/ 884740 w 985025"/>
                      <a:gd name="connsiteY24" fmla="*/ 484982 h 976639"/>
                      <a:gd name="connsiteX25" fmla="*/ 982797 w 985025"/>
                      <a:gd name="connsiteY25" fmla="*/ 529476 h 976639"/>
                      <a:gd name="connsiteX26" fmla="*/ 985025 w 985025"/>
                      <a:gd name="connsiteY26" fmla="*/ 533926 h 976639"/>
                      <a:gd name="connsiteX27" fmla="*/ 967197 w 985025"/>
                      <a:gd name="connsiteY27" fmla="*/ 620689 h 976639"/>
                      <a:gd name="connsiteX28" fmla="*/ 962739 w 985025"/>
                      <a:gd name="connsiteY28" fmla="*/ 625138 h 976639"/>
                      <a:gd name="connsiteX29" fmla="*/ 855768 w 985025"/>
                      <a:gd name="connsiteY29" fmla="*/ 631812 h 976639"/>
                      <a:gd name="connsiteX30" fmla="*/ 851311 w 985025"/>
                      <a:gd name="connsiteY30" fmla="*/ 634037 h 976639"/>
                      <a:gd name="connsiteX31" fmla="*/ 831254 w 985025"/>
                      <a:gd name="connsiteY31" fmla="*/ 674081 h 976639"/>
                      <a:gd name="connsiteX32" fmla="*/ 831254 w 985025"/>
                      <a:gd name="connsiteY32" fmla="*/ 678531 h 976639"/>
                      <a:gd name="connsiteX33" fmla="*/ 895883 w 985025"/>
                      <a:gd name="connsiteY33" fmla="*/ 767518 h 976639"/>
                      <a:gd name="connsiteX34" fmla="*/ 895883 w 985025"/>
                      <a:gd name="connsiteY34" fmla="*/ 774192 h 976639"/>
                      <a:gd name="connsiteX35" fmla="*/ 835711 w 985025"/>
                      <a:gd name="connsiteY35" fmla="*/ 840933 h 976639"/>
                      <a:gd name="connsiteX36" fmla="*/ 831254 w 985025"/>
                      <a:gd name="connsiteY36" fmla="*/ 840933 h 976639"/>
                      <a:gd name="connsiteX37" fmla="*/ 733197 w 985025"/>
                      <a:gd name="connsiteY37" fmla="*/ 791990 h 976639"/>
                      <a:gd name="connsiteX38" fmla="*/ 728740 w 985025"/>
                      <a:gd name="connsiteY38" fmla="*/ 791990 h 976639"/>
                      <a:gd name="connsiteX39" fmla="*/ 695312 w 985025"/>
                      <a:gd name="connsiteY39" fmla="*/ 814237 h 976639"/>
                      <a:gd name="connsiteX40" fmla="*/ 690855 w 985025"/>
                      <a:gd name="connsiteY40" fmla="*/ 823135 h 976639"/>
                      <a:gd name="connsiteX41" fmla="*/ 701998 w 985025"/>
                      <a:gd name="connsiteY41" fmla="*/ 929921 h 976639"/>
                      <a:gd name="connsiteX42" fmla="*/ 697540 w 985025"/>
                      <a:gd name="connsiteY42" fmla="*/ 934370 h 976639"/>
                      <a:gd name="connsiteX43" fmla="*/ 612855 w 985025"/>
                      <a:gd name="connsiteY43" fmla="*/ 963291 h 976639"/>
                      <a:gd name="connsiteX44" fmla="*/ 608398 w 985025"/>
                      <a:gd name="connsiteY44" fmla="*/ 963291 h 976639"/>
                      <a:gd name="connsiteX45" fmla="*/ 548227 w 985025"/>
                      <a:gd name="connsiteY45" fmla="*/ 874303 h 976639"/>
                      <a:gd name="connsiteX46" fmla="*/ 543770 w 985025"/>
                      <a:gd name="connsiteY46" fmla="*/ 869854 h 976639"/>
                      <a:gd name="connsiteX47" fmla="*/ 501427 w 985025"/>
                      <a:gd name="connsiteY47" fmla="*/ 874303 h 976639"/>
                      <a:gd name="connsiteX48" fmla="*/ 494741 w 985025"/>
                      <a:gd name="connsiteY48" fmla="*/ 876528 h 976639"/>
                      <a:gd name="connsiteX49" fmla="*/ 450170 w 985025"/>
                      <a:gd name="connsiteY49" fmla="*/ 974414 h 976639"/>
                      <a:gd name="connsiteX50" fmla="*/ 445713 w 985025"/>
                      <a:gd name="connsiteY50" fmla="*/ 976639 h 976639"/>
                      <a:gd name="connsiteX51" fmla="*/ 356570 w 985025"/>
                      <a:gd name="connsiteY51" fmla="*/ 958842 h 976639"/>
                      <a:gd name="connsiteX52" fmla="*/ 352113 w 985025"/>
                      <a:gd name="connsiteY52" fmla="*/ 956617 h 976639"/>
                      <a:gd name="connsiteX53" fmla="*/ 347656 w 985025"/>
                      <a:gd name="connsiteY53" fmla="*/ 847607 h 976639"/>
                      <a:gd name="connsiteX54" fmla="*/ 340970 w 985025"/>
                      <a:gd name="connsiteY54" fmla="*/ 843158 h 976639"/>
                      <a:gd name="connsiteX55" fmla="*/ 305313 w 985025"/>
                      <a:gd name="connsiteY55" fmla="*/ 825360 h 976639"/>
                      <a:gd name="connsiteX56" fmla="*/ 296399 w 985025"/>
                      <a:gd name="connsiteY56" fmla="*/ 825360 h 976639"/>
                      <a:gd name="connsiteX57" fmla="*/ 211713 w 985025"/>
                      <a:gd name="connsiteY57" fmla="*/ 887652 h 976639"/>
                      <a:gd name="connsiteX58" fmla="*/ 205028 w 985025"/>
                      <a:gd name="connsiteY58" fmla="*/ 887652 h 976639"/>
                      <a:gd name="connsiteX59" fmla="*/ 138171 w 985025"/>
                      <a:gd name="connsiteY59" fmla="*/ 829810 h 976639"/>
                      <a:gd name="connsiteX60" fmla="*/ 135942 w 985025"/>
                      <a:gd name="connsiteY60" fmla="*/ 823135 h 976639"/>
                      <a:gd name="connsiteX61" fmla="*/ 182742 w 985025"/>
                      <a:gd name="connsiteY61" fmla="*/ 725249 h 976639"/>
                      <a:gd name="connsiteX62" fmla="*/ 182742 w 985025"/>
                      <a:gd name="connsiteY62" fmla="*/ 720800 h 976639"/>
                      <a:gd name="connsiteX63" fmla="*/ 160457 w 985025"/>
                      <a:gd name="connsiteY63" fmla="*/ 687429 h 976639"/>
                      <a:gd name="connsiteX64" fmla="*/ 153771 w 985025"/>
                      <a:gd name="connsiteY64" fmla="*/ 685205 h 976639"/>
                      <a:gd name="connsiteX65" fmla="*/ 49028 w 985025"/>
                      <a:gd name="connsiteY65" fmla="*/ 696328 h 976639"/>
                      <a:gd name="connsiteX66" fmla="*/ 42343 w 985025"/>
                      <a:gd name="connsiteY66" fmla="*/ 691879 h 976639"/>
                      <a:gd name="connsiteX67" fmla="*/ 11143 w 985025"/>
                      <a:gd name="connsiteY67" fmla="*/ 609565 h 976639"/>
                      <a:gd name="connsiteX68" fmla="*/ 15600 w 985025"/>
                      <a:gd name="connsiteY68" fmla="*/ 602891 h 976639"/>
                      <a:gd name="connsiteX69" fmla="*/ 104742 w 985025"/>
                      <a:gd name="connsiteY69" fmla="*/ 542824 h 976639"/>
                      <a:gd name="connsiteX70" fmla="*/ 106971 w 985025"/>
                      <a:gd name="connsiteY70" fmla="*/ 536150 h 976639"/>
                      <a:gd name="connsiteX71" fmla="*/ 104742 w 985025"/>
                      <a:gd name="connsiteY71" fmla="*/ 496106 h 976639"/>
                      <a:gd name="connsiteX72" fmla="*/ 102514 w 985025"/>
                      <a:gd name="connsiteY72" fmla="*/ 489432 h 976639"/>
                      <a:gd name="connsiteX73" fmla="*/ 4457 w 985025"/>
                      <a:gd name="connsiteY73" fmla="*/ 444938 h 976639"/>
                      <a:gd name="connsiteX74" fmla="*/ 0 w 985025"/>
                      <a:gd name="connsiteY74" fmla="*/ 440489 h 976639"/>
                      <a:gd name="connsiteX75" fmla="*/ 15600 w 985025"/>
                      <a:gd name="connsiteY75" fmla="*/ 353726 h 976639"/>
                      <a:gd name="connsiteX76" fmla="*/ 20057 w 985025"/>
                      <a:gd name="connsiteY76" fmla="*/ 351501 h 976639"/>
                      <a:gd name="connsiteX77" fmla="*/ 129257 w 985025"/>
                      <a:gd name="connsiteY77" fmla="*/ 342602 h 976639"/>
                      <a:gd name="connsiteX78" fmla="*/ 135942 w 985025"/>
                      <a:gd name="connsiteY78" fmla="*/ 340377 h 976639"/>
                      <a:gd name="connsiteX79" fmla="*/ 151542 w 985025"/>
                      <a:gd name="connsiteY79" fmla="*/ 302558 h 976639"/>
                      <a:gd name="connsiteX80" fmla="*/ 151542 w 985025"/>
                      <a:gd name="connsiteY80" fmla="*/ 295884 h 976639"/>
                      <a:gd name="connsiteX81" fmla="*/ 91371 w 985025"/>
                      <a:gd name="connsiteY81" fmla="*/ 209121 h 976639"/>
                      <a:gd name="connsiteX82" fmla="*/ 91371 w 985025"/>
                      <a:gd name="connsiteY82" fmla="*/ 200222 h 976639"/>
                      <a:gd name="connsiteX83" fmla="*/ 147085 w 985025"/>
                      <a:gd name="connsiteY83" fmla="*/ 133481 h 976639"/>
                      <a:gd name="connsiteX84" fmla="*/ 153771 w 985025"/>
                      <a:gd name="connsiteY84" fmla="*/ 133481 h 976639"/>
                      <a:gd name="connsiteX85" fmla="*/ 249599 w 985025"/>
                      <a:gd name="connsiteY85" fmla="*/ 180200 h 976639"/>
                      <a:gd name="connsiteX86" fmla="*/ 256285 w 985025"/>
                      <a:gd name="connsiteY86" fmla="*/ 180200 h 976639"/>
                      <a:gd name="connsiteX87" fmla="*/ 289713 w 985025"/>
                      <a:gd name="connsiteY87" fmla="*/ 157953 h 976639"/>
                      <a:gd name="connsiteX88" fmla="*/ 283027 w 985025"/>
                      <a:gd name="connsiteY88" fmla="*/ 44493 h 976639"/>
                      <a:gd name="connsiteX89" fmla="*/ 369942 w 985025"/>
                      <a:gd name="connsiteY89" fmla="*/ 11123 h 976639"/>
                      <a:gd name="connsiteX90" fmla="*/ 439027 w 985025"/>
                      <a:gd name="connsiteY90" fmla="*/ 106785 h 976639"/>
                      <a:gd name="connsiteX91" fmla="*/ 481370 w 985025"/>
                      <a:gd name="connsiteY91" fmla="*/ 102335 h 976639"/>
                      <a:gd name="connsiteX92" fmla="*/ 532627 w 985025"/>
                      <a:gd name="connsiteY92"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46854 w 985025"/>
                      <a:gd name="connsiteY11" fmla="*/ 151279 h 976639"/>
                      <a:gd name="connsiteX12" fmla="*/ 800054 w 985025"/>
                      <a:gd name="connsiteY12" fmla="*/ 246940 h 976639"/>
                      <a:gd name="connsiteX13" fmla="*/ 800054 w 985025"/>
                      <a:gd name="connsiteY13" fmla="*/ 253614 h 976639"/>
                      <a:gd name="connsiteX14" fmla="*/ 822340 w 985025"/>
                      <a:gd name="connsiteY14" fmla="*/ 286985 h 976639"/>
                      <a:gd name="connsiteX15" fmla="*/ 829026 w 985025"/>
                      <a:gd name="connsiteY15" fmla="*/ 289209 h 976639"/>
                      <a:gd name="connsiteX16" fmla="*/ 938225 w 985025"/>
                      <a:gd name="connsiteY16" fmla="*/ 278086 h 976639"/>
                      <a:gd name="connsiteX17" fmla="*/ 940454 w 985025"/>
                      <a:gd name="connsiteY17" fmla="*/ 284760 h 976639"/>
                      <a:gd name="connsiteX18" fmla="*/ 971654 w 985025"/>
                      <a:gd name="connsiteY18" fmla="*/ 367074 h 976639"/>
                      <a:gd name="connsiteX19" fmla="*/ 967197 w 985025"/>
                      <a:gd name="connsiteY19" fmla="*/ 373748 h 976639"/>
                      <a:gd name="connsiteX20" fmla="*/ 878054 w 985025"/>
                      <a:gd name="connsiteY20" fmla="*/ 431590 h 976639"/>
                      <a:gd name="connsiteX21" fmla="*/ 875825 w 985025"/>
                      <a:gd name="connsiteY21" fmla="*/ 436039 h 976639"/>
                      <a:gd name="connsiteX22" fmla="*/ 878054 w 985025"/>
                      <a:gd name="connsiteY22" fmla="*/ 478308 h 976639"/>
                      <a:gd name="connsiteX23" fmla="*/ 884740 w 985025"/>
                      <a:gd name="connsiteY23" fmla="*/ 484982 h 976639"/>
                      <a:gd name="connsiteX24" fmla="*/ 982797 w 985025"/>
                      <a:gd name="connsiteY24" fmla="*/ 529476 h 976639"/>
                      <a:gd name="connsiteX25" fmla="*/ 985025 w 985025"/>
                      <a:gd name="connsiteY25" fmla="*/ 533926 h 976639"/>
                      <a:gd name="connsiteX26" fmla="*/ 967197 w 985025"/>
                      <a:gd name="connsiteY26" fmla="*/ 620689 h 976639"/>
                      <a:gd name="connsiteX27" fmla="*/ 962739 w 985025"/>
                      <a:gd name="connsiteY27" fmla="*/ 625138 h 976639"/>
                      <a:gd name="connsiteX28" fmla="*/ 855768 w 985025"/>
                      <a:gd name="connsiteY28" fmla="*/ 631812 h 976639"/>
                      <a:gd name="connsiteX29" fmla="*/ 851311 w 985025"/>
                      <a:gd name="connsiteY29" fmla="*/ 634037 h 976639"/>
                      <a:gd name="connsiteX30" fmla="*/ 831254 w 985025"/>
                      <a:gd name="connsiteY30" fmla="*/ 674081 h 976639"/>
                      <a:gd name="connsiteX31" fmla="*/ 831254 w 985025"/>
                      <a:gd name="connsiteY31" fmla="*/ 678531 h 976639"/>
                      <a:gd name="connsiteX32" fmla="*/ 895883 w 985025"/>
                      <a:gd name="connsiteY32" fmla="*/ 767518 h 976639"/>
                      <a:gd name="connsiteX33" fmla="*/ 895883 w 985025"/>
                      <a:gd name="connsiteY33" fmla="*/ 774192 h 976639"/>
                      <a:gd name="connsiteX34" fmla="*/ 835711 w 985025"/>
                      <a:gd name="connsiteY34" fmla="*/ 840933 h 976639"/>
                      <a:gd name="connsiteX35" fmla="*/ 831254 w 985025"/>
                      <a:gd name="connsiteY35" fmla="*/ 840933 h 976639"/>
                      <a:gd name="connsiteX36" fmla="*/ 733197 w 985025"/>
                      <a:gd name="connsiteY36" fmla="*/ 791990 h 976639"/>
                      <a:gd name="connsiteX37" fmla="*/ 728740 w 985025"/>
                      <a:gd name="connsiteY37" fmla="*/ 791990 h 976639"/>
                      <a:gd name="connsiteX38" fmla="*/ 695312 w 985025"/>
                      <a:gd name="connsiteY38" fmla="*/ 814237 h 976639"/>
                      <a:gd name="connsiteX39" fmla="*/ 690855 w 985025"/>
                      <a:gd name="connsiteY39" fmla="*/ 823135 h 976639"/>
                      <a:gd name="connsiteX40" fmla="*/ 701998 w 985025"/>
                      <a:gd name="connsiteY40" fmla="*/ 929921 h 976639"/>
                      <a:gd name="connsiteX41" fmla="*/ 697540 w 985025"/>
                      <a:gd name="connsiteY41" fmla="*/ 934370 h 976639"/>
                      <a:gd name="connsiteX42" fmla="*/ 612855 w 985025"/>
                      <a:gd name="connsiteY42" fmla="*/ 963291 h 976639"/>
                      <a:gd name="connsiteX43" fmla="*/ 608398 w 985025"/>
                      <a:gd name="connsiteY43" fmla="*/ 963291 h 976639"/>
                      <a:gd name="connsiteX44" fmla="*/ 548227 w 985025"/>
                      <a:gd name="connsiteY44" fmla="*/ 874303 h 976639"/>
                      <a:gd name="connsiteX45" fmla="*/ 543770 w 985025"/>
                      <a:gd name="connsiteY45" fmla="*/ 869854 h 976639"/>
                      <a:gd name="connsiteX46" fmla="*/ 501427 w 985025"/>
                      <a:gd name="connsiteY46" fmla="*/ 874303 h 976639"/>
                      <a:gd name="connsiteX47" fmla="*/ 494741 w 985025"/>
                      <a:gd name="connsiteY47" fmla="*/ 876528 h 976639"/>
                      <a:gd name="connsiteX48" fmla="*/ 450170 w 985025"/>
                      <a:gd name="connsiteY48" fmla="*/ 974414 h 976639"/>
                      <a:gd name="connsiteX49" fmla="*/ 445713 w 985025"/>
                      <a:gd name="connsiteY49" fmla="*/ 976639 h 976639"/>
                      <a:gd name="connsiteX50" fmla="*/ 356570 w 985025"/>
                      <a:gd name="connsiteY50" fmla="*/ 958842 h 976639"/>
                      <a:gd name="connsiteX51" fmla="*/ 352113 w 985025"/>
                      <a:gd name="connsiteY51" fmla="*/ 956617 h 976639"/>
                      <a:gd name="connsiteX52" fmla="*/ 347656 w 985025"/>
                      <a:gd name="connsiteY52" fmla="*/ 847607 h 976639"/>
                      <a:gd name="connsiteX53" fmla="*/ 340970 w 985025"/>
                      <a:gd name="connsiteY53" fmla="*/ 843158 h 976639"/>
                      <a:gd name="connsiteX54" fmla="*/ 305313 w 985025"/>
                      <a:gd name="connsiteY54" fmla="*/ 825360 h 976639"/>
                      <a:gd name="connsiteX55" fmla="*/ 296399 w 985025"/>
                      <a:gd name="connsiteY55" fmla="*/ 825360 h 976639"/>
                      <a:gd name="connsiteX56" fmla="*/ 211713 w 985025"/>
                      <a:gd name="connsiteY56" fmla="*/ 887652 h 976639"/>
                      <a:gd name="connsiteX57" fmla="*/ 205028 w 985025"/>
                      <a:gd name="connsiteY57" fmla="*/ 887652 h 976639"/>
                      <a:gd name="connsiteX58" fmla="*/ 138171 w 985025"/>
                      <a:gd name="connsiteY58" fmla="*/ 829810 h 976639"/>
                      <a:gd name="connsiteX59" fmla="*/ 135942 w 985025"/>
                      <a:gd name="connsiteY59" fmla="*/ 823135 h 976639"/>
                      <a:gd name="connsiteX60" fmla="*/ 182742 w 985025"/>
                      <a:gd name="connsiteY60" fmla="*/ 725249 h 976639"/>
                      <a:gd name="connsiteX61" fmla="*/ 182742 w 985025"/>
                      <a:gd name="connsiteY61" fmla="*/ 720800 h 976639"/>
                      <a:gd name="connsiteX62" fmla="*/ 160457 w 985025"/>
                      <a:gd name="connsiteY62" fmla="*/ 687429 h 976639"/>
                      <a:gd name="connsiteX63" fmla="*/ 153771 w 985025"/>
                      <a:gd name="connsiteY63" fmla="*/ 685205 h 976639"/>
                      <a:gd name="connsiteX64" fmla="*/ 49028 w 985025"/>
                      <a:gd name="connsiteY64" fmla="*/ 696328 h 976639"/>
                      <a:gd name="connsiteX65" fmla="*/ 42343 w 985025"/>
                      <a:gd name="connsiteY65" fmla="*/ 691879 h 976639"/>
                      <a:gd name="connsiteX66" fmla="*/ 11143 w 985025"/>
                      <a:gd name="connsiteY66" fmla="*/ 609565 h 976639"/>
                      <a:gd name="connsiteX67" fmla="*/ 15600 w 985025"/>
                      <a:gd name="connsiteY67" fmla="*/ 602891 h 976639"/>
                      <a:gd name="connsiteX68" fmla="*/ 104742 w 985025"/>
                      <a:gd name="connsiteY68" fmla="*/ 542824 h 976639"/>
                      <a:gd name="connsiteX69" fmla="*/ 106971 w 985025"/>
                      <a:gd name="connsiteY69" fmla="*/ 536150 h 976639"/>
                      <a:gd name="connsiteX70" fmla="*/ 104742 w 985025"/>
                      <a:gd name="connsiteY70" fmla="*/ 496106 h 976639"/>
                      <a:gd name="connsiteX71" fmla="*/ 102514 w 985025"/>
                      <a:gd name="connsiteY71" fmla="*/ 489432 h 976639"/>
                      <a:gd name="connsiteX72" fmla="*/ 4457 w 985025"/>
                      <a:gd name="connsiteY72" fmla="*/ 444938 h 976639"/>
                      <a:gd name="connsiteX73" fmla="*/ 0 w 985025"/>
                      <a:gd name="connsiteY73" fmla="*/ 440489 h 976639"/>
                      <a:gd name="connsiteX74" fmla="*/ 15600 w 985025"/>
                      <a:gd name="connsiteY74" fmla="*/ 353726 h 976639"/>
                      <a:gd name="connsiteX75" fmla="*/ 20057 w 985025"/>
                      <a:gd name="connsiteY75" fmla="*/ 351501 h 976639"/>
                      <a:gd name="connsiteX76" fmla="*/ 129257 w 985025"/>
                      <a:gd name="connsiteY76" fmla="*/ 342602 h 976639"/>
                      <a:gd name="connsiteX77" fmla="*/ 135942 w 985025"/>
                      <a:gd name="connsiteY77" fmla="*/ 340377 h 976639"/>
                      <a:gd name="connsiteX78" fmla="*/ 151542 w 985025"/>
                      <a:gd name="connsiteY78" fmla="*/ 302558 h 976639"/>
                      <a:gd name="connsiteX79" fmla="*/ 151542 w 985025"/>
                      <a:gd name="connsiteY79" fmla="*/ 295884 h 976639"/>
                      <a:gd name="connsiteX80" fmla="*/ 91371 w 985025"/>
                      <a:gd name="connsiteY80" fmla="*/ 209121 h 976639"/>
                      <a:gd name="connsiteX81" fmla="*/ 91371 w 985025"/>
                      <a:gd name="connsiteY81" fmla="*/ 200222 h 976639"/>
                      <a:gd name="connsiteX82" fmla="*/ 147085 w 985025"/>
                      <a:gd name="connsiteY82" fmla="*/ 133481 h 976639"/>
                      <a:gd name="connsiteX83" fmla="*/ 153771 w 985025"/>
                      <a:gd name="connsiteY83" fmla="*/ 133481 h 976639"/>
                      <a:gd name="connsiteX84" fmla="*/ 249599 w 985025"/>
                      <a:gd name="connsiteY84" fmla="*/ 180200 h 976639"/>
                      <a:gd name="connsiteX85" fmla="*/ 256285 w 985025"/>
                      <a:gd name="connsiteY85" fmla="*/ 180200 h 976639"/>
                      <a:gd name="connsiteX86" fmla="*/ 289713 w 985025"/>
                      <a:gd name="connsiteY86" fmla="*/ 157953 h 976639"/>
                      <a:gd name="connsiteX87" fmla="*/ 283027 w 985025"/>
                      <a:gd name="connsiteY87" fmla="*/ 44493 h 976639"/>
                      <a:gd name="connsiteX88" fmla="*/ 369942 w 985025"/>
                      <a:gd name="connsiteY88" fmla="*/ 11123 h 976639"/>
                      <a:gd name="connsiteX89" fmla="*/ 439027 w 985025"/>
                      <a:gd name="connsiteY89" fmla="*/ 106785 h 976639"/>
                      <a:gd name="connsiteX90" fmla="*/ 481370 w 985025"/>
                      <a:gd name="connsiteY90" fmla="*/ 102335 h 976639"/>
                      <a:gd name="connsiteX91" fmla="*/ 532627 w 985025"/>
                      <a:gd name="connsiteY91"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46940 h 976639"/>
                      <a:gd name="connsiteX12" fmla="*/ 800054 w 985025"/>
                      <a:gd name="connsiteY12" fmla="*/ 253614 h 976639"/>
                      <a:gd name="connsiteX13" fmla="*/ 822340 w 985025"/>
                      <a:gd name="connsiteY13" fmla="*/ 286985 h 976639"/>
                      <a:gd name="connsiteX14" fmla="*/ 829026 w 985025"/>
                      <a:gd name="connsiteY14" fmla="*/ 289209 h 976639"/>
                      <a:gd name="connsiteX15" fmla="*/ 938225 w 985025"/>
                      <a:gd name="connsiteY15" fmla="*/ 278086 h 976639"/>
                      <a:gd name="connsiteX16" fmla="*/ 940454 w 985025"/>
                      <a:gd name="connsiteY16" fmla="*/ 284760 h 976639"/>
                      <a:gd name="connsiteX17" fmla="*/ 971654 w 985025"/>
                      <a:gd name="connsiteY17" fmla="*/ 367074 h 976639"/>
                      <a:gd name="connsiteX18" fmla="*/ 967197 w 985025"/>
                      <a:gd name="connsiteY18" fmla="*/ 373748 h 976639"/>
                      <a:gd name="connsiteX19" fmla="*/ 878054 w 985025"/>
                      <a:gd name="connsiteY19" fmla="*/ 431590 h 976639"/>
                      <a:gd name="connsiteX20" fmla="*/ 875825 w 985025"/>
                      <a:gd name="connsiteY20" fmla="*/ 436039 h 976639"/>
                      <a:gd name="connsiteX21" fmla="*/ 878054 w 985025"/>
                      <a:gd name="connsiteY21" fmla="*/ 478308 h 976639"/>
                      <a:gd name="connsiteX22" fmla="*/ 884740 w 985025"/>
                      <a:gd name="connsiteY22" fmla="*/ 484982 h 976639"/>
                      <a:gd name="connsiteX23" fmla="*/ 982797 w 985025"/>
                      <a:gd name="connsiteY23" fmla="*/ 529476 h 976639"/>
                      <a:gd name="connsiteX24" fmla="*/ 985025 w 985025"/>
                      <a:gd name="connsiteY24" fmla="*/ 533926 h 976639"/>
                      <a:gd name="connsiteX25" fmla="*/ 967197 w 985025"/>
                      <a:gd name="connsiteY25" fmla="*/ 620689 h 976639"/>
                      <a:gd name="connsiteX26" fmla="*/ 962739 w 985025"/>
                      <a:gd name="connsiteY26" fmla="*/ 625138 h 976639"/>
                      <a:gd name="connsiteX27" fmla="*/ 855768 w 985025"/>
                      <a:gd name="connsiteY27" fmla="*/ 631812 h 976639"/>
                      <a:gd name="connsiteX28" fmla="*/ 851311 w 985025"/>
                      <a:gd name="connsiteY28" fmla="*/ 634037 h 976639"/>
                      <a:gd name="connsiteX29" fmla="*/ 831254 w 985025"/>
                      <a:gd name="connsiteY29" fmla="*/ 674081 h 976639"/>
                      <a:gd name="connsiteX30" fmla="*/ 831254 w 985025"/>
                      <a:gd name="connsiteY30" fmla="*/ 678531 h 976639"/>
                      <a:gd name="connsiteX31" fmla="*/ 895883 w 985025"/>
                      <a:gd name="connsiteY31" fmla="*/ 767518 h 976639"/>
                      <a:gd name="connsiteX32" fmla="*/ 895883 w 985025"/>
                      <a:gd name="connsiteY32" fmla="*/ 774192 h 976639"/>
                      <a:gd name="connsiteX33" fmla="*/ 835711 w 985025"/>
                      <a:gd name="connsiteY33" fmla="*/ 840933 h 976639"/>
                      <a:gd name="connsiteX34" fmla="*/ 831254 w 985025"/>
                      <a:gd name="connsiteY34" fmla="*/ 840933 h 976639"/>
                      <a:gd name="connsiteX35" fmla="*/ 733197 w 985025"/>
                      <a:gd name="connsiteY35" fmla="*/ 791990 h 976639"/>
                      <a:gd name="connsiteX36" fmla="*/ 728740 w 985025"/>
                      <a:gd name="connsiteY36" fmla="*/ 791990 h 976639"/>
                      <a:gd name="connsiteX37" fmla="*/ 695312 w 985025"/>
                      <a:gd name="connsiteY37" fmla="*/ 814237 h 976639"/>
                      <a:gd name="connsiteX38" fmla="*/ 690855 w 985025"/>
                      <a:gd name="connsiteY38" fmla="*/ 823135 h 976639"/>
                      <a:gd name="connsiteX39" fmla="*/ 701998 w 985025"/>
                      <a:gd name="connsiteY39" fmla="*/ 929921 h 976639"/>
                      <a:gd name="connsiteX40" fmla="*/ 697540 w 985025"/>
                      <a:gd name="connsiteY40" fmla="*/ 934370 h 976639"/>
                      <a:gd name="connsiteX41" fmla="*/ 612855 w 985025"/>
                      <a:gd name="connsiteY41" fmla="*/ 963291 h 976639"/>
                      <a:gd name="connsiteX42" fmla="*/ 608398 w 985025"/>
                      <a:gd name="connsiteY42" fmla="*/ 963291 h 976639"/>
                      <a:gd name="connsiteX43" fmla="*/ 548227 w 985025"/>
                      <a:gd name="connsiteY43" fmla="*/ 874303 h 976639"/>
                      <a:gd name="connsiteX44" fmla="*/ 543770 w 985025"/>
                      <a:gd name="connsiteY44" fmla="*/ 869854 h 976639"/>
                      <a:gd name="connsiteX45" fmla="*/ 501427 w 985025"/>
                      <a:gd name="connsiteY45" fmla="*/ 874303 h 976639"/>
                      <a:gd name="connsiteX46" fmla="*/ 494741 w 985025"/>
                      <a:gd name="connsiteY46" fmla="*/ 876528 h 976639"/>
                      <a:gd name="connsiteX47" fmla="*/ 450170 w 985025"/>
                      <a:gd name="connsiteY47" fmla="*/ 974414 h 976639"/>
                      <a:gd name="connsiteX48" fmla="*/ 445713 w 985025"/>
                      <a:gd name="connsiteY48" fmla="*/ 976639 h 976639"/>
                      <a:gd name="connsiteX49" fmla="*/ 356570 w 985025"/>
                      <a:gd name="connsiteY49" fmla="*/ 958842 h 976639"/>
                      <a:gd name="connsiteX50" fmla="*/ 352113 w 985025"/>
                      <a:gd name="connsiteY50" fmla="*/ 956617 h 976639"/>
                      <a:gd name="connsiteX51" fmla="*/ 347656 w 985025"/>
                      <a:gd name="connsiteY51" fmla="*/ 847607 h 976639"/>
                      <a:gd name="connsiteX52" fmla="*/ 340970 w 985025"/>
                      <a:gd name="connsiteY52" fmla="*/ 843158 h 976639"/>
                      <a:gd name="connsiteX53" fmla="*/ 305313 w 985025"/>
                      <a:gd name="connsiteY53" fmla="*/ 825360 h 976639"/>
                      <a:gd name="connsiteX54" fmla="*/ 296399 w 985025"/>
                      <a:gd name="connsiteY54" fmla="*/ 825360 h 976639"/>
                      <a:gd name="connsiteX55" fmla="*/ 211713 w 985025"/>
                      <a:gd name="connsiteY55" fmla="*/ 887652 h 976639"/>
                      <a:gd name="connsiteX56" fmla="*/ 205028 w 985025"/>
                      <a:gd name="connsiteY56" fmla="*/ 887652 h 976639"/>
                      <a:gd name="connsiteX57" fmla="*/ 138171 w 985025"/>
                      <a:gd name="connsiteY57" fmla="*/ 829810 h 976639"/>
                      <a:gd name="connsiteX58" fmla="*/ 135942 w 985025"/>
                      <a:gd name="connsiteY58" fmla="*/ 823135 h 976639"/>
                      <a:gd name="connsiteX59" fmla="*/ 182742 w 985025"/>
                      <a:gd name="connsiteY59" fmla="*/ 725249 h 976639"/>
                      <a:gd name="connsiteX60" fmla="*/ 182742 w 985025"/>
                      <a:gd name="connsiteY60" fmla="*/ 720800 h 976639"/>
                      <a:gd name="connsiteX61" fmla="*/ 160457 w 985025"/>
                      <a:gd name="connsiteY61" fmla="*/ 687429 h 976639"/>
                      <a:gd name="connsiteX62" fmla="*/ 153771 w 985025"/>
                      <a:gd name="connsiteY62" fmla="*/ 685205 h 976639"/>
                      <a:gd name="connsiteX63" fmla="*/ 49028 w 985025"/>
                      <a:gd name="connsiteY63" fmla="*/ 696328 h 976639"/>
                      <a:gd name="connsiteX64" fmla="*/ 42343 w 985025"/>
                      <a:gd name="connsiteY64" fmla="*/ 691879 h 976639"/>
                      <a:gd name="connsiteX65" fmla="*/ 11143 w 985025"/>
                      <a:gd name="connsiteY65" fmla="*/ 609565 h 976639"/>
                      <a:gd name="connsiteX66" fmla="*/ 15600 w 985025"/>
                      <a:gd name="connsiteY66" fmla="*/ 602891 h 976639"/>
                      <a:gd name="connsiteX67" fmla="*/ 104742 w 985025"/>
                      <a:gd name="connsiteY67" fmla="*/ 542824 h 976639"/>
                      <a:gd name="connsiteX68" fmla="*/ 106971 w 985025"/>
                      <a:gd name="connsiteY68" fmla="*/ 536150 h 976639"/>
                      <a:gd name="connsiteX69" fmla="*/ 104742 w 985025"/>
                      <a:gd name="connsiteY69" fmla="*/ 496106 h 976639"/>
                      <a:gd name="connsiteX70" fmla="*/ 102514 w 985025"/>
                      <a:gd name="connsiteY70" fmla="*/ 489432 h 976639"/>
                      <a:gd name="connsiteX71" fmla="*/ 4457 w 985025"/>
                      <a:gd name="connsiteY71" fmla="*/ 444938 h 976639"/>
                      <a:gd name="connsiteX72" fmla="*/ 0 w 985025"/>
                      <a:gd name="connsiteY72" fmla="*/ 440489 h 976639"/>
                      <a:gd name="connsiteX73" fmla="*/ 15600 w 985025"/>
                      <a:gd name="connsiteY73" fmla="*/ 353726 h 976639"/>
                      <a:gd name="connsiteX74" fmla="*/ 20057 w 985025"/>
                      <a:gd name="connsiteY74" fmla="*/ 351501 h 976639"/>
                      <a:gd name="connsiteX75" fmla="*/ 129257 w 985025"/>
                      <a:gd name="connsiteY75" fmla="*/ 342602 h 976639"/>
                      <a:gd name="connsiteX76" fmla="*/ 135942 w 985025"/>
                      <a:gd name="connsiteY76" fmla="*/ 340377 h 976639"/>
                      <a:gd name="connsiteX77" fmla="*/ 151542 w 985025"/>
                      <a:gd name="connsiteY77" fmla="*/ 302558 h 976639"/>
                      <a:gd name="connsiteX78" fmla="*/ 151542 w 985025"/>
                      <a:gd name="connsiteY78" fmla="*/ 295884 h 976639"/>
                      <a:gd name="connsiteX79" fmla="*/ 91371 w 985025"/>
                      <a:gd name="connsiteY79" fmla="*/ 209121 h 976639"/>
                      <a:gd name="connsiteX80" fmla="*/ 91371 w 985025"/>
                      <a:gd name="connsiteY80" fmla="*/ 200222 h 976639"/>
                      <a:gd name="connsiteX81" fmla="*/ 147085 w 985025"/>
                      <a:gd name="connsiteY81" fmla="*/ 133481 h 976639"/>
                      <a:gd name="connsiteX82" fmla="*/ 153771 w 985025"/>
                      <a:gd name="connsiteY82" fmla="*/ 133481 h 976639"/>
                      <a:gd name="connsiteX83" fmla="*/ 249599 w 985025"/>
                      <a:gd name="connsiteY83" fmla="*/ 180200 h 976639"/>
                      <a:gd name="connsiteX84" fmla="*/ 256285 w 985025"/>
                      <a:gd name="connsiteY84" fmla="*/ 180200 h 976639"/>
                      <a:gd name="connsiteX85" fmla="*/ 289713 w 985025"/>
                      <a:gd name="connsiteY85" fmla="*/ 157953 h 976639"/>
                      <a:gd name="connsiteX86" fmla="*/ 283027 w 985025"/>
                      <a:gd name="connsiteY86" fmla="*/ 44493 h 976639"/>
                      <a:gd name="connsiteX87" fmla="*/ 369942 w 985025"/>
                      <a:gd name="connsiteY87" fmla="*/ 11123 h 976639"/>
                      <a:gd name="connsiteX88" fmla="*/ 439027 w 985025"/>
                      <a:gd name="connsiteY88" fmla="*/ 106785 h 976639"/>
                      <a:gd name="connsiteX89" fmla="*/ 481370 w 985025"/>
                      <a:gd name="connsiteY89" fmla="*/ 102335 h 976639"/>
                      <a:gd name="connsiteX90" fmla="*/ 532627 w 985025"/>
                      <a:gd name="connsiteY90"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829026 w 985025"/>
                      <a:gd name="connsiteY13" fmla="*/ 289209 h 976639"/>
                      <a:gd name="connsiteX14" fmla="*/ 938225 w 985025"/>
                      <a:gd name="connsiteY14" fmla="*/ 278086 h 976639"/>
                      <a:gd name="connsiteX15" fmla="*/ 940454 w 985025"/>
                      <a:gd name="connsiteY15" fmla="*/ 284760 h 976639"/>
                      <a:gd name="connsiteX16" fmla="*/ 971654 w 985025"/>
                      <a:gd name="connsiteY16" fmla="*/ 367074 h 976639"/>
                      <a:gd name="connsiteX17" fmla="*/ 967197 w 985025"/>
                      <a:gd name="connsiteY17" fmla="*/ 373748 h 976639"/>
                      <a:gd name="connsiteX18" fmla="*/ 878054 w 985025"/>
                      <a:gd name="connsiteY18" fmla="*/ 431590 h 976639"/>
                      <a:gd name="connsiteX19" fmla="*/ 875825 w 985025"/>
                      <a:gd name="connsiteY19" fmla="*/ 436039 h 976639"/>
                      <a:gd name="connsiteX20" fmla="*/ 878054 w 985025"/>
                      <a:gd name="connsiteY20" fmla="*/ 478308 h 976639"/>
                      <a:gd name="connsiteX21" fmla="*/ 884740 w 985025"/>
                      <a:gd name="connsiteY21" fmla="*/ 484982 h 976639"/>
                      <a:gd name="connsiteX22" fmla="*/ 982797 w 985025"/>
                      <a:gd name="connsiteY22" fmla="*/ 529476 h 976639"/>
                      <a:gd name="connsiteX23" fmla="*/ 985025 w 985025"/>
                      <a:gd name="connsiteY23" fmla="*/ 533926 h 976639"/>
                      <a:gd name="connsiteX24" fmla="*/ 967197 w 985025"/>
                      <a:gd name="connsiteY24" fmla="*/ 620689 h 976639"/>
                      <a:gd name="connsiteX25" fmla="*/ 962739 w 985025"/>
                      <a:gd name="connsiteY25" fmla="*/ 625138 h 976639"/>
                      <a:gd name="connsiteX26" fmla="*/ 855768 w 985025"/>
                      <a:gd name="connsiteY26" fmla="*/ 631812 h 976639"/>
                      <a:gd name="connsiteX27" fmla="*/ 851311 w 985025"/>
                      <a:gd name="connsiteY27" fmla="*/ 634037 h 976639"/>
                      <a:gd name="connsiteX28" fmla="*/ 831254 w 985025"/>
                      <a:gd name="connsiteY28" fmla="*/ 674081 h 976639"/>
                      <a:gd name="connsiteX29" fmla="*/ 831254 w 985025"/>
                      <a:gd name="connsiteY29" fmla="*/ 678531 h 976639"/>
                      <a:gd name="connsiteX30" fmla="*/ 895883 w 985025"/>
                      <a:gd name="connsiteY30" fmla="*/ 767518 h 976639"/>
                      <a:gd name="connsiteX31" fmla="*/ 895883 w 985025"/>
                      <a:gd name="connsiteY31" fmla="*/ 774192 h 976639"/>
                      <a:gd name="connsiteX32" fmla="*/ 835711 w 985025"/>
                      <a:gd name="connsiteY32" fmla="*/ 840933 h 976639"/>
                      <a:gd name="connsiteX33" fmla="*/ 831254 w 985025"/>
                      <a:gd name="connsiteY33" fmla="*/ 840933 h 976639"/>
                      <a:gd name="connsiteX34" fmla="*/ 733197 w 985025"/>
                      <a:gd name="connsiteY34" fmla="*/ 791990 h 976639"/>
                      <a:gd name="connsiteX35" fmla="*/ 728740 w 985025"/>
                      <a:gd name="connsiteY35" fmla="*/ 791990 h 976639"/>
                      <a:gd name="connsiteX36" fmla="*/ 695312 w 985025"/>
                      <a:gd name="connsiteY36" fmla="*/ 814237 h 976639"/>
                      <a:gd name="connsiteX37" fmla="*/ 690855 w 985025"/>
                      <a:gd name="connsiteY37" fmla="*/ 823135 h 976639"/>
                      <a:gd name="connsiteX38" fmla="*/ 701998 w 985025"/>
                      <a:gd name="connsiteY38" fmla="*/ 929921 h 976639"/>
                      <a:gd name="connsiteX39" fmla="*/ 697540 w 985025"/>
                      <a:gd name="connsiteY39" fmla="*/ 934370 h 976639"/>
                      <a:gd name="connsiteX40" fmla="*/ 612855 w 985025"/>
                      <a:gd name="connsiteY40" fmla="*/ 963291 h 976639"/>
                      <a:gd name="connsiteX41" fmla="*/ 608398 w 985025"/>
                      <a:gd name="connsiteY41" fmla="*/ 963291 h 976639"/>
                      <a:gd name="connsiteX42" fmla="*/ 548227 w 985025"/>
                      <a:gd name="connsiteY42" fmla="*/ 874303 h 976639"/>
                      <a:gd name="connsiteX43" fmla="*/ 543770 w 985025"/>
                      <a:gd name="connsiteY43" fmla="*/ 869854 h 976639"/>
                      <a:gd name="connsiteX44" fmla="*/ 501427 w 985025"/>
                      <a:gd name="connsiteY44" fmla="*/ 874303 h 976639"/>
                      <a:gd name="connsiteX45" fmla="*/ 494741 w 985025"/>
                      <a:gd name="connsiteY45" fmla="*/ 876528 h 976639"/>
                      <a:gd name="connsiteX46" fmla="*/ 450170 w 985025"/>
                      <a:gd name="connsiteY46" fmla="*/ 974414 h 976639"/>
                      <a:gd name="connsiteX47" fmla="*/ 445713 w 985025"/>
                      <a:gd name="connsiteY47" fmla="*/ 976639 h 976639"/>
                      <a:gd name="connsiteX48" fmla="*/ 356570 w 985025"/>
                      <a:gd name="connsiteY48" fmla="*/ 958842 h 976639"/>
                      <a:gd name="connsiteX49" fmla="*/ 352113 w 985025"/>
                      <a:gd name="connsiteY49" fmla="*/ 956617 h 976639"/>
                      <a:gd name="connsiteX50" fmla="*/ 347656 w 985025"/>
                      <a:gd name="connsiteY50" fmla="*/ 847607 h 976639"/>
                      <a:gd name="connsiteX51" fmla="*/ 340970 w 985025"/>
                      <a:gd name="connsiteY51" fmla="*/ 843158 h 976639"/>
                      <a:gd name="connsiteX52" fmla="*/ 305313 w 985025"/>
                      <a:gd name="connsiteY52" fmla="*/ 825360 h 976639"/>
                      <a:gd name="connsiteX53" fmla="*/ 296399 w 985025"/>
                      <a:gd name="connsiteY53" fmla="*/ 825360 h 976639"/>
                      <a:gd name="connsiteX54" fmla="*/ 211713 w 985025"/>
                      <a:gd name="connsiteY54" fmla="*/ 887652 h 976639"/>
                      <a:gd name="connsiteX55" fmla="*/ 205028 w 985025"/>
                      <a:gd name="connsiteY55" fmla="*/ 887652 h 976639"/>
                      <a:gd name="connsiteX56" fmla="*/ 138171 w 985025"/>
                      <a:gd name="connsiteY56" fmla="*/ 829810 h 976639"/>
                      <a:gd name="connsiteX57" fmla="*/ 135942 w 985025"/>
                      <a:gd name="connsiteY57" fmla="*/ 823135 h 976639"/>
                      <a:gd name="connsiteX58" fmla="*/ 182742 w 985025"/>
                      <a:gd name="connsiteY58" fmla="*/ 725249 h 976639"/>
                      <a:gd name="connsiteX59" fmla="*/ 182742 w 985025"/>
                      <a:gd name="connsiteY59" fmla="*/ 720800 h 976639"/>
                      <a:gd name="connsiteX60" fmla="*/ 160457 w 985025"/>
                      <a:gd name="connsiteY60" fmla="*/ 687429 h 976639"/>
                      <a:gd name="connsiteX61" fmla="*/ 153771 w 985025"/>
                      <a:gd name="connsiteY61" fmla="*/ 685205 h 976639"/>
                      <a:gd name="connsiteX62" fmla="*/ 49028 w 985025"/>
                      <a:gd name="connsiteY62" fmla="*/ 696328 h 976639"/>
                      <a:gd name="connsiteX63" fmla="*/ 42343 w 985025"/>
                      <a:gd name="connsiteY63" fmla="*/ 691879 h 976639"/>
                      <a:gd name="connsiteX64" fmla="*/ 11143 w 985025"/>
                      <a:gd name="connsiteY64" fmla="*/ 609565 h 976639"/>
                      <a:gd name="connsiteX65" fmla="*/ 15600 w 985025"/>
                      <a:gd name="connsiteY65" fmla="*/ 602891 h 976639"/>
                      <a:gd name="connsiteX66" fmla="*/ 104742 w 985025"/>
                      <a:gd name="connsiteY66" fmla="*/ 542824 h 976639"/>
                      <a:gd name="connsiteX67" fmla="*/ 106971 w 985025"/>
                      <a:gd name="connsiteY67" fmla="*/ 536150 h 976639"/>
                      <a:gd name="connsiteX68" fmla="*/ 104742 w 985025"/>
                      <a:gd name="connsiteY68" fmla="*/ 496106 h 976639"/>
                      <a:gd name="connsiteX69" fmla="*/ 102514 w 985025"/>
                      <a:gd name="connsiteY69" fmla="*/ 489432 h 976639"/>
                      <a:gd name="connsiteX70" fmla="*/ 4457 w 985025"/>
                      <a:gd name="connsiteY70" fmla="*/ 444938 h 976639"/>
                      <a:gd name="connsiteX71" fmla="*/ 0 w 985025"/>
                      <a:gd name="connsiteY71" fmla="*/ 440489 h 976639"/>
                      <a:gd name="connsiteX72" fmla="*/ 15600 w 985025"/>
                      <a:gd name="connsiteY72" fmla="*/ 353726 h 976639"/>
                      <a:gd name="connsiteX73" fmla="*/ 20057 w 985025"/>
                      <a:gd name="connsiteY73" fmla="*/ 351501 h 976639"/>
                      <a:gd name="connsiteX74" fmla="*/ 129257 w 985025"/>
                      <a:gd name="connsiteY74" fmla="*/ 342602 h 976639"/>
                      <a:gd name="connsiteX75" fmla="*/ 135942 w 985025"/>
                      <a:gd name="connsiteY75" fmla="*/ 340377 h 976639"/>
                      <a:gd name="connsiteX76" fmla="*/ 151542 w 985025"/>
                      <a:gd name="connsiteY76" fmla="*/ 302558 h 976639"/>
                      <a:gd name="connsiteX77" fmla="*/ 151542 w 985025"/>
                      <a:gd name="connsiteY77" fmla="*/ 295884 h 976639"/>
                      <a:gd name="connsiteX78" fmla="*/ 91371 w 985025"/>
                      <a:gd name="connsiteY78" fmla="*/ 209121 h 976639"/>
                      <a:gd name="connsiteX79" fmla="*/ 91371 w 985025"/>
                      <a:gd name="connsiteY79" fmla="*/ 200222 h 976639"/>
                      <a:gd name="connsiteX80" fmla="*/ 147085 w 985025"/>
                      <a:gd name="connsiteY80" fmla="*/ 133481 h 976639"/>
                      <a:gd name="connsiteX81" fmla="*/ 153771 w 985025"/>
                      <a:gd name="connsiteY81" fmla="*/ 133481 h 976639"/>
                      <a:gd name="connsiteX82" fmla="*/ 249599 w 985025"/>
                      <a:gd name="connsiteY82" fmla="*/ 180200 h 976639"/>
                      <a:gd name="connsiteX83" fmla="*/ 256285 w 985025"/>
                      <a:gd name="connsiteY83" fmla="*/ 180200 h 976639"/>
                      <a:gd name="connsiteX84" fmla="*/ 289713 w 985025"/>
                      <a:gd name="connsiteY84" fmla="*/ 157953 h 976639"/>
                      <a:gd name="connsiteX85" fmla="*/ 283027 w 985025"/>
                      <a:gd name="connsiteY85" fmla="*/ 44493 h 976639"/>
                      <a:gd name="connsiteX86" fmla="*/ 369942 w 985025"/>
                      <a:gd name="connsiteY86" fmla="*/ 11123 h 976639"/>
                      <a:gd name="connsiteX87" fmla="*/ 439027 w 985025"/>
                      <a:gd name="connsiteY87" fmla="*/ 106785 h 976639"/>
                      <a:gd name="connsiteX88" fmla="*/ 481370 w 985025"/>
                      <a:gd name="connsiteY88" fmla="*/ 102335 h 976639"/>
                      <a:gd name="connsiteX89" fmla="*/ 532627 w 985025"/>
                      <a:gd name="connsiteY89"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40454 w 985025"/>
                      <a:gd name="connsiteY14" fmla="*/ 284760 h 976639"/>
                      <a:gd name="connsiteX15" fmla="*/ 971654 w 985025"/>
                      <a:gd name="connsiteY15" fmla="*/ 367074 h 976639"/>
                      <a:gd name="connsiteX16" fmla="*/ 967197 w 985025"/>
                      <a:gd name="connsiteY16" fmla="*/ 373748 h 976639"/>
                      <a:gd name="connsiteX17" fmla="*/ 878054 w 985025"/>
                      <a:gd name="connsiteY17" fmla="*/ 431590 h 976639"/>
                      <a:gd name="connsiteX18" fmla="*/ 875825 w 985025"/>
                      <a:gd name="connsiteY18" fmla="*/ 436039 h 976639"/>
                      <a:gd name="connsiteX19" fmla="*/ 878054 w 985025"/>
                      <a:gd name="connsiteY19" fmla="*/ 478308 h 976639"/>
                      <a:gd name="connsiteX20" fmla="*/ 884740 w 985025"/>
                      <a:gd name="connsiteY20" fmla="*/ 484982 h 976639"/>
                      <a:gd name="connsiteX21" fmla="*/ 982797 w 985025"/>
                      <a:gd name="connsiteY21" fmla="*/ 529476 h 976639"/>
                      <a:gd name="connsiteX22" fmla="*/ 985025 w 985025"/>
                      <a:gd name="connsiteY22" fmla="*/ 533926 h 976639"/>
                      <a:gd name="connsiteX23" fmla="*/ 967197 w 985025"/>
                      <a:gd name="connsiteY23" fmla="*/ 620689 h 976639"/>
                      <a:gd name="connsiteX24" fmla="*/ 962739 w 985025"/>
                      <a:gd name="connsiteY24" fmla="*/ 625138 h 976639"/>
                      <a:gd name="connsiteX25" fmla="*/ 855768 w 985025"/>
                      <a:gd name="connsiteY25" fmla="*/ 631812 h 976639"/>
                      <a:gd name="connsiteX26" fmla="*/ 851311 w 985025"/>
                      <a:gd name="connsiteY26" fmla="*/ 634037 h 976639"/>
                      <a:gd name="connsiteX27" fmla="*/ 831254 w 985025"/>
                      <a:gd name="connsiteY27" fmla="*/ 674081 h 976639"/>
                      <a:gd name="connsiteX28" fmla="*/ 831254 w 985025"/>
                      <a:gd name="connsiteY28" fmla="*/ 678531 h 976639"/>
                      <a:gd name="connsiteX29" fmla="*/ 895883 w 985025"/>
                      <a:gd name="connsiteY29" fmla="*/ 767518 h 976639"/>
                      <a:gd name="connsiteX30" fmla="*/ 895883 w 985025"/>
                      <a:gd name="connsiteY30" fmla="*/ 774192 h 976639"/>
                      <a:gd name="connsiteX31" fmla="*/ 835711 w 985025"/>
                      <a:gd name="connsiteY31" fmla="*/ 840933 h 976639"/>
                      <a:gd name="connsiteX32" fmla="*/ 831254 w 985025"/>
                      <a:gd name="connsiteY32" fmla="*/ 840933 h 976639"/>
                      <a:gd name="connsiteX33" fmla="*/ 733197 w 985025"/>
                      <a:gd name="connsiteY33" fmla="*/ 791990 h 976639"/>
                      <a:gd name="connsiteX34" fmla="*/ 728740 w 985025"/>
                      <a:gd name="connsiteY34" fmla="*/ 791990 h 976639"/>
                      <a:gd name="connsiteX35" fmla="*/ 695312 w 985025"/>
                      <a:gd name="connsiteY35" fmla="*/ 814237 h 976639"/>
                      <a:gd name="connsiteX36" fmla="*/ 690855 w 985025"/>
                      <a:gd name="connsiteY36" fmla="*/ 823135 h 976639"/>
                      <a:gd name="connsiteX37" fmla="*/ 701998 w 985025"/>
                      <a:gd name="connsiteY37" fmla="*/ 929921 h 976639"/>
                      <a:gd name="connsiteX38" fmla="*/ 697540 w 985025"/>
                      <a:gd name="connsiteY38" fmla="*/ 934370 h 976639"/>
                      <a:gd name="connsiteX39" fmla="*/ 612855 w 985025"/>
                      <a:gd name="connsiteY39" fmla="*/ 963291 h 976639"/>
                      <a:gd name="connsiteX40" fmla="*/ 608398 w 985025"/>
                      <a:gd name="connsiteY40" fmla="*/ 963291 h 976639"/>
                      <a:gd name="connsiteX41" fmla="*/ 548227 w 985025"/>
                      <a:gd name="connsiteY41" fmla="*/ 874303 h 976639"/>
                      <a:gd name="connsiteX42" fmla="*/ 543770 w 985025"/>
                      <a:gd name="connsiteY42" fmla="*/ 869854 h 976639"/>
                      <a:gd name="connsiteX43" fmla="*/ 501427 w 985025"/>
                      <a:gd name="connsiteY43" fmla="*/ 874303 h 976639"/>
                      <a:gd name="connsiteX44" fmla="*/ 494741 w 985025"/>
                      <a:gd name="connsiteY44" fmla="*/ 876528 h 976639"/>
                      <a:gd name="connsiteX45" fmla="*/ 450170 w 985025"/>
                      <a:gd name="connsiteY45" fmla="*/ 974414 h 976639"/>
                      <a:gd name="connsiteX46" fmla="*/ 445713 w 985025"/>
                      <a:gd name="connsiteY46" fmla="*/ 976639 h 976639"/>
                      <a:gd name="connsiteX47" fmla="*/ 356570 w 985025"/>
                      <a:gd name="connsiteY47" fmla="*/ 958842 h 976639"/>
                      <a:gd name="connsiteX48" fmla="*/ 352113 w 985025"/>
                      <a:gd name="connsiteY48" fmla="*/ 956617 h 976639"/>
                      <a:gd name="connsiteX49" fmla="*/ 347656 w 985025"/>
                      <a:gd name="connsiteY49" fmla="*/ 847607 h 976639"/>
                      <a:gd name="connsiteX50" fmla="*/ 340970 w 985025"/>
                      <a:gd name="connsiteY50" fmla="*/ 843158 h 976639"/>
                      <a:gd name="connsiteX51" fmla="*/ 305313 w 985025"/>
                      <a:gd name="connsiteY51" fmla="*/ 825360 h 976639"/>
                      <a:gd name="connsiteX52" fmla="*/ 296399 w 985025"/>
                      <a:gd name="connsiteY52" fmla="*/ 825360 h 976639"/>
                      <a:gd name="connsiteX53" fmla="*/ 211713 w 985025"/>
                      <a:gd name="connsiteY53" fmla="*/ 887652 h 976639"/>
                      <a:gd name="connsiteX54" fmla="*/ 205028 w 985025"/>
                      <a:gd name="connsiteY54" fmla="*/ 887652 h 976639"/>
                      <a:gd name="connsiteX55" fmla="*/ 138171 w 985025"/>
                      <a:gd name="connsiteY55" fmla="*/ 829810 h 976639"/>
                      <a:gd name="connsiteX56" fmla="*/ 135942 w 985025"/>
                      <a:gd name="connsiteY56" fmla="*/ 823135 h 976639"/>
                      <a:gd name="connsiteX57" fmla="*/ 182742 w 985025"/>
                      <a:gd name="connsiteY57" fmla="*/ 725249 h 976639"/>
                      <a:gd name="connsiteX58" fmla="*/ 182742 w 985025"/>
                      <a:gd name="connsiteY58" fmla="*/ 720800 h 976639"/>
                      <a:gd name="connsiteX59" fmla="*/ 160457 w 985025"/>
                      <a:gd name="connsiteY59" fmla="*/ 687429 h 976639"/>
                      <a:gd name="connsiteX60" fmla="*/ 153771 w 985025"/>
                      <a:gd name="connsiteY60" fmla="*/ 685205 h 976639"/>
                      <a:gd name="connsiteX61" fmla="*/ 49028 w 985025"/>
                      <a:gd name="connsiteY61" fmla="*/ 696328 h 976639"/>
                      <a:gd name="connsiteX62" fmla="*/ 42343 w 985025"/>
                      <a:gd name="connsiteY62" fmla="*/ 691879 h 976639"/>
                      <a:gd name="connsiteX63" fmla="*/ 11143 w 985025"/>
                      <a:gd name="connsiteY63" fmla="*/ 609565 h 976639"/>
                      <a:gd name="connsiteX64" fmla="*/ 15600 w 985025"/>
                      <a:gd name="connsiteY64" fmla="*/ 602891 h 976639"/>
                      <a:gd name="connsiteX65" fmla="*/ 104742 w 985025"/>
                      <a:gd name="connsiteY65" fmla="*/ 542824 h 976639"/>
                      <a:gd name="connsiteX66" fmla="*/ 106971 w 985025"/>
                      <a:gd name="connsiteY66" fmla="*/ 536150 h 976639"/>
                      <a:gd name="connsiteX67" fmla="*/ 104742 w 985025"/>
                      <a:gd name="connsiteY67" fmla="*/ 496106 h 976639"/>
                      <a:gd name="connsiteX68" fmla="*/ 102514 w 985025"/>
                      <a:gd name="connsiteY68" fmla="*/ 489432 h 976639"/>
                      <a:gd name="connsiteX69" fmla="*/ 4457 w 985025"/>
                      <a:gd name="connsiteY69" fmla="*/ 444938 h 976639"/>
                      <a:gd name="connsiteX70" fmla="*/ 0 w 985025"/>
                      <a:gd name="connsiteY70" fmla="*/ 440489 h 976639"/>
                      <a:gd name="connsiteX71" fmla="*/ 15600 w 985025"/>
                      <a:gd name="connsiteY71" fmla="*/ 353726 h 976639"/>
                      <a:gd name="connsiteX72" fmla="*/ 20057 w 985025"/>
                      <a:gd name="connsiteY72" fmla="*/ 351501 h 976639"/>
                      <a:gd name="connsiteX73" fmla="*/ 129257 w 985025"/>
                      <a:gd name="connsiteY73" fmla="*/ 342602 h 976639"/>
                      <a:gd name="connsiteX74" fmla="*/ 135942 w 985025"/>
                      <a:gd name="connsiteY74" fmla="*/ 340377 h 976639"/>
                      <a:gd name="connsiteX75" fmla="*/ 151542 w 985025"/>
                      <a:gd name="connsiteY75" fmla="*/ 302558 h 976639"/>
                      <a:gd name="connsiteX76" fmla="*/ 151542 w 985025"/>
                      <a:gd name="connsiteY76" fmla="*/ 295884 h 976639"/>
                      <a:gd name="connsiteX77" fmla="*/ 91371 w 985025"/>
                      <a:gd name="connsiteY77" fmla="*/ 209121 h 976639"/>
                      <a:gd name="connsiteX78" fmla="*/ 91371 w 985025"/>
                      <a:gd name="connsiteY78" fmla="*/ 200222 h 976639"/>
                      <a:gd name="connsiteX79" fmla="*/ 147085 w 985025"/>
                      <a:gd name="connsiteY79" fmla="*/ 133481 h 976639"/>
                      <a:gd name="connsiteX80" fmla="*/ 153771 w 985025"/>
                      <a:gd name="connsiteY80" fmla="*/ 133481 h 976639"/>
                      <a:gd name="connsiteX81" fmla="*/ 249599 w 985025"/>
                      <a:gd name="connsiteY81" fmla="*/ 180200 h 976639"/>
                      <a:gd name="connsiteX82" fmla="*/ 256285 w 985025"/>
                      <a:gd name="connsiteY82" fmla="*/ 180200 h 976639"/>
                      <a:gd name="connsiteX83" fmla="*/ 289713 w 985025"/>
                      <a:gd name="connsiteY83" fmla="*/ 157953 h 976639"/>
                      <a:gd name="connsiteX84" fmla="*/ 283027 w 985025"/>
                      <a:gd name="connsiteY84" fmla="*/ 44493 h 976639"/>
                      <a:gd name="connsiteX85" fmla="*/ 369942 w 985025"/>
                      <a:gd name="connsiteY85" fmla="*/ 11123 h 976639"/>
                      <a:gd name="connsiteX86" fmla="*/ 439027 w 985025"/>
                      <a:gd name="connsiteY86" fmla="*/ 106785 h 976639"/>
                      <a:gd name="connsiteX87" fmla="*/ 481370 w 985025"/>
                      <a:gd name="connsiteY87" fmla="*/ 102335 h 976639"/>
                      <a:gd name="connsiteX88" fmla="*/ 532627 w 985025"/>
                      <a:gd name="connsiteY88"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967197 w 985025"/>
                      <a:gd name="connsiteY15" fmla="*/ 373748 h 976639"/>
                      <a:gd name="connsiteX16" fmla="*/ 878054 w 985025"/>
                      <a:gd name="connsiteY16" fmla="*/ 431590 h 976639"/>
                      <a:gd name="connsiteX17" fmla="*/ 875825 w 985025"/>
                      <a:gd name="connsiteY17" fmla="*/ 436039 h 976639"/>
                      <a:gd name="connsiteX18" fmla="*/ 878054 w 985025"/>
                      <a:gd name="connsiteY18" fmla="*/ 478308 h 976639"/>
                      <a:gd name="connsiteX19" fmla="*/ 884740 w 985025"/>
                      <a:gd name="connsiteY19" fmla="*/ 484982 h 976639"/>
                      <a:gd name="connsiteX20" fmla="*/ 982797 w 985025"/>
                      <a:gd name="connsiteY20" fmla="*/ 529476 h 976639"/>
                      <a:gd name="connsiteX21" fmla="*/ 985025 w 985025"/>
                      <a:gd name="connsiteY21" fmla="*/ 533926 h 976639"/>
                      <a:gd name="connsiteX22" fmla="*/ 967197 w 985025"/>
                      <a:gd name="connsiteY22" fmla="*/ 620689 h 976639"/>
                      <a:gd name="connsiteX23" fmla="*/ 962739 w 985025"/>
                      <a:gd name="connsiteY23" fmla="*/ 625138 h 976639"/>
                      <a:gd name="connsiteX24" fmla="*/ 855768 w 985025"/>
                      <a:gd name="connsiteY24" fmla="*/ 631812 h 976639"/>
                      <a:gd name="connsiteX25" fmla="*/ 851311 w 985025"/>
                      <a:gd name="connsiteY25" fmla="*/ 634037 h 976639"/>
                      <a:gd name="connsiteX26" fmla="*/ 831254 w 985025"/>
                      <a:gd name="connsiteY26" fmla="*/ 674081 h 976639"/>
                      <a:gd name="connsiteX27" fmla="*/ 831254 w 985025"/>
                      <a:gd name="connsiteY27" fmla="*/ 678531 h 976639"/>
                      <a:gd name="connsiteX28" fmla="*/ 895883 w 985025"/>
                      <a:gd name="connsiteY28" fmla="*/ 767518 h 976639"/>
                      <a:gd name="connsiteX29" fmla="*/ 895883 w 985025"/>
                      <a:gd name="connsiteY29" fmla="*/ 774192 h 976639"/>
                      <a:gd name="connsiteX30" fmla="*/ 835711 w 985025"/>
                      <a:gd name="connsiteY30" fmla="*/ 840933 h 976639"/>
                      <a:gd name="connsiteX31" fmla="*/ 831254 w 985025"/>
                      <a:gd name="connsiteY31" fmla="*/ 840933 h 976639"/>
                      <a:gd name="connsiteX32" fmla="*/ 733197 w 985025"/>
                      <a:gd name="connsiteY32" fmla="*/ 791990 h 976639"/>
                      <a:gd name="connsiteX33" fmla="*/ 728740 w 985025"/>
                      <a:gd name="connsiteY33" fmla="*/ 791990 h 976639"/>
                      <a:gd name="connsiteX34" fmla="*/ 695312 w 985025"/>
                      <a:gd name="connsiteY34" fmla="*/ 814237 h 976639"/>
                      <a:gd name="connsiteX35" fmla="*/ 690855 w 985025"/>
                      <a:gd name="connsiteY35" fmla="*/ 823135 h 976639"/>
                      <a:gd name="connsiteX36" fmla="*/ 701998 w 985025"/>
                      <a:gd name="connsiteY36" fmla="*/ 929921 h 976639"/>
                      <a:gd name="connsiteX37" fmla="*/ 697540 w 985025"/>
                      <a:gd name="connsiteY37" fmla="*/ 934370 h 976639"/>
                      <a:gd name="connsiteX38" fmla="*/ 612855 w 985025"/>
                      <a:gd name="connsiteY38" fmla="*/ 963291 h 976639"/>
                      <a:gd name="connsiteX39" fmla="*/ 608398 w 985025"/>
                      <a:gd name="connsiteY39" fmla="*/ 963291 h 976639"/>
                      <a:gd name="connsiteX40" fmla="*/ 548227 w 985025"/>
                      <a:gd name="connsiteY40" fmla="*/ 874303 h 976639"/>
                      <a:gd name="connsiteX41" fmla="*/ 543770 w 985025"/>
                      <a:gd name="connsiteY41" fmla="*/ 869854 h 976639"/>
                      <a:gd name="connsiteX42" fmla="*/ 501427 w 985025"/>
                      <a:gd name="connsiteY42" fmla="*/ 874303 h 976639"/>
                      <a:gd name="connsiteX43" fmla="*/ 494741 w 985025"/>
                      <a:gd name="connsiteY43" fmla="*/ 876528 h 976639"/>
                      <a:gd name="connsiteX44" fmla="*/ 450170 w 985025"/>
                      <a:gd name="connsiteY44" fmla="*/ 974414 h 976639"/>
                      <a:gd name="connsiteX45" fmla="*/ 445713 w 985025"/>
                      <a:gd name="connsiteY45" fmla="*/ 976639 h 976639"/>
                      <a:gd name="connsiteX46" fmla="*/ 356570 w 985025"/>
                      <a:gd name="connsiteY46" fmla="*/ 958842 h 976639"/>
                      <a:gd name="connsiteX47" fmla="*/ 352113 w 985025"/>
                      <a:gd name="connsiteY47" fmla="*/ 956617 h 976639"/>
                      <a:gd name="connsiteX48" fmla="*/ 347656 w 985025"/>
                      <a:gd name="connsiteY48" fmla="*/ 847607 h 976639"/>
                      <a:gd name="connsiteX49" fmla="*/ 340970 w 985025"/>
                      <a:gd name="connsiteY49" fmla="*/ 843158 h 976639"/>
                      <a:gd name="connsiteX50" fmla="*/ 305313 w 985025"/>
                      <a:gd name="connsiteY50" fmla="*/ 825360 h 976639"/>
                      <a:gd name="connsiteX51" fmla="*/ 296399 w 985025"/>
                      <a:gd name="connsiteY51" fmla="*/ 825360 h 976639"/>
                      <a:gd name="connsiteX52" fmla="*/ 211713 w 985025"/>
                      <a:gd name="connsiteY52" fmla="*/ 887652 h 976639"/>
                      <a:gd name="connsiteX53" fmla="*/ 205028 w 985025"/>
                      <a:gd name="connsiteY53" fmla="*/ 887652 h 976639"/>
                      <a:gd name="connsiteX54" fmla="*/ 138171 w 985025"/>
                      <a:gd name="connsiteY54" fmla="*/ 829810 h 976639"/>
                      <a:gd name="connsiteX55" fmla="*/ 135942 w 985025"/>
                      <a:gd name="connsiteY55" fmla="*/ 823135 h 976639"/>
                      <a:gd name="connsiteX56" fmla="*/ 182742 w 985025"/>
                      <a:gd name="connsiteY56" fmla="*/ 725249 h 976639"/>
                      <a:gd name="connsiteX57" fmla="*/ 182742 w 985025"/>
                      <a:gd name="connsiteY57" fmla="*/ 720800 h 976639"/>
                      <a:gd name="connsiteX58" fmla="*/ 160457 w 985025"/>
                      <a:gd name="connsiteY58" fmla="*/ 687429 h 976639"/>
                      <a:gd name="connsiteX59" fmla="*/ 153771 w 985025"/>
                      <a:gd name="connsiteY59" fmla="*/ 685205 h 976639"/>
                      <a:gd name="connsiteX60" fmla="*/ 49028 w 985025"/>
                      <a:gd name="connsiteY60" fmla="*/ 696328 h 976639"/>
                      <a:gd name="connsiteX61" fmla="*/ 42343 w 985025"/>
                      <a:gd name="connsiteY61" fmla="*/ 691879 h 976639"/>
                      <a:gd name="connsiteX62" fmla="*/ 11143 w 985025"/>
                      <a:gd name="connsiteY62" fmla="*/ 609565 h 976639"/>
                      <a:gd name="connsiteX63" fmla="*/ 15600 w 985025"/>
                      <a:gd name="connsiteY63" fmla="*/ 602891 h 976639"/>
                      <a:gd name="connsiteX64" fmla="*/ 104742 w 985025"/>
                      <a:gd name="connsiteY64" fmla="*/ 542824 h 976639"/>
                      <a:gd name="connsiteX65" fmla="*/ 106971 w 985025"/>
                      <a:gd name="connsiteY65" fmla="*/ 536150 h 976639"/>
                      <a:gd name="connsiteX66" fmla="*/ 104742 w 985025"/>
                      <a:gd name="connsiteY66" fmla="*/ 496106 h 976639"/>
                      <a:gd name="connsiteX67" fmla="*/ 102514 w 985025"/>
                      <a:gd name="connsiteY67" fmla="*/ 489432 h 976639"/>
                      <a:gd name="connsiteX68" fmla="*/ 4457 w 985025"/>
                      <a:gd name="connsiteY68" fmla="*/ 444938 h 976639"/>
                      <a:gd name="connsiteX69" fmla="*/ 0 w 985025"/>
                      <a:gd name="connsiteY69" fmla="*/ 440489 h 976639"/>
                      <a:gd name="connsiteX70" fmla="*/ 15600 w 985025"/>
                      <a:gd name="connsiteY70" fmla="*/ 353726 h 976639"/>
                      <a:gd name="connsiteX71" fmla="*/ 20057 w 985025"/>
                      <a:gd name="connsiteY71" fmla="*/ 351501 h 976639"/>
                      <a:gd name="connsiteX72" fmla="*/ 129257 w 985025"/>
                      <a:gd name="connsiteY72" fmla="*/ 342602 h 976639"/>
                      <a:gd name="connsiteX73" fmla="*/ 135942 w 985025"/>
                      <a:gd name="connsiteY73" fmla="*/ 340377 h 976639"/>
                      <a:gd name="connsiteX74" fmla="*/ 151542 w 985025"/>
                      <a:gd name="connsiteY74" fmla="*/ 302558 h 976639"/>
                      <a:gd name="connsiteX75" fmla="*/ 151542 w 985025"/>
                      <a:gd name="connsiteY75" fmla="*/ 295884 h 976639"/>
                      <a:gd name="connsiteX76" fmla="*/ 91371 w 985025"/>
                      <a:gd name="connsiteY76" fmla="*/ 209121 h 976639"/>
                      <a:gd name="connsiteX77" fmla="*/ 91371 w 985025"/>
                      <a:gd name="connsiteY77" fmla="*/ 200222 h 976639"/>
                      <a:gd name="connsiteX78" fmla="*/ 147085 w 985025"/>
                      <a:gd name="connsiteY78" fmla="*/ 133481 h 976639"/>
                      <a:gd name="connsiteX79" fmla="*/ 153771 w 985025"/>
                      <a:gd name="connsiteY79" fmla="*/ 133481 h 976639"/>
                      <a:gd name="connsiteX80" fmla="*/ 249599 w 985025"/>
                      <a:gd name="connsiteY80" fmla="*/ 180200 h 976639"/>
                      <a:gd name="connsiteX81" fmla="*/ 256285 w 985025"/>
                      <a:gd name="connsiteY81" fmla="*/ 180200 h 976639"/>
                      <a:gd name="connsiteX82" fmla="*/ 289713 w 985025"/>
                      <a:gd name="connsiteY82" fmla="*/ 157953 h 976639"/>
                      <a:gd name="connsiteX83" fmla="*/ 283027 w 985025"/>
                      <a:gd name="connsiteY83" fmla="*/ 44493 h 976639"/>
                      <a:gd name="connsiteX84" fmla="*/ 369942 w 985025"/>
                      <a:gd name="connsiteY84" fmla="*/ 11123 h 976639"/>
                      <a:gd name="connsiteX85" fmla="*/ 439027 w 985025"/>
                      <a:gd name="connsiteY85" fmla="*/ 106785 h 976639"/>
                      <a:gd name="connsiteX86" fmla="*/ 481370 w 985025"/>
                      <a:gd name="connsiteY86" fmla="*/ 102335 h 976639"/>
                      <a:gd name="connsiteX87" fmla="*/ 532627 w 985025"/>
                      <a:gd name="connsiteY87"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5825 w 985025"/>
                      <a:gd name="connsiteY16" fmla="*/ 436039 h 976639"/>
                      <a:gd name="connsiteX17" fmla="*/ 878054 w 985025"/>
                      <a:gd name="connsiteY17" fmla="*/ 478308 h 976639"/>
                      <a:gd name="connsiteX18" fmla="*/ 884740 w 985025"/>
                      <a:gd name="connsiteY18" fmla="*/ 484982 h 976639"/>
                      <a:gd name="connsiteX19" fmla="*/ 982797 w 985025"/>
                      <a:gd name="connsiteY19" fmla="*/ 529476 h 976639"/>
                      <a:gd name="connsiteX20" fmla="*/ 985025 w 985025"/>
                      <a:gd name="connsiteY20" fmla="*/ 533926 h 976639"/>
                      <a:gd name="connsiteX21" fmla="*/ 967197 w 985025"/>
                      <a:gd name="connsiteY21" fmla="*/ 620689 h 976639"/>
                      <a:gd name="connsiteX22" fmla="*/ 962739 w 985025"/>
                      <a:gd name="connsiteY22" fmla="*/ 625138 h 976639"/>
                      <a:gd name="connsiteX23" fmla="*/ 855768 w 985025"/>
                      <a:gd name="connsiteY23" fmla="*/ 631812 h 976639"/>
                      <a:gd name="connsiteX24" fmla="*/ 851311 w 985025"/>
                      <a:gd name="connsiteY24" fmla="*/ 634037 h 976639"/>
                      <a:gd name="connsiteX25" fmla="*/ 831254 w 985025"/>
                      <a:gd name="connsiteY25" fmla="*/ 674081 h 976639"/>
                      <a:gd name="connsiteX26" fmla="*/ 831254 w 985025"/>
                      <a:gd name="connsiteY26" fmla="*/ 678531 h 976639"/>
                      <a:gd name="connsiteX27" fmla="*/ 895883 w 985025"/>
                      <a:gd name="connsiteY27" fmla="*/ 767518 h 976639"/>
                      <a:gd name="connsiteX28" fmla="*/ 895883 w 985025"/>
                      <a:gd name="connsiteY28" fmla="*/ 774192 h 976639"/>
                      <a:gd name="connsiteX29" fmla="*/ 835711 w 985025"/>
                      <a:gd name="connsiteY29" fmla="*/ 840933 h 976639"/>
                      <a:gd name="connsiteX30" fmla="*/ 831254 w 985025"/>
                      <a:gd name="connsiteY30" fmla="*/ 840933 h 976639"/>
                      <a:gd name="connsiteX31" fmla="*/ 733197 w 985025"/>
                      <a:gd name="connsiteY31" fmla="*/ 791990 h 976639"/>
                      <a:gd name="connsiteX32" fmla="*/ 728740 w 985025"/>
                      <a:gd name="connsiteY32" fmla="*/ 791990 h 976639"/>
                      <a:gd name="connsiteX33" fmla="*/ 695312 w 985025"/>
                      <a:gd name="connsiteY33" fmla="*/ 814237 h 976639"/>
                      <a:gd name="connsiteX34" fmla="*/ 690855 w 985025"/>
                      <a:gd name="connsiteY34" fmla="*/ 823135 h 976639"/>
                      <a:gd name="connsiteX35" fmla="*/ 701998 w 985025"/>
                      <a:gd name="connsiteY35" fmla="*/ 929921 h 976639"/>
                      <a:gd name="connsiteX36" fmla="*/ 697540 w 985025"/>
                      <a:gd name="connsiteY36" fmla="*/ 934370 h 976639"/>
                      <a:gd name="connsiteX37" fmla="*/ 612855 w 985025"/>
                      <a:gd name="connsiteY37" fmla="*/ 963291 h 976639"/>
                      <a:gd name="connsiteX38" fmla="*/ 608398 w 985025"/>
                      <a:gd name="connsiteY38" fmla="*/ 963291 h 976639"/>
                      <a:gd name="connsiteX39" fmla="*/ 548227 w 985025"/>
                      <a:gd name="connsiteY39" fmla="*/ 874303 h 976639"/>
                      <a:gd name="connsiteX40" fmla="*/ 543770 w 985025"/>
                      <a:gd name="connsiteY40" fmla="*/ 869854 h 976639"/>
                      <a:gd name="connsiteX41" fmla="*/ 501427 w 985025"/>
                      <a:gd name="connsiteY41" fmla="*/ 874303 h 976639"/>
                      <a:gd name="connsiteX42" fmla="*/ 494741 w 985025"/>
                      <a:gd name="connsiteY42" fmla="*/ 876528 h 976639"/>
                      <a:gd name="connsiteX43" fmla="*/ 450170 w 985025"/>
                      <a:gd name="connsiteY43" fmla="*/ 974414 h 976639"/>
                      <a:gd name="connsiteX44" fmla="*/ 445713 w 985025"/>
                      <a:gd name="connsiteY44" fmla="*/ 976639 h 976639"/>
                      <a:gd name="connsiteX45" fmla="*/ 356570 w 985025"/>
                      <a:gd name="connsiteY45" fmla="*/ 958842 h 976639"/>
                      <a:gd name="connsiteX46" fmla="*/ 352113 w 985025"/>
                      <a:gd name="connsiteY46" fmla="*/ 956617 h 976639"/>
                      <a:gd name="connsiteX47" fmla="*/ 347656 w 985025"/>
                      <a:gd name="connsiteY47" fmla="*/ 847607 h 976639"/>
                      <a:gd name="connsiteX48" fmla="*/ 340970 w 985025"/>
                      <a:gd name="connsiteY48" fmla="*/ 843158 h 976639"/>
                      <a:gd name="connsiteX49" fmla="*/ 305313 w 985025"/>
                      <a:gd name="connsiteY49" fmla="*/ 825360 h 976639"/>
                      <a:gd name="connsiteX50" fmla="*/ 296399 w 985025"/>
                      <a:gd name="connsiteY50" fmla="*/ 825360 h 976639"/>
                      <a:gd name="connsiteX51" fmla="*/ 211713 w 985025"/>
                      <a:gd name="connsiteY51" fmla="*/ 887652 h 976639"/>
                      <a:gd name="connsiteX52" fmla="*/ 205028 w 985025"/>
                      <a:gd name="connsiteY52" fmla="*/ 887652 h 976639"/>
                      <a:gd name="connsiteX53" fmla="*/ 138171 w 985025"/>
                      <a:gd name="connsiteY53" fmla="*/ 829810 h 976639"/>
                      <a:gd name="connsiteX54" fmla="*/ 135942 w 985025"/>
                      <a:gd name="connsiteY54" fmla="*/ 823135 h 976639"/>
                      <a:gd name="connsiteX55" fmla="*/ 182742 w 985025"/>
                      <a:gd name="connsiteY55" fmla="*/ 725249 h 976639"/>
                      <a:gd name="connsiteX56" fmla="*/ 182742 w 985025"/>
                      <a:gd name="connsiteY56" fmla="*/ 720800 h 976639"/>
                      <a:gd name="connsiteX57" fmla="*/ 160457 w 985025"/>
                      <a:gd name="connsiteY57" fmla="*/ 687429 h 976639"/>
                      <a:gd name="connsiteX58" fmla="*/ 153771 w 985025"/>
                      <a:gd name="connsiteY58" fmla="*/ 685205 h 976639"/>
                      <a:gd name="connsiteX59" fmla="*/ 49028 w 985025"/>
                      <a:gd name="connsiteY59" fmla="*/ 696328 h 976639"/>
                      <a:gd name="connsiteX60" fmla="*/ 42343 w 985025"/>
                      <a:gd name="connsiteY60" fmla="*/ 691879 h 976639"/>
                      <a:gd name="connsiteX61" fmla="*/ 11143 w 985025"/>
                      <a:gd name="connsiteY61" fmla="*/ 609565 h 976639"/>
                      <a:gd name="connsiteX62" fmla="*/ 15600 w 985025"/>
                      <a:gd name="connsiteY62" fmla="*/ 602891 h 976639"/>
                      <a:gd name="connsiteX63" fmla="*/ 104742 w 985025"/>
                      <a:gd name="connsiteY63" fmla="*/ 542824 h 976639"/>
                      <a:gd name="connsiteX64" fmla="*/ 106971 w 985025"/>
                      <a:gd name="connsiteY64" fmla="*/ 536150 h 976639"/>
                      <a:gd name="connsiteX65" fmla="*/ 104742 w 985025"/>
                      <a:gd name="connsiteY65" fmla="*/ 496106 h 976639"/>
                      <a:gd name="connsiteX66" fmla="*/ 102514 w 985025"/>
                      <a:gd name="connsiteY66" fmla="*/ 489432 h 976639"/>
                      <a:gd name="connsiteX67" fmla="*/ 4457 w 985025"/>
                      <a:gd name="connsiteY67" fmla="*/ 444938 h 976639"/>
                      <a:gd name="connsiteX68" fmla="*/ 0 w 985025"/>
                      <a:gd name="connsiteY68" fmla="*/ 440489 h 976639"/>
                      <a:gd name="connsiteX69" fmla="*/ 15600 w 985025"/>
                      <a:gd name="connsiteY69" fmla="*/ 353726 h 976639"/>
                      <a:gd name="connsiteX70" fmla="*/ 20057 w 985025"/>
                      <a:gd name="connsiteY70" fmla="*/ 351501 h 976639"/>
                      <a:gd name="connsiteX71" fmla="*/ 129257 w 985025"/>
                      <a:gd name="connsiteY71" fmla="*/ 342602 h 976639"/>
                      <a:gd name="connsiteX72" fmla="*/ 135942 w 985025"/>
                      <a:gd name="connsiteY72" fmla="*/ 340377 h 976639"/>
                      <a:gd name="connsiteX73" fmla="*/ 151542 w 985025"/>
                      <a:gd name="connsiteY73" fmla="*/ 302558 h 976639"/>
                      <a:gd name="connsiteX74" fmla="*/ 151542 w 985025"/>
                      <a:gd name="connsiteY74" fmla="*/ 295884 h 976639"/>
                      <a:gd name="connsiteX75" fmla="*/ 91371 w 985025"/>
                      <a:gd name="connsiteY75" fmla="*/ 209121 h 976639"/>
                      <a:gd name="connsiteX76" fmla="*/ 91371 w 985025"/>
                      <a:gd name="connsiteY76" fmla="*/ 200222 h 976639"/>
                      <a:gd name="connsiteX77" fmla="*/ 147085 w 985025"/>
                      <a:gd name="connsiteY77" fmla="*/ 133481 h 976639"/>
                      <a:gd name="connsiteX78" fmla="*/ 153771 w 985025"/>
                      <a:gd name="connsiteY78" fmla="*/ 133481 h 976639"/>
                      <a:gd name="connsiteX79" fmla="*/ 249599 w 985025"/>
                      <a:gd name="connsiteY79" fmla="*/ 180200 h 976639"/>
                      <a:gd name="connsiteX80" fmla="*/ 256285 w 985025"/>
                      <a:gd name="connsiteY80" fmla="*/ 180200 h 976639"/>
                      <a:gd name="connsiteX81" fmla="*/ 289713 w 985025"/>
                      <a:gd name="connsiteY81" fmla="*/ 157953 h 976639"/>
                      <a:gd name="connsiteX82" fmla="*/ 283027 w 985025"/>
                      <a:gd name="connsiteY82" fmla="*/ 44493 h 976639"/>
                      <a:gd name="connsiteX83" fmla="*/ 369942 w 985025"/>
                      <a:gd name="connsiteY83" fmla="*/ 11123 h 976639"/>
                      <a:gd name="connsiteX84" fmla="*/ 439027 w 985025"/>
                      <a:gd name="connsiteY84" fmla="*/ 106785 h 976639"/>
                      <a:gd name="connsiteX85" fmla="*/ 481370 w 985025"/>
                      <a:gd name="connsiteY85" fmla="*/ 102335 h 976639"/>
                      <a:gd name="connsiteX86" fmla="*/ 532627 w 985025"/>
                      <a:gd name="connsiteY86"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884740 w 985025"/>
                      <a:gd name="connsiteY17" fmla="*/ 484982 h 976639"/>
                      <a:gd name="connsiteX18" fmla="*/ 982797 w 985025"/>
                      <a:gd name="connsiteY18" fmla="*/ 529476 h 976639"/>
                      <a:gd name="connsiteX19" fmla="*/ 985025 w 985025"/>
                      <a:gd name="connsiteY19" fmla="*/ 533926 h 976639"/>
                      <a:gd name="connsiteX20" fmla="*/ 967197 w 985025"/>
                      <a:gd name="connsiteY20" fmla="*/ 620689 h 976639"/>
                      <a:gd name="connsiteX21" fmla="*/ 962739 w 985025"/>
                      <a:gd name="connsiteY21" fmla="*/ 625138 h 976639"/>
                      <a:gd name="connsiteX22" fmla="*/ 855768 w 985025"/>
                      <a:gd name="connsiteY22" fmla="*/ 631812 h 976639"/>
                      <a:gd name="connsiteX23" fmla="*/ 851311 w 985025"/>
                      <a:gd name="connsiteY23" fmla="*/ 634037 h 976639"/>
                      <a:gd name="connsiteX24" fmla="*/ 831254 w 985025"/>
                      <a:gd name="connsiteY24" fmla="*/ 674081 h 976639"/>
                      <a:gd name="connsiteX25" fmla="*/ 831254 w 985025"/>
                      <a:gd name="connsiteY25" fmla="*/ 678531 h 976639"/>
                      <a:gd name="connsiteX26" fmla="*/ 895883 w 985025"/>
                      <a:gd name="connsiteY26" fmla="*/ 767518 h 976639"/>
                      <a:gd name="connsiteX27" fmla="*/ 895883 w 985025"/>
                      <a:gd name="connsiteY27" fmla="*/ 774192 h 976639"/>
                      <a:gd name="connsiteX28" fmla="*/ 835711 w 985025"/>
                      <a:gd name="connsiteY28" fmla="*/ 840933 h 976639"/>
                      <a:gd name="connsiteX29" fmla="*/ 831254 w 985025"/>
                      <a:gd name="connsiteY29" fmla="*/ 840933 h 976639"/>
                      <a:gd name="connsiteX30" fmla="*/ 733197 w 985025"/>
                      <a:gd name="connsiteY30" fmla="*/ 791990 h 976639"/>
                      <a:gd name="connsiteX31" fmla="*/ 728740 w 985025"/>
                      <a:gd name="connsiteY31" fmla="*/ 791990 h 976639"/>
                      <a:gd name="connsiteX32" fmla="*/ 695312 w 985025"/>
                      <a:gd name="connsiteY32" fmla="*/ 814237 h 976639"/>
                      <a:gd name="connsiteX33" fmla="*/ 690855 w 985025"/>
                      <a:gd name="connsiteY33" fmla="*/ 823135 h 976639"/>
                      <a:gd name="connsiteX34" fmla="*/ 701998 w 985025"/>
                      <a:gd name="connsiteY34" fmla="*/ 929921 h 976639"/>
                      <a:gd name="connsiteX35" fmla="*/ 697540 w 985025"/>
                      <a:gd name="connsiteY35" fmla="*/ 934370 h 976639"/>
                      <a:gd name="connsiteX36" fmla="*/ 612855 w 985025"/>
                      <a:gd name="connsiteY36" fmla="*/ 963291 h 976639"/>
                      <a:gd name="connsiteX37" fmla="*/ 608398 w 985025"/>
                      <a:gd name="connsiteY37" fmla="*/ 963291 h 976639"/>
                      <a:gd name="connsiteX38" fmla="*/ 548227 w 985025"/>
                      <a:gd name="connsiteY38" fmla="*/ 874303 h 976639"/>
                      <a:gd name="connsiteX39" fmla="*/ 543770 w 985025"/>
                      <a:gd name="connsiteY39" fmla="*/ 869854 h 976639"/>
                      <a:gd name="connsiteX40" fmla="*/ 501427 w 985025"/>
                      <a:gd name="connsiteY40" fmla="*/ 874303 h 976639"/>
                      <a:gd name="connsiteX41" fmla="*/ 494741 w 985025"/>
                      <a:gd name="connsiteY41" fmla="*/ 876528 h 976639"/>
                      <a:gd name="connsiteX42" fmla="*/ 450170 w 985025"/>
                      <a:gd name="connsiteY42" fmla="*/ 974414 h 976639"/>
                      <a:gd name="connsiteX43" fmla="*/ 445713 w 985025"/>
                      <a:gd name="connsiteY43" fmla="*/ 976639 h 976639"/>
                      <a:gd name="connsiteX44" fmla="*/ 356570 w 985025"/>
                      <a:gd name="connsiteY44" fmla="*/ 958842 h 976639"/>
                      <a:gd name="connsiteX45" fmla="*/ 352113 w 985025"/>
                      <a:gd name="connsiteY45" fmla="*/ 956617 h 976639"/>
                      <a:gd name="connsiteX46" fmla="*/ 347656 w 985025"/>
                      <a:gd name="connsiteY46" fmla="*/ 847607 h 976639"/>
                      <a:gd name="connsiteX47" fmla="*/ 340970 w 985025"/>
                      <a:gd name="connsiteY47" fmla="*/ 843158 h 976639"/>
                      <a:gd name="connsiteX48" fmla="*/ 305313 w 985025"/>
                      <a:gd name="connsiteY48" fmla="*/ 825360 h 976639"/>
                      <a:gd name="connsiteX49" fmla="*/ 296399 w 985025"/>
                      <a:gd name="connsiteY49" fmla="*/ 825360 h 976639"/>
                      <a:gd name="connsiteX50" fmla="*/ 211713 w 985025"/>
                      <a:gd name="connsiteY50" fmla="*/ 887652 h 976639"/>
                      <a:gd name="connsiteX51" fmla="*/ 205028 w 985025"/>
                      <a:gd name="connsiteY51" fmla="*/ 887652 h 976639"/>
                      <a:gd name="connsiteX52" fmla="*/ 138171 w 985025"/>
                      <a:gd name="connsiteY52" fmla="*/ 829810 h 976639"/>
                      <a:gd name="connsiteX53" fmla="*/ 135942 w 985025"/>
                      <a:gd name="connsiteY53" fmla="*/ 823135 h 976639"/>
                      <a:gd name="connsiteX54" fmla="*/ 182742 w 985025"/>
                      <a:gd name="connsiteY54" fmla="*/ 725249 h 976639"/>
                      <a:gd name="connsiteX55" fmla="*/ 182742 w 985025"/>
                      <a:gd name="connsiteY55" fmla="*/ 720800 h 976639"/>
                      <a:gd name="connsiteX56" fmla="*/ 160457 w 985025"/>
                      <a:gd name="connsiteY56" fmla="*/ 687429 h 976639"/>
                      <a:gd name="connsiteX57" fmla="*/ 153771 w 985025"/>
                      <a:gd name="connsiteY57" fmla="*/ 685205 h 976639"/>
                      <a:gd name="connsiteX58" fmla="*/ 49028 w 985025"/>
                      <a:gd name="connsiteY58" fmla="*/ 696328 h 976639"/>
                      <a:gd name="connsiteX59" fmla="*/ 42343 w 985025"/>
                      <a:gd name="connsiteY59" fmla="*/ 691879 h 976639"/>
                      <a:gd name="connsiteX60" fmla="*/ 11143 w 985025"/>
                      <a:gd name="connsiteY60" fmla="*/ 609565 h 976639"/>
                      <a:gd name="connsiteX61" fmla="*/ 15600 w 985025"/>
                      <a:gd name="connsiteY61" fmla="*/ 602891 h 976639"/>
                      <a:gd name="connsiteX62" fmla="*/ 104742 w 985025"/>
                      <a:gd name="connsiteY62" fmla="*/ 542824 h 976639"/>
                      <a:gd name="connsiteX63" fmla="*/ 106971 w 985025"/>
                      <a:gd name="connsiteY63" fmla="*/ 536150 h 976639"/>
                      <a:gd name="connsiteX64" fmla="*/ 104742 w 985025"/>
                      <a:gd name="connsiteY64" fmla="*/ 496106 h 976639"/>
                      <a:gd name="connsiteX65" fmla="*/ 102514 w 985025"/>
                      <a:gd name="connsiteY65" fmla="*/ 489432 h 976639"/>
                      <a:gd name="connsiteX66" fmla="*/ 4457 w 985025"/>
                      <a:gd name="connsiteY66" fmla="*/ 444938 h 976639"/>
                      <a:gd name="connsiteX67" fmla="*/ 0 w 985025"/>
                      <a:gd name="connsiteY67" fmla="*/ 440489 h 976639"/>
                      <a:gd name="connsiteX68" fmla="*/ 15600 w 985025"/>
                      <a:gd name="connsiteY68" fmla="*/ 353726 h 976639"/>
                      <a:gd name="connsiteX69" fmla="*/ 20057 w 985025"/>
                      <a:gd name="connsiteY69" fmla="*/ 351501 h 976639"/>
                      <a:gd name="connsiteX70" fmla="*/ 129257 w 985025"/>
                      <a:gd name="connsiteY70" fmla="*/ 342602 h 976639"/>
                      <a:gd name="connsiteX71" fmla="*/ 135942 w 985025"/>
                      <a:gd name="connsiteY71" fmla="*/ 340377 h 976639"/>
                      <a:gd name="connsiteX72" fmla="*/ 151542 w 985025"/>
                      <a:gd name="connsiteY72" fmla="*/ 302558 h 976639"/>
                      <a:gd name="connsiteX73" fmla="*/ 151542 w 985025"/>
                      <a:gd name="connsiteY73" fmla="*/ 295884 h 976639"/>
                      <a:gd name="connsiteX74" fmla="*/ 91371 w 985025"/>
                      <a:gd name="connsiteY74" fmla="*/ 209121 h 976639"/>
                      <a:gd name="connsiteX75" fmla="*/ 91371 w 985025"/>
                      <a:gd name="connsiteY75" fmla="*/ 200222 h 976639"/>
                      <a:gd name="connsiteX76" fmla="*/ 147085 w 985025"/>
                      <a:gd name="connsiteY76" fmla="*/ 133481 h 976639"/>
                      <a:gd name="connsiteX77" fmla="*/ 153771 w 985025"/>
                      <a:gd name="connsiteY77" fmla="*/ 133481 h 976639"/>
                      <a:gd name="connsiteX78" fmla="*/ 249599 w 985025"/>
                      <a:gd name="connsiteY78" fmla="*/ 180200 h 976639"/>
                      <a:gd name="connsiteX79" fmla="*/ 256285 w 985025"/>
                      <a:gd name="connsiteY79" fmla="*/ 180200 h 976639"/>
                      <a:gd name="connsiteX80" fmla="*/ 289713 w 985025"/>
                      <a:gd name="connsiteY80" fmla="*/ 157953 h 976639"/>
                      <a:gd name="connsiteX81" fmla="*/ 283027 w 985025"/>
                      <a:gd name="connsiteY81" fmla="*/ 44493 h 976639"/>
                      <a:gd name="connsiteX82" fmla="*/ 369942 w 985025"/>
                      <a:gd name="connsiteY82" fmla="*/ 11123 h 976639"/>
                      <a:gd name="connsiteX83" fmla="*/ 439027 w 985025"/>
                      <a:gd name="connsiteY83" fmla="*/ 106785 h 976639"/>
                      <a:gd name="connsiteX84" fmla="*/ 481370 w 985025"/>
                      <a:gd name="connsiteY84" fmla="*/ 102335 h 976639"/>
                      <a:gd name="connsiteX85" fmla="*/ 532627 w 985025"/>
                      <a:gd name="connsiteY8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982797 w 985025"/>
                      <a:gd name="connsiteY17" fmla="*/ 529476 h 976639"/>
                      <a:gd name="connsiteX18" fmla="*/ 985025 w 985025"/>
                      <a:gd name="connsiteY18" fmla="*/ 533926 h 976639"/>
                      <a:gd name="connsiteX19" fmla="*/ 967197 w 985025"/>
                      <a:gd name="connsiteY19" fmla="*/ 620689 h 976639"/>
                      <a:gd name="connsiteX20" fmla="*/ 962739 w 985025"/>
                      <a:gd name="connsiteY20" fmla="*/ 625138 h 976639"/>
                      <a:gd name="connsiteX21" fmla="*/ 855768 w 985025"/>
                      <a:gd name="connsiteY21" fmla="*/ 631812 h 976639"/>
                      <a:gd name="connsiteX22" fmla="*/ 851311 w 985025"/>
                      <a:gd name="connsiteY22" fmla="*/ 634037 h 976639"/>
                      <a:gd name="connsiteX23" fmla="*/ 831254 w 985025"/>
                      <a:gd name="connsiteY23" fmla="*/ 674081 h 976639"/>
                      <a:gd name="connsiteX24" fmla="*/ 831254 w 985025"/>
                      <a:gd name="connsiteY24" fmla="*/ 678531 h 976639"/>
                      <a:gd name="connsiteX25" fmla="*/ 895883 w 985025"/>
                      <a:gd name="connsiteY25" fmla="*/ 767518 h 976639"/>
                      <a:gd name="connsiteX26" fmla="*/ 895883 w 985025"/>
                      <a:gd name="connsiteY26" fmla="*/ 774192 h 976639"/>
                      <a:gd name="connsiteX27" fmla="*/ 835711 w 985025"/>
                      <a:gd name="connsiteY27" fmla="*/ 840933 h 976639"/>
                      <a:gd name="connsiteX28" fmla="*/ 831254 w 985025"/>
                      <a:gd name="connsiteY28" fmla="*/ 840933 h 976639"/>
                      <a:gd name="connsiteX29" fmla="*/ 733197 w 985025"/>
                      <a:gd name="connsiteY29" fmla="*/ 791990 h 976639"/>
                      <a:gd name="connsiteX30" fmla="*/ 728740 w 985025"/>
                      <a:gd name="connsiteY30" fmla="*/ 791990 h 976639"/>
                      <a:gd name="connsiteX31" fmla="*/ 695312 w 985025"/>
                      <a:gd name="connsiteY31" fmla="*/ 814237 h 976639"/>
                      <a:gd name="connsiteX32" fmla="*/ 690855 w 985025"/>
                      <a:gd name="connsiteY32" fmla="*/ 823135 h 976639"/>
                      <a:gd name="connsiteX33" fmla="*/ 701998 w 985025"/>
                      <a:gd name="connsiteY33" fmla="*/ 929921 h 976639"/>
                      <a:gd name="connsiteX34" fmla="*/ 697540 w 985025"/>
                      <a:gd name="connsiteY34" fmla="*/ 934370 h 976639"/>
                      <a:gd name="connsiteX35" fmla="*/ 612855 w 985025"/>
                      <a:gd name="connsiteY35" fmla="*/ 963291 h 976639"/>
                      <a:gd name="connsiteX36" fmla="*/ 608398 w 985025"/>
                      <a:gd name="connsiteY36" fmla="*/ 963291 h 976639"/>
                      <a:gd name="connsiteX37" fmla="*/ 548227 w 985025"/>
                      <a:gd name="connsiteY37" fmla="*/ 874303 h 976639"/>
                      <a:gd name="connsiteX38" fmla="*/ 543770 w 985025"/>
                      <a:gd name="connsiteY38" fmla="*/ 869854 h 976639"/>
                      <a:gd name="connsiteX39" fmla="*/ 501427 w 985025"/>
                      <a:gd name="connsiteY39" fmla="*/ 874303 h 976639"/>
                      <a:gd name="connsiteX40" fmla="*/ 494741 w 985025"/>
                      <a:gd name="connsiteY40" fmla="*/ 876528 h 976639"/>
                      <a:gd name="connsiteX41" fmla="*/ 450170 w 985025"/>
                      <a:gd name="connsiteY41" fmla="*/ 974414 h 976639"/>
                      <a:gd name="connsiteX42" fmla="*/ 445713 w 985025"/>
                      <a:gd name="connsiteY42" fmla="*/ 976639 h 976639"/>
                      <a:gd name="connsiteX43" fmla="*/ 356570 w 985025"/>
                      <a:gd name="connsiteY43" fmla="*/ 958842 h 976639"/>
                      <a:gd name="connsiteX44" fmla="*/ 352113 w 985025"/>
                      <a:gd name="connsiteY44" fmla="*/ 956617 h 976639"/>
                      <a:gd name="connsiteX45" fmla="*/ 347656 w 985025"/>
                      <a:gd name="connsiteY45" fmla="*/ 847607 h 976639"/>
                      <a:gd name="connsiteX46" fmla="*/ 340970 w 985025"/>
                      <a:gd name="connsiteY46" fmla="*/ 843158 h 976639"/>
                      <a:gd name="connsiteX47" fmla="*/ 305313 w 985025"/>
                      <a:gd name="connsiteY47" fmla="*/ 825360 h 976639"/>
                      <a:gd name="connsiteX48" fmla="*/ 296399 w 985025"/>
                      <a:gd name="connsiteY48" fmla="*/ 825360 h 976639"/>
                      <a:gd name="connsiteX49" fmla="*/ 211713 w 985025"/>
                      <a:gd name="connsiteY49" fmla="*/ 887652 h 976639"/>
                      <a:gd name="connsiteX50" fmla="*/ 205028 w 985025"/>
                      <a:gd name="connsiteY50" fmla="*/ 887652 h 976639"/>
                      <a:gd name="connsiteX51" fmla="*/ 138171 w 985025"/>
                      <a:gd name="connsiteY51" fmla="*/ 829810 h 976639"/>
                      <a:gd name="connsiteX52" fmla="*/ 135942 w 985025"/>
                      <a:gd name="connsiteY52" fmla="*/ 823135 h 976639"/>
                      <a:gd name="connsiteX53" fmla="*/ 182742 w 985025"/>
                      <a:gd name="connsiteY53" fmla="*/ 725249 h 976639"/>
                      <a:gd name="connsiteX54" fmla="*/ 182742 w 985025"/>
                      <a:gd name="connsiteY54" fmla="*/ 720800 h 976639"/>
                      <a:gd name="connsiteX55" fmla="*/ 160457 w 985025"/>
                      <a:gd name="connsiteY55" fmla="*/ 687429 h 976639"/>
                      <a:gd name="connsiteX56" fmla="*/ 153771 w 985025"/>
                      <a:gd name="connsiteY56" fmla="*/ 685205 h 976639"/>
                      <a:gd name="connsiteX57" fmla="*/ 49028 w 985025"/>
                      <a:gd name="connsiteY57" fmla="*/ 696328 h 976639"/>
                      <a:gd name="connsiteX58" fmla="*/ 42343 w 985025"/>
                      <a:gd name="connsiteY58" fmla="*/ 691879 h 976639"/>
                      <a:gd name="connsiteX59" fmla="*/ 11143 w 985025"/>
                      <a:gd name="connsiteY59" fmla="*/ 609565 h 976639"/>
                      <a:gd name="connsiteX60" fmla="*/ 15600 w 985025"/>
                      <a:gd name="connsiteY60" fmla="*/ 602891 h 976639"/>
                      <a:gd name="connsiteX61" fmla="*/ 104742 w 985025"/>
                      <a:gd name="connsiteY61" fmla="*/ 542824 h 976639"/>
                      <a:gd name="connsiteX62" fmla="*/ 106971 w 985025"/>
                      <a:gd name="connsiteY62" fmla="*/ 536150 h 976639"/>
                      <a:gd name="connsiteX63" fmla="*/ 104742 w 985025"/>
                      <a:gd name="connsiteY63" fmla="*/ 496106 h 976639"/>
                      <a:gd name="connsiteX64" fmla="*/ 102514 w 985025"/>
                      <a:gd name="connsiteY64" fmla="*/ 489432 h 976639"/>
                      <a:gd name="connsiteX65" fmla="*/ 4457 w 985025"/>
                      <a:gd name="connsiteY65" fmla="*/ 444938 h 976639"/>
                      <a:gd name="connsiteX66" fmla="*/ 0 w 985025"/>
                      <a:gd name="connsiteY66" fmla="*/ 440489 h 976639"/>
                      <a:gd name="connsiteX67" fmla="*/ 15600 w 985025"/>
                      <a:gd name="connsiteY67" fmla="*/ 353726 h 976639"/>
                      <a:gd name="connsiteX68" fmla="*/ 20057 w 985025"/>
                      <a:gd name="connsiteY68" fmla="*/ 351501 h 976639"/>
                      <a:gd name="connsiteX69" fmla="*/ 129257 w 985025"/>
                      <a:gd name="connsiteY69" fmla="*/ 342602 h 976639"/>
                      <a:gd name="connsiteX70" fmla="*/ 135942 w 985025"/>
                      <a:gd name="connsiteY70" fmla="*/ 340377 h 976639"/>
                      <a:gd name="connsiteX71" fmla="*/ 151542 w 985025"/>
                      <a:gd name="connsiteY71" fmla="*/ 302558 h 976639"/>
                      <a:gd name="connsiteX72" fmla="*/ 151542 w 985025"/>
                      <a:gd name="connsiteY72" fmla="*/ 295884 h 976639"/>
                      <a:gd name="connsiteX73" fmla="*/ 91371 w 985025"/>
                      <a:gd name="connsiteY73" fmla="*/ 209121 h 976639"/>
                      <a:gd name="connsiteX74" fmla="*/ 91371 w 985025"/>
                      <a:gd name="connsiteY74" fmla="*/ 200222 h 976639"/>
                      <a:gd name="connsiteX75" fmla="*/ 147085 w 985025"/>
                      <a:gd name="connsiteY75" fmla="*/ 133481 h 976639"/>
                      <a:gd name="connsiteX76" fmla="*/ 153771 w 985025"/>
                      <a:gd name="connsiteY76" fmla="*/ 133481 h 976639"/>
                      <a:gd name="connsiteX77" fmla="*/ 249599 w 985025"/>
                      <a:gd name="connsiteY77" fmla="*/ 180200 h 976639"/>
                      <a:gd name="connsiteX78" fmla="*/ 256285 w 985025"/>
                      <a:gd name="connsiteY78" fmla="*/ 180200 h 976639"/>
                      <a:gd name="connsiteX79" fmla="*/ 289713 w 985025"/>
                      <a:gd name="connsiteY79" fmla="*/ 157953 h 976639"/>
                      <a:gd name="connsiteX80" fmla="*/ 283027 w 985025"/>
                      <a:gd name="connsiteY80" fmla="*/ 44493 h 976639"/>
                      <a:gd name="connsiteX81" fmla="*/ 369942 w 985025"/>
                      <a:gd name="connsiteY81" fmla="*/ 11123 h 976639"/>
                      <a:gd name="connsiteX82" fmla="*/ 439027 w 985025"/>
                      <a:gd name="connsiteY82" fmla="*/ 106785 h 976639"/>
                      <a:gd name="connsiteX83" fmla="*/ 481370 w 985025"/>
                      <a:gd name="connsiteY83" fmla="*/ 102335 h 976639"/>
                      <a:gd name="connsiteX84" fmla="*/ 532627 w 985025"/>
                      <a:gd name="connsiteY8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962739 w 982797"/>
                      <a:gd name="connsiteY19" fmla="*/ 625138 h 976639"/>
                      <a:gd name="connsiteX20" fmla="*/ 855768 w 982797"/>
                      <a:gd name="connsiteY20" fmla="*/ 631812 h 976639"/>
                      <a:gd name="connsiteX21" fmla="*/ 851311 w 982797"/>
                      <a:gd name="connsiteY21" fmla="*/ 634037 h 976639"/>
                      <a:gd name="connsiteX22" fmla="*/ 831254 w 982797"/>
                      <a:gd name="connsiteY22" fmla="*/ 674081 h 976639"/>
                      <a:gd name="connsiteX23" fmla="*/ 831254 w 982797"/>
                      <a:gd name="connsiteY23" fmla="*/ 678531 h 976639"/>
                      <a:gd name="connsiteX24" fmla="*/ 895883 w 982797"/>
                      <a:gd name="connsiteY24" fmla="*/ 767518 h 976639"/>
                      <a:gd name="connsiteX25" fmla="*/ 895883 w 982797"/>
                      <a:gd name="connsiteY25" fmla="*/ 774192 h 976639"/>
                      <a:gd name="connsiteX26" fmla="*/ 835711 w 982797"/>
                      <a:gd name="connsiteY26" fmla="*/ 840933 h 976639"/>
                      <a:gd name="connsiteX27" fmla="*/ 831254 w 982797"/>
                      <a:gd name="connsiteY27" fmla="*/ 840933 h 976639"/>
                      <a:gd name="connsiteX28" fmla="*/ 733197 w 982797"/>
                      <a:gd name="connsiteY28" fmla="*/ 791990 h 976639"/>
                      <a:gd name="connsiteX29" fmla="*/ 728740 w 982797"/>
                      <a:gd name="connsiteY29" fmla="*/ 791990 h 976639"/>
                      <a:gd name="connsiteX30" fmla="*/ 695312 w 982797"/>
                      <a:gd name="connsiteY30" fmla="*/ 814237 h 976639"/>
                      <a:gd name="connsiteX31" fmla="*/ 690855 w 982797"/>
                      <a:gd name="connsiteY31" fmla="*/ 823135 h 976639"/>
                      <a:gd name="connsiteX32" fmla="*/ 701998 w 982797"/>
                      <a:gd name="connsiteY32" fmla="*/ 929921 h 976639"/>
                      <a:gd name="connsiteX33" fmla="*/ 697540 w 982797"/>
                      <a:gd name="connsiteY33" fmla="*/ 934370 h 976639"/>
                      <a:gd name="connsiteX34" fmla="*/ 612855 w 982797"/>
                      <a:gd name="connsiteY34" fmla="*/ 963291 h 976639"/>
                      <a:gd name="connsiteX35" fmla="*/ 608398 w 982797"/>
                      <a:gd name="connsiteY35" fmla="*/ 963291 h 976639"/>
                      <a:gd name="connsiteX36" fmla="*/ 548227 w 982797"/>
                      <a:gd name="connsiteY36" fmla="*/ 874303 h 976639"/>
                      <a:gd name="connsiteX37" fmla="*/ 543770 w 982797"/>
                      <a:gd name="connsiteY37" fmla="*/ 869854 h 976639"/>
                      <a:gd name="connsiteX38" fmla="*/ 501427 w 982797"/>
                      <a:gd name="connsiteY38" fmla="*/ 874303 h 976639"/>
                      <a:gd name="connsiteX39" fmla="*/ 494741 w 982797"/>
                      <a:gd name="connsiteY39" fmla="*/ 876528 h 976639"/>
                      <a:gd name="connsiteX40" fmla="*/ 450170 w 982797"/>
                      <a:gd name="connsiteY40" fmla="*/ 974414 h 976639"/>
                      <a:gd name="connsiteX41" fmla="*/ 445713 w 982797"/>
                      <a:gd name="connsiteY41" fmla="*/ 976639 h 976639"/>
                      <a:gd name="connsiteX42" fmla="*/ 356570 w 982797"/>
                      <a:gd name="connsiteY42" fmla="*/ 958842 h 976639"/>
                      <a:gd name="connsiteX43" fmla="*/ 352113 w 982797"/>
                      <a:gd name="connsiteY43" fmla="*/ 956617 h 976639"/>
                      <a:gd name="connsiteX44" fmla="*/ 347656 w 982797"/>
                      <a:gd name="connsiteY44" fmla="*/ 847607 h 976639"/>
                      <a:gd name="connsiteX45" fmla="*/ 340970 w 982797"/>
                      <a:gd name="connsiteY45" fmla="*/ 843158 h 976639"/>
                      <a:gd name="connsiteX46" fmla="*/ 305313 w 982797"/>
                      <a:gd name="connsiteY46" fmla="*/ 825360 h 976639"/>
                      <a:gd name="connsiteX47" fmla="*/ 296399 w 982797"/>
                      <a:gd name="connsiteY47" fmla="*/ 825360 h 976639"/>
                      <a:gd name="connsiteX48" fmla="*/ 211713 w 982797"/>
                      <a:gd name="connsiteY48" fmla="*/ 887652 h 976639"/>
                      <a:gd name="connsiteX49" fmla="*/ 205028 w 982797"/>
                      <a:gd name="connsiteY49" fmla="*/ 887652 h 976639"/>
                      <a:gd name="connsiteX50" fmla="*/ 138171 w 982797"/>
                      <a:gd name="connsiteY50" fmla="*/ 829810 h 976639"/>
                      <a:gd name="connsiteX51" fmla="*/ 135942 w 982797"/>
                      <a:gd name="connsiteY51" fmla="*/ 823135 h 976639"/>
                      <a:gd name="connsiteX52" fmla="*/ 182742 w 982797"/>
                      <a:gd name="connsiteY52" fmla="*/ 725249 h 976639"/>
                      <a:gd name="connsiteX53" fmla="*/ 182742 w 982797"/>
                      <a:gd name="connsiteY53" fmla="*/ 720800 h 976639"/>
                      <a:gd name="connsiteX54" fmla="*/ 160457 w 982797"/>
                      <a:gd name="connsiteY54" fmla="*/ 687429 h 976639"/>
                      <a:gd name="connsiteX55" fmla="*/ 153771 w 982797"/>
                      <a:gd name="connsiteY55" fmla="*/ 685205 h 976639"/>
                      <a:gd name="connsiteX56" fmla="*/ 49028 w 982797"/>
                      <a:gd name="connsiteY56" fmla="*/ 696328 h 976639"/>
                      <a:gd name="connsiteX57" fmla="*/ 42343 w 982797"/>
                      <a:gd name="connsiteY57" fmla="*/ 691879 h 976639"/>
                      <a:gd name="connsiteX58" fmla="*/ 11143 w 982797"/>
                      <a:gd name="connsiteY58" fmla="*/ 609565 h 976639"/>
                      <a:gd name="connsiteX59" fmla="*/ 15600 w 982797"/>
                      <a:gd name="connsiteY59" fmla="*/ 602891 h 976639"/>
                      <a:gd name="connsiteX60" fmla="*/ 104742 w 982797"/>
                      <a:gd name="connsiteY60" fmla="*/ 542824 h 976639"/>
                      <a:gd name="connsiteX61" fmla="*/ 106971 w 982797"/>
                      <a:gd name="connsiteY61" fmla="*/ 536150 h 976639"/>
                      <a:gd name="connsiteX62" fmla="*/ 104742 w 982797"/>
                      <a:gd name="connsiteY62" fmla="*/ 496106 h 976639"/>
                      <a:gd name="connsiteX63" fmla="*/ 102514 w 982797"/>
                      <a:gd name="connsiteY63" fmla="*/ 489432 h 976639"/>
                      <a:gd name="connsiteX64" fmla="*/ 4457 w 982797"/>
                      <a:gd name="connsiteY64" fmla="*/ 444938 h 976639"/>
                      <a:gd name="connsiteX65" fmla="*/ 0 w 982797"/>
                      <a:gd name="connsiteY65" fmla="*/ 440489 h 976639"/>
                      <a:gd name="connsiteX66" fmla="*/ 15600 w 982797"/>
                      <a:gd name="connsiteY66" fmla="*/ 353726 h 976639"/>
                      <a:gd name="connsiteX67" fmla="*/ 20057 w 982797"/>
                      <a:gd name="connsiteY67" fmla="*/ 351501 h 976639"/>
                      <a:gd name="connsiteX68" fmla="*/ 129257 w 982797"/>
                      <a:gd name="connsiteY68" fmla="*/ 342602 h 976639"/>
                      <a:gd name="connsiteX69" fmla="*/ 135942 w 982797"/>
                      <a:gd name="connsiteY69" fmla="*/ 340377 h 976639"/>
                      <a:gd name="connsiteX70" fmla="*/ 151542 w 982797"/>
                      <a:gd name="connsiteY70" fmla="*/ 302558 h 976639"/>
                      <a:gd name="connsiteX71" fmla="*/ 151542 w 982797"/>
                      <a:gd name="connsiteY71" fmla="*/ 295884 h 976639"/>
                      <a:gd name="connsiteX72" fmla="*/ 91371 w 982797"/>
                      <a:gd name="connsiteY72" fmla="*/ 209121 h 976639"/>
                      <a:gd name="connsiteX73" fmla="*/ 91371 w 982797"/>
                      <a:gd name="connsiteY73" fmla="*/ 200222 h 976639"/>
                      <a:gd name="connsiteX74" fmla="*/ 147085 w 982797"/>
                      <a:gd name="connsiteY74" fmla="*/ 133481 h 976639"/>
                      <a:gd name="connsiteX75" fmla="*/ 153771 w 982797"/>
                      <a:gd name="connsiteY75" fmla="*/ 133481 h 976639"/>
                      <a:gd name="connsiteX76" fmla="*/ 249599 w 982797"/>
                      <a:gd name="connsiteY76" fmla="*/ 180200 h 976639"/>
                      <a:gd name="connsiteX77" fmla="*/ 256285 w 982797"/>
                      <a:gd name="connsiteY77" fmla="*/ 180200 h 976639"/>
                      <a:gd name="connsiteX78" fmla="*/ 289713 w 982797"/>
                      <a:gd name="connsiteY78" fmla="*/ 157953 h 976639"/>
                      <a:gd name="connsiteX79" fmla="*/ 283027 w 982797"/>
                      <a:gd name="connsiteY79" fmla="*/ 44493 h 976639"/>
                      <a:gd name="connsiteX80" fmla="*/ 369942 w 982797"/>
                      <a:gd name="connsiteY80" fmla="*/ 11123 h 976639"/>
                      <a:gd name="connsiteX81" fmla="*/ 439027 w 982797"/>
                      <a:gd name="connsiteY81" fmla="*/ 106785 h 976639"/>
                      <a:gd name="connsiteX82" fmla="*/ 481370 w 982797"/>
                      <a:gd name="connsiteY82" fmla="*/ 102335 h 976639"/>
                      <a:gd name="connsiteX83" fmla="*/ 532627 w 982797"/>
                      <a:gd name="connsiteY8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5768 w 982797"/>
                      <a:gd name="connsiteY19" fmla="*/ 631812 h 976639"/>
                      <a:gd name="connsiteX20" fmla="*/ 851311 w 982797"/>
                      <a:gd name="connsiteY20" fmla="*/ 634037 h 976639"/>
                      <a:gd name="connsiteX21" fmla="*/ 831254 w 982797"/>
                      <a:gd name="connsiteY21" fmla="*/ 674081 h 976639"/>
                      <a:gd name="connsiteX22" fmla="*/ 831254 w 982797"/>
                      <a:gd name="connsiteY22" fmla="*/ 678531 h 976639"/>
                      <a:gd name="connsiteX23" fmla="*/ 895883 w 982797"/>
                      <a:gd name="connsiteY23" fmla="*/ 767518 h 976639"/>
                      <a:gd name="connsiteX24" fmla="*/ 895883 w 982797"/>
                      <a:gd name="connsiteY24" fmla="*/ 774192 h 976639"/>
                      <a:gd name="connsiteX25" fmla="*/ 835711 w 982797"/>
                      <a:gd name="connsiteY25" fmla="*/ 840933 h 976639"/>
                      <a:gd name="connsiteX26" fmla="*/ 831254 w 982797"/>
                      <a:gd name="connsiteY26" fmla="*/ 840933 h 976639"/>
                      <a:gd name="connsiteX27" fmla="*/ 733197 w 982797"/>
                      <a:gd name="connsiteY27" fmla="*/ 791990 h 976639"/>
                      <a:gd name="connsiteX28" fmla="*/ 728740 w 982797"/>
                      <a:gd name="connsiteY28" fmla="*/ 791990 h 976639"/>
                      <a:gd name="connsiteX29" fmla="*/ 695312 w 982797"/>
                      <a:gd name="connsiteY29" fmla="*/ 814237 h 976639"/>
                      <a:gd name="connsiteX30" fmla="*/ 690855 w 982797"/>
                      <a:gd name="connsiteY30" fmla="*/ 823135 h 976639"/>
                      <a:gd name="connsiteX31" fmla="*/ 701998 w 982797"/>
                      <a:gd name="connsiteY31" fmla="*/ 929921 h 976639"/>
                      <a:gd name="connsiteX32" fmla="*/ 697540 w 982797"/>
                      <a:gd name="connsiteY32" fmla="*/ 934370 h 976639"/>
                      <a:gd name="connsiteX33" fmla="*/ 612855 w 982797"/>
                      <a:gd name="connsiteY33" fmla="*/ 963291 h 976639"/>
                      <a:gd name="connsiteX34" fmla="*/ 608398 w 982797"/>
                      <a:gd name="connsiteY34" fmla="*/ 963291 h 976639"/>
                      <a:gd name="connsiteX35" fmla="*/ 548227 w 982797"/>
                      <a:gd name="connsiteY35" fmla="*/ 874303 h 976639"/>
                      <a:gd name="connsiteX36" fmla="*/ 543770 w 982797"/>
                      <a:gd name="connsiteY36" fmla="*/ 869854 h 976639"/>
                      <a:gd name="connsiteX37" fmla="*/ 501427 w 982797"/>
                      <a:gd name="connsiteY37" fmla="*/ 874303 h 976639"/>
                      <a:gd name="connsiteX38" fmla="*/ 494741 w 982797"/>
                      <a:gd name="connsiteY38" fmla="*/ 876528 h 976639"/>
                      <a:gd name="connsiteX39" fmla="*/ 450170 w 982797"/>
                      <a:gd name="connsiteY39" fmla="*/ 974414 h 976639"/>
                      <a:gd name="connsiteX40" fmla="*/ 445713 w 982797"/>
                      <a:gd name="connsiteY40" fmla="*/ 976639 h 976639"/>
                      <a:gd name="connsiteX41" fmla="*/ 356570 w 982797"/>
                      <a:gd name="connsiteY41" fmla="*/ 958842 h 976639"/>
                      <a:gd name="connsiteX42" fmla="*/ 352113 w 982797"/>
                      <a:gd name="connsiteY42" fmla="*/ 956617 h 976639"/>
                      <a:gd name="connsiteX43" fmla="*/ 347656 w 982797"/>
                      <a:gd name="connsiteY43" fmla="*/ 847607 h 976639"/>
                      <a:gd name="connsiteX44" fmla="*/ 340970 w 982797"/>
                      <a:gd name="connsiteY44" fmla="*/ 843158 h 976639"/>
                      <a:gd name="connsiteX45" fmla="*/ 305313 w 982797"/>
                      <a:gd name="connsiteY45" fmla="*/ 825360 h 976639"/>
                      <a:gd name="connsiteX46" fmla="*/ 296399 w 982797"/>
                      <a:gd name="connsiteY46" fmla="*/ 825360 h 976639"/>
                      <a:gd name="connsiteX47" fmla="*/ 211713 w 982797"/>
                      <a:gd name="connsiteY47" fmla="*/ 887652 h 976639"/>
                      <a:gd name="connsiteX48" fmla="*/ 205028 w 982797"/>
                      <a:gd name="connsiteY48" fmla="*/ 887652 h 976639"/>
                      <a:gd name="connsiteX49" fmla="*/ 138171 w 982797"/>
                      <a:gd name="connsiteY49" fmla="*/ 829810 h 976639"/>
                      <a:gd name="connsiteX50" fmla="*/ 135942 w 982797"/>
                      <a:gd name="connsiteY50" fmla="*/ 823135 h 976639"/>
                      <a:gd name="connsiteX51" fmla="*/ 182742 w 982797"/>
                      <a:gd name="connsiteY51" fmla="*/ 725249 h 976639"/>
                      <a:gd name="connsiteX52" fmla="*/ 182742 w 982797"/>
                      <a:gd name="connsiteY52" fmla="*/ 720800 h 976639"/>
                      <a:gd name="connsiteX53" fmla="*/ 160457 w 982797"/>
                      <a:gd name="connsiteY53" fmla="*/ 687429 h 976639"/>
                      <a:gd name="connsiteX54" fmla="*/ 153771 w 982797"/>
                      <a:gd name="connsiteY54" fmla="*/ 685205 h 976639"/>
                      <a:gd name="connsiteX55" fmla="*/ 49028 w 982797"/>
                      <a:gd name="connsiteY55" fmla="*/ 696328 h 976639"/>
                      <a:gd name="connsiteX56" fmla="*/ 42343 w 982797"/>
                      <a:gd name="connsiteY56" fmla="*/ 691879 h 976639"/>
                      <a:gd name="connsiteX57" fmla="*/ 11143 w 982797"/>
                      <a:gd name="connsiteY57" fmla="*/ 609565 h 976639"/>
                      <a:gd name="connsiteX58" fmla="*/ 15600 w 982797"/>
                      <a:gd name="connsiteY58" fmla="*/ 602891 h 976639"/>
                      <a:gd name="connsiteX59" fmla="*/ 104742 w 982797"/>
                      <a:gd name="connsiteY59" fmla="*/ 542824 h 976639"/>
                      <a:gd name="connsiteX60" fmla="*/ 106971 w 982797"/>
                      <a:gd name="connsiteY60" fmla="*/ 536150 h 976639"/>
                      <a:gd name="connsiteX61" fmla="*/ 104742 w 982797"/>
                      <a:gd name="connsiteY61" fmla="*/ 496106 h 976639"/>
                      <a:gd name="connsiteX62" fmla="*/ 102514 w 982797"/>
                      <a:gd name="connsiteY62" fmla="*/ 489432 h 976639"/>
                      <a:gd name="connsiteX63" fmla="*/ 4457 w 982797"/>
                      <a:gd name="connsiteY63" fmla="*/ 444938 h 976639"/>
                      <a:gd name="connsiteX64" fmla="*/ 0 w 982797"/>
                      <a:gd name="connsiteY64" fmla="*/ 440489 h 976639"/>
                      <a:gd name="connsiteX65" fmla="*/ 15600 w 982797"/>
                      <a:gd name="connsiteY65" fmla="*/ 353726 h 976639"/>
                      <a:gd name="connsiteX66" fmla="*/ 20057 w 982797"/>
                      <a:gd name="connsiteY66" fmla="*/ 351501 h 976639"/>
                      <a:gd name="connsiteX67" fmla="*/ 129257 w 982797"/>
                      <a:gd name="connsiteY67" fmla="*/ 342602 h 976639"/>
                      <a:gd name="connsiteX68" fmla="*/ 135942 w 982797"/>
                      <a:gd name="connsiteY68" fmla="*/ 340377 h 976639"/>
                      <a:gd name="connsiteX69" fmla="*/ 151542 w 982797"/>
                      <a:gd name="connsiteY69" fmla="*/ 302558 h 976639"/>
                      <a:gd name="connsiteX70" fmla="*/ 151542 w 982797"/>
                      <a:gd name="connsiteY70" fmla="*/ 295884 h 976639"/>
                      <a:gd name="connsiteX71" fmla="*/ 91371 w 982797"/>
                      <a:gd name="connsiteY71" fmla="*/ 209121 h 976639"/>
                      <a:gd name="connsiteX72" fmla="*/ 91371 w 982797"/>
                      <a:gd name="connsiteY72" fmla="*/ 200222 h 976639"/>
                      <a:gd name="connsiteX73" fmla="*/ 147085 w 982797"/>
                      <a:gd name="connsiteY73" fmla="*/ 133481 h 976639"/>
                      <a:gd name="connsiteX74" fmla="*/ 153771 w 982797"/>
                      <a:gd name="connsiteY74" fmla="*/ 133481 h 976639"/>
                      <a:gd name="connsiteX75" fmla="*/ 249599 w 982797"/>
                      <a:gd name="connsiteY75" fmla="*/ 180200 h 976639"/>
                      <a:gd name="connsiteX76" fmla="*/ 256285 w 982797"/>
                      <a:gd name="connsiteY76" fmla="*/ 180200 h 976639"/>
                      <a:gd name="connsiteX77" fmla="*/ 289713 w 982797"/>
                      <a:gd name="connsiteY77" fmla="*/ 157953 h 976639"/>
                      <a:gd name="connsiteX78" fmla="*/ 283027 w 982797"/>
                      <a:gd name="connsiteY78" fmla="*/ 44493 h 976639"/>
                      <a:gd name="connsiteX79" fmla="*/ 369942 w 982797"/>
                      <a:gd name="connsiteY79" fmla="*/ 11123 h 976639"/>
                      <a:gd name="connsiteX80" fmla="*/ 439027 w 982797"/>
                      <a:gd name="connsiteY80" fmla="*/ 106785 h 976639"/>
                      <a:gd name="connsiteX81" fmla="*/ 481370 w 982797"/>
                      <a:gd name="connsiteY81" fmla="*/ 102335 h 976639"/>
                      <a:gd name="connsiteX82" fmla="*/ 532627 w 982797"/>
                      <a:gd name="connsiteY8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31254 w 982797"/>
                      <a:gd name="connsiteY21" fmla="*/ 678531 h 976639"/>
                      <a:gd name="connsiteX22" fmla="*/ 895883 w 982797"/>
                      <a:gd name="connsiteY22" fmla="*/ 767518 h 976639"/>
                      <a:gd name="connsiteX23" fmla="*/ 895883 w 982797"/>
                      <a:gd name="connsiteY23" fmla="*/ 774192 h 976639"/>
                      <a:gd name="connsiteX24" fmla="*/ 835711 w 982797"/>
                      <a:gd name="connsiteY24" fmla="*/ 840933 h 976639"/>
                      <a:gd name="connsiteX25" fmla="*/ 831254 w 982797"/>
                      <a:gd name="connsiteY25" fmla="*/ 840933 h 976639"/>
                      <a:gd name="connsiteX26" fmla="*/ 733197 w 982797"/>
                      <a:gd name="connsiteY26" fmla="*/ 791990 h 976639"/>
                      <a:gd name="connsiteX27" fmla="*/ 728740 w 982797"/>
                      <a:gd name="connsiteY27" fmla="*/ 791990 h 976639"/>
                      <a:gd name="connsiteX28" fmla="*/ 695312 w 982797"/>
                      <a:gd name="connsiteY28" fmla="*/ 814237 h 976639"/>
                      <a:gd name="connsiteX29" fmla="*/ 690855 w 982797"/>
                      <a:gd name="connsiteY29" fmla="*/ 823135 h 976639"/>
                      <a:gd name="connsiteX30" fmla="*/ 701998 w 982797"/>
                      <a:gd name="connsiteY30" fmla="*/ 929921 h 976639"/>
                      <a:gd name="connsiteX31" fmla="*/ 697540 w 982797"/>
                      <a:gd name="connsiteY31" fmla="*/ 934370 h 976639"/>
                      <a:gd name="connsiteX32" fmla="*/ 612855 w 982797"/>
                      <a:gd name="connsiteY32" fmla="*/ 963291 h 976639"/>
                      <a:gd name="connsiteX33" fmla="*/ 608398 w 982797"/>
                      <a:gd name="connsiteY33" fmla="*/ 963291 h 976639"/>
                      <a:gd name="connsiteX34" fmla="*/ 548227 w 982797"/>
                      <a:gd name="connsiteY34" fmla="*/ 874303 h 976639"/>
                      <a:gd name="connsiteX35" fmla="*/ 543770 w 982797"/>
                      <a:gd name="connsiteY35" fmla="*/ 869854 h 976639"/>
                      <a:gd name="connsiteX36" fmla="*/ 501427 w 982797"/>
                      <a:gd name="connsiteY36" fmla="*/ 874303 h 976639"/>
                      <a:gd name="connsiteX37" fmla="*/ 494741 w 982797"/>
                      <a:gd name="connsiteY37" fmla="*/ 876528 h 976639"/>
                      <a:gd name="connsiteX38" fmla="*/ 450170 w 982797"/>
                      <a:gd name="connsiteY38" fmla="*/ 974414 h 976639"/>
                      <a:gd name="connsiteX39" fmla="*/ 445713 w 982797"/>
                      <a:gd name="connsiteY39" fmla="*/ 976639 h 976639"/>
                      <a:gd name="connsiteX40" fmla="*/ 356570 w 982797"/>
                      <a:gd name="connsiteY40" fmla="*/ 958842 h 976639"/>
                      <a:gd name="connsiteX41" fmla="*/ 352113 w 982797"/>
                      <a:gd name="connsiteY41" fmla="*/ 956617 h 976639"/>
                      <a:gd name="connsiteX42" fmla="*/ 347656 w 982797"/>
                      <a:gd name="connsiteY42" fmla="*/ 847607 h 976639"/>
                      <a:gd name="connsiteX43" fmla="*/ 340970 w 982797"/>
                      <a:gd name="connsiteY43" fmla="*/ 843158 h 976639"/>
                      <a:gd name="connsiteX44" fmla="*/ 305313 w 982797"/>
                      <a:gd name="connsiteY44" fmla="*/ 825360 h 976639"/>
                      <a:gd name="connsiteX45" fmla="*/ 296399 w 982797"/>
                      <a:gd name="connsiteY45" fmla="*/ 825360 h 976639"/>
                      <a:gd name="connsiteX46" fmla="*/ 211713 w 982797"/>
                      <a:gd name="connsiteY46" fmla="*/ 887652 h 976639"/>
                      <a:gd name="connsiteX47" fmla="*/ 205028 w 982797"/>
                      <a:gd name="connsiteY47" fmla="*/ 887652 h 976639"/>
                      <a:gd name="connsiteX48" fmla="*/ 138171 w 982797"/>
                      <a:gd name="connsiteY48" fmla="*/ 829810 h 976639"/>
                      <a:gd name="connsiteX49" fmla="*/ 135942 w 982797"/>
                      <a:gd name="connsiteY49" fmla="*/ 823135 h 976639"/>
                      <a:gd name="connsiteX50" fmla="*/ 182742 w 982797"/>
                      <a:gd name="connsiteY50" fmla="*/ 725249 h 976639"/>
                      <a:gd name="connsiteX51" fmla="*/ 182742 w 982797"/>
                      <a:gd name="connsiteY51" fmla="*/ 720800 h 976639"/>
                      <a:gd name="connsiteX52" fmla="*/ 160457 w 982797"/>
                      <a:gd name="connsiteY52" fmla="*/ 687429 h 976639"/>
                      <a:gd name="connsiteX53" fmla="*/ 153771 w 982797"/>
                      <a:gd name="connsiteY53" fmla="*/ 685205 h 976639"/>
                      <a:gd name="connsiteX54" fmla="*/ 49028 w 982797"/>
                      <a:gd name="connsiteY54" fmla="*/ 696328 h 976639"/>
                      <a:gd name="connsiteX55" fmla="*/ 42343 w 982797"/>
                      <a:gd name="connsiteY55" fmla="*/ 691879 h 976639"/>
                      <a:gd name="connsiteX56" fmla="*/ 11143 w 982797"/>
                      <a:gd name="connsiteY56" fmla="*/ 609565 h 976639"/>
                      <a:gd name="connsiteX57" fmla="*/ 15600 w 982797"/>
                      <a:gd name="connsiteY57" fmla="*/ 602891 h 976639"/>
                      <a:gd name="connsiteX58" fmla="*/ 104742 w 982797"/>
                      <a:gd name="connsiteY58" fmla="*/ 542824 h 976639"/>
                      <a:gd name="connsiteX59" fmla="*/ 106971 w 982797"/>
                      <a:gd name="connsiteY59" fmla="*/ 536150 h 976639"/>
                      <a:gd name="connsiteX60" fmla="*/ 104742 w 982797"/>
                      <a:gd name="connsiteY60" fmla="*/ 496106 h 976639"/>
                      <a:gd name="connsiteX61" fmla="*/ 102514 w 982797"/>
                      <a:gd name="connsiteY61" fmla="*/ 489432 h 976639"/>
                      <a:gd name="connsiteX62" fmla="*/ 4457 w 982797"/>
                      <a:gd name="connsiteY62" fmla="*/ 444938 h 976639"/>
                      <a:gd name="connsiteX63" fmla="*/ 0 w 982797"/>
                      <a:gd name="connsiteY63" fmla="*/ 440489 h 976639"/>
                      <a:gd name="connsiteX64" fmla="*/ 15600 w 982797"/>
                      <a:gd name="connsiteY64" fmla="*/ 353726 h 976639"/>
                      <a:gd name="connsiteX65" fmla="*/ 20057 w 982797"/>
                      <a:gd name="connsiteY65" fmla="*/ 351501 h 976639"/>
                      <a:gd name="connsiteX66" fmla="*/ 129257 w 982797"/>
                      <a:gd name="connsiteY66" fmla="*/ 342602 h 976639"/>
                      <a:gd name="connsiteX67" fmla="*/ 135942 w 982797"/>
                      <a:gd name="connsiteY67" fmla="*/ 340377 h 976639"/>
                      <a:gd name="connsiteX68" fmla="*/ 151542 w 982797"/>
                      <a:gd name="connsiteY68" fmla="*/ 302558 h 976639"/>
                      <a:gd name="connsiteX69" fmla="*/ 151542 w 982797"/>
                      <a:gd name="connsiteY69" fmla="*/ 295884 h 976639"/>
                      <a:gd name="connsiteX70" fmla="*/ 91371 w 982797"/>
                      <a:gd name="connsiteY70" fmla="*/ 209121 h 976639"/>
                      <a:gd name="connsiteX71" fmla="*/ 91371 w 982797"/>
                      <a:gd name="connsiteY71" fmla="*/ 200222 h 976639"/>
                      <a:gd name="connsiteX72" fmla="*/ 147085 w 982797"/>
                      <a:gd name="connsiteY72" fmla="*/ 133481 h 976639"/>
                      <a:gd name="connsiteX73" fmla="*/ 153771 w 982797"/>
                      <a:gd name="connsiteY73" fmla="*/ 133481 h 976639"/>
                      <a:gd name="connsiteX74" fmla="*/ 249599 w 982797"/>
                      <a:gd name="connsiteY74" fmla="*/ 180200 h 976639"/>
                      <a:gd name="connsiteX75" fmla="*/ 256285 w 982797"/>
                      <a:gd name="connsiteY75" fmla="*/ 180200 h 976639"/>
                      <a:gd name="connsiteX76" fmla="*/ 289713 w 982797"/>
                      <a:gd name="connsiteY76" fmla="*/ 157953 h 976639"/>
                      <a:gd name="connsiteX77" fmla="*/ 283027 w 982797"/>
                      <a:gd name="connsiteY77" fmla="*/ 44493 h 976639"/>
                      <a:gd name="connsiteX78" fmla="*/ 369942 w 982797"/>
                      <a:gd name="connsiteY78" fmla="*/ 11123 h 976639"/>
                      <a:gd name="connsiteX79" fmla="*/ 439027 w 982797"/>
                      <a:gd name="connsiteY79" fmla="*/ 106785 h 976639"/>
                      <a:gd name="connsiteX80" fmla="*/ 481370 w 982797"/>
                      <a:gd name="connsiteY80" fmla="*/ 102335 h 976639"/>
                      <a:gd name="connsiteX81" fmla="*/ 532627 w 982797"/>
                      <a:gd name="connsiteY8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67518 h 976639"/>
                      <a:gd name="connsiteX22" fmla="*/ 895883 w 982797"/>
                      <a:gd name="connsiteY22" fmla="*/ 774192 h 976639"/>
                      <a:gd name="connsiteX23" fmla="*/ 835711 w 982797"/>
                      <a:gd name="connsiteY23" fmla="*/ 840933 h 976639"/>
                      <a:gd name="connsiteX24" fmla="*/ 831254 w 982797"/>
                      <a:gd name="connsiteY24" fmla="*/ 840933 h 976639"/>
                      <a:gd name="connsiteX25" fmla="*/ 733197 w 982797"/>
                      <a:gd name="connsiteY25" fmla="*/ 791990 h 976639"/>
                      <a:gd name="connsiteX26" fmla="*/ 728740 w 982797"/>
                      <a:gd name="connsiteY26" fmla="*/ 791990 h 976639"/>
                      <a:gd name="connsiteX27" fmla="*/ 695312 w 982797"/>
                      <a:gd name="connsiteY27" fmla="*/ 814237 h 976639"/>
                      <a:gd name="connsiteX28" fmla="*/ 690855 w 982797"/>
                      <a:gd name="connsiteY28" fmla="*/ 823135 h 976639"/>
                      <a:gd name="connsiteX29" fmla="*/ 701998 w 982797"/>
                      <a:gd name="connsiteY29" fmla="*/ 929921 h 976639"/>
                      <a:gd name="connsiteX30" fmla="*/ 697540 w 982797"/>
                      <a:gd name="connsiteY30" fmla="*/ 934370 h 976639"/>
                      <a:gd name="connsiteX31" fmla="*/ 612855 w 982797"/>
                      <a:gd name="connsiteY31" fmla="*/ 963291 h 976639"/>
                      <a:gd name="connsiteX32" fmla="*/ 608398 w 982797"/>
                      <a:gd name="connsiteY32" fmla="*/ 963291 h 976639"/>
                      <a:gd name="connsiteX33" fmla="*/ 548227 w 982797"/>
                      <a:gd name="connsiteY33" fmla="*/ 874303 h 976639"/>
                      <a:gd name="connsiteX34" fmla="*/ 543770 w 982797"/>
                      <a:gd name="connsiteY34" fmla="*/ 869854 h 976639"/>
                      <a:gd name="connsiteX35" fmla="*/ 501427 w 982797"/>
                      <a:gd name="connsiteY35" fmla="*/ 874303 h 976639"/>
                      <a:gd name="connsiteX36" fmla="*/ 494741 w 982797"/>
                      <a:gd name="connsiteY36" fmla="*/ 876528 h 976639"/>
                      <a:gd name="connsiteX37" fmla="*/ 450170 w 982797"/>
                      <a:gd name="connsiteY37" fmla="*/ 974414 h 976639"/>
                      <a:gd name="connsiteX38" fmla="*/ 445713 w 982797"/>
                      <a:gd name="connsiteY38" fmla="*/ 976639 h 976639"/>
                      <a:gd name="connsiteX39" fmla="*/ 356570 w 982797"/>
                      <a:gd name="connsiteY39" fmla="*/ 958842 h 976639"/>
                      <a:gd name="connsiteX40" fmla="*/ 352113 w 982797"/>
                      <a:gd name="connsiteY40" fmla="*/ 956617 h 976639"/>
                      <a:gd name="connsiteX41" fmla="*/ 347656 w 982797"/>
                      <a:gd name="connsiteY41" fmla="*/ 847607 h 976639"/>
                      <a:gd name="connsiteX42" fmla="*/ 340970 w 982797"/>
                      <a:gd name="connsiteY42" fmla="*/ 843158 h 976639"/>
                      <a:gd name="connsiteX43" fmla="*/ 305313 w 982797"/>
                      <a:gd name="connsiteY43" fmla="*/ 825360 h 976639"/>
                      <a:gd name="connsiteX44" fmla="*/ 296399 w 982797"/>
                      <a:gd name="connsiteY44" fmla="*/ 825360 h 976639"/>
                      <a:gd name="connsiteX45" fmla="*/ 211713 w 982797"/>
                      <a:gd name="connsiteY45" fmla="*/ 887652 h 976639"/>
                      <a:gd name="connsiteX46" fmla="*/ 205028 w 982797"/>
                      <a:gd name="connsiteY46" fmla="*/ 887652 h 976639"/>
                      <a:gd name="connsiteX47" fmla="*/ 138171 w 982797"/>
                      <a:gd name="connsiteY47" fmla="*/ 829810 h 976639"/>
                      <a:gd name="connsiteX48" fmla="*/ 135942 w 982797"/>
                      <a:gd name="connsiteY48" fmla="*/ 823135 h 976639"/>
                      <a:gd name="connsiteX49" fmla="*/ 182742 w 982797"/>
                      <a:gd name="connsiteY49" fmla="*/ 725249 h 976639"/>
                      <a:gd name="connsiteX50" fmla="*/ 182742 w 982797"/>
                      <a:gd name="connsiteY50" fmla="*/ 720800 h 976639"/>
                      <a:gd name="connsiteX51" fmla="*/ 160457 w 982797"/>
                      <a:gd name="connsiteY51" fmla="*/ 687429 h 976639"/>
                      <a:gd name="connsiteX52" fmla="*/ 153771 w 982797"/>
                      <a:gd name="connsiteY52" fmla="*/ 685205 h 976639"/>
                      <a:gd name="connsiteX53" fmla="*/ 49028 w 982797"/>
                      <a:gd name="connsiteY53" fmla="*/ 696328 h 976639"/>
                      <a:gd name="connsiteX54" fmla="*/ 42343 w 982797"/>
                      <a:gd name="connsiteY54" fmla="*/ 691879 h 976639"/>
                      <a:gd name="connsiteX55" fmla="*/ 11143 w 982797"/>
                      <a:gd name="connsiteY55" fmla="*/ 609565 h 976639"/>
                      <a:gd name="connsiteX56" fmla="*/ 15600 w 982797"/>
                      <a:gd name="connsiteY56" fmla="*/ 602891 h 976639"/>
                      <a:gd name="connsiteX57" fmla="*/ 104742 w 982797"/>
                      <a:gd name="connsiteY57" fmla="*/ 542824 h 976639"/>
                      <a:gd name="connsiteX58" fmla="*/ 106971 w 982797"/>
                      <a:gd name="connsiteY58" fmla="*/ 536150 h 976639"/>
                      <a:gd name="connsiteX59" fmla="*/ 104742 w 982797"/>
                      <a:gd name="connsiteY59" fmla="*/ 496106 h 976639"/>
                      <a:gd name="connsiteX60" fmla="*/ 102514 w 982797"/>
                      <a:gd name="connsiteY60" fmla="*/ 489432 h 976639"/>
                      <a:gd name="connsiteX61" fmla="*/ 4457 w 982797"/>
                      <a:gd name="connsiteY61" fmla="*/ 444938 h 976639"/>
                      <a:gd name="connsiteX62" fmla="*/ 0 w 982797"/>
                      <a:gd name="connsiteY62" fmla="*/ 440489 h 976639"/>
                      <a:gd name="connsiteX63" fmla="*/ 15600 w 982797"/>
                      <a:gd name="connsiteY63" fmla="*/ 353726 h 976639"/>
                      <a:gd name="connsiteX64" fmla="*/ 20057 w 982797"/>
                      <a:gd name="connsiteY64" fmla="*/ 351501 h 976639"/>
                      <a:gd name="connsiteX65" fmla="*/ 129257 w 982797"/>
                      <a:gd name="connsiteY65" fmla="*/ 342602 h 976639"/>
                      <a:gd name="connsiteX66" fmla="*/ 135942 w 982797"/>
                      <a:gd name="connsiteY66" fmla="*/ 340377 h 976639"/>
                      <a:gd name="connsiteX67" fmla="*/ 151542 w 982797"/>
                      <a:gd name="connsiteY67" fmla="*/ 302558 h 976639"/>
                      <a:gd name="connsiteX68" fmla="*/ 151542 w 982797"/>
                      <a:gd name="connsiteY68" fmla="*/ 295884 h 976639"/>
                      <a:gd name="connsiteX69" fmla="*/ 91371 w 982797"/>
                      <a:gd name="connsiteY69" fmla="*/ 209121 h 976639"/>
                      <a:gd name="connsiteX70" fmla="*/ 91371 w 982797"/>
                      <a:gd name="connsiteY70" fmla="*/ 200222 h 976639"/>
                      <a:gd name="connsiteX71" fmla="*/ 147085 w 982797"/>
                      <a:gd name="connsiteY71" fmla="*/ 133481 h 976639"/>
                      <a:gd name="connsiteX72" fmla="*/ 153771 w 982797"/>
                      <a:gd name="connsiteY72" fmla="*/ 133481 h 976639"/>
                      <a:gd name="connsiteX73" fmla="*/ 249599 w 982797"/>
                      <a:gd name="connsiteY73" fmla="*/ 180200 h 976639"/>
                      <a:gd name="connsiteX74" fmla="*/ 256285 w 982797"/>
                      <a:gd name="connsiteY74" fmla="*/ 180200 h 976639"/>
                      <a:gd name="connsiteX75" fmla="*/ 289713 w 982797"/>
                      <a:gd name="connsiteY75" fmla="*/ 157953 h 976639"/>
                      <a:gd name="connsiteX76" fmla="*/ 283027 w 982797"/>
                      <a:gd name="connsiteY76" fmla="*/ 44493 h 976639"/>
                      <a:gd name="connsiteX77" fmla="*/ 369942 w 982797"/>
                      <a:gd name="connsiteY77" fmla="*/ 11123 h 976639"/>
                      <a:gd name="connsiteX78" fmla="*/ 439027 w 982797"/>
                      <a:gd name="connsiteY78" fmla="*/ 106785 h 976639"/>
                      <a:gd name="connsiteX79" fmla="*/ 481370 w 982797"/>
                      <a:gd name="connsiteY79" fmla="*/ 102335 h 976639"/>
                      <a:gd name="connsiteX80" fmla="*/ 532627 w 982797"/>
                      <a:gd name="connsiteY80"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831254 w 982797"/>
                      <a:gd name="connsiteY23" fmla="*/ 840933 h 976639"/>
                      <a:gd name="connsiteX24" fmla="*/ 733197 w 982797"/>
                      <a:gd name="connsiteY24" fmla="*/ 791990 h 976639"/>
                      <a:gd name="connsiteX25" fmla="*/ 728740 w 982797"/>
                      <a:gd name="connsiteY25" fmla="*/ 791990 h 976639"/>
                      <a:gd name="connsiteX26" fmla="*/ 695312 w 982797"/>
                      <a:gd name="connsiteY26" fmla="*/ 814237 h 976639"/>
                      <a:gd name="connsiteX27" fmla="*/ 690855 w 982797"/>
                      <a:gd name="connsiteY27" fmla="*/ 823135 h 976639"/>
                      <a:gd name="connsiteX28" fmla="*/ 701998 w 982797"/>
                      <a:gd name="connsiteY28" fmla="*/ 929921 h 976639"/>
                      <a:gd name="connsiteX29" fmla="*/ 697540 w 982797"/>
                      <a:gd name="connsiteY29" fmla="*/ 934370 h 976639"/>
                      <a:gd name="connsiteX30" fmla="*/ 612855 w 982797"/>
                      <a:gd name="connsiteY30" fmla="*/ 963291 h 976639"/>
                      <a:gd name="connsiteX31" fmla="*/ 608398 w 982797"/>
                      <a:gd name="connsiteY31" fmla="*/ 963291 h 976639"/>
                      <a:gd name="connsiteX32" fmla="*/ 548227 w 982797"/>
                      <a:gd name="connsiteY32" fmla="*/ 874303 h 976639"/>
                      <a:gd name="connsiteX33" fmla="*/ 543770 w 982797"/>
                      <a:gd name="connsiteY33" fmla="*/ 869854 h 976639"/>
                      <a:gd name="connsiteX34" fmla="*/ 501427 w 982797"/>
                      <a:gd name="connsiteY34" fmla="*/ 874303 h 976639"/>
                      <a:gd name="connsiteX35" fmla="*/ 494741 w 982797"/>
                      <a:gd name="connsiteY35" fmla="*/ 876528 h 976639"/>
                      <a:gd name="connsiteX36" fmla="*/ 450170 w 982797"/>
                      <a:gd name="connsiteY36" fmla="*/ 974414 h 976639"/>
                      <a:gd name="connsiteX37" fmla="*/ 445713 w 982797"/>
                      <a:gd name="connsiteY37" fmla="*/ 976639 h 976639"/>
                      <a:gd name="connsiteX38" fmla="*/ 356570 w 982797"/>
                      <a:gd name="connsiteY38" fmla="*/ 958842 h 976639"/>
                      <a:gd name="connsiteX39" fmla="*/ 352113 w 982797"/>
                      <a:gd name="connsiteY39" fmla="*/ 956617 h 976639"/>
                      <a:gd name="connsiteX40" fmla="*/ 347656 w 982797"/>
                      <a:gd name="connsiteY40" fmla="*/ 847607 h 976639"/>
                      <a:gd name="connsiteX41" fmla="*/ 340970 w 982797"/>
                      <a:gd name="connsiteY41" fmla="*/ 843158 h 976639"/>
                      <a:gd name="connsiteX42" fmla="*/ 305313 w 982797"/>
                      <a:gd name="connsiteY42" fmla="*/ 825360 h 976639"/>
                      <a:gd name="connsiteX43" fmla="*/ 296399 w 982797"/>
                      <a:gd name="connsiteY43" fmla="*/ 825360 h 976639"/>
                      <a:gd name="connsiteX44" fmla="*/ 211713 w 982797"/>
                      <a:gd name="connsiteY44" fmla="*/ 887652 h 976639"/>
                      <a:gd name="connsiteX45" fmla="*/ 205028 w 982797"/>
                      <a:gd name="connsiteY45" fmla="*/ 887652 h 976639"/>
                      <a:gd name="connsiteX46" fmla="*/ 138171 w 982797"/>
                      <a:gd name="connsiteY46" fmla="*/ 829810 h 976639"/>
                      <a:gd name="connsiteX47" fmla="*/ 135942 w 982797"/>
                      <a:gd name="connsiteY47" fmla="*/ 823135 h 976639"/>
                      <a:gd name="connsiteX48" fmla="*/ 182742 w 982797"/>
                      <a:gd name="connsiteY48" fmla="*/ 725249 h 976639"/>
                      <a:gd name="connsiteX49" fmla="*/ 182742 w 982797"/>
                      <a:gd name="connsiteY49" fmla="*/ 720800 h 976639"/>
                      <a:gd name="connsiteX50" fmla="*/ 160457 w 982797"/>
                      <a:gd name="connsiteY50" fmla="*/ 687429 h 976639"/>
                      <a:gd name="connsiteX51" fmla="*/ 153771 w 982797"/>
                      <a:gd name="connsiteY51" fmla="*/ 685205 h 976639"/>
                      <a:gd name="connsiteX52" fmla="*/ 49028 w 982797"/>
                      <a:gd name="connsiteY52" fmla="*/ 696328 h 976639"/>
                      <a:gd name="connsiteX53" fmla="*/ 42343 w 982797"/>
                      <a:gd name="connsiteY53" fmla="*/ 691879 h 976639"/>
                      <a:gd name="connsiteX54" fmla="*/ 11143 w 982797"/>
                      <a:gd name="connsiteY54" fmla="*/ 609565 h 976639"/>
                      <a:gd name="connsiteX55" fmla="*/ 15600 w 982797"/>
                      <a:gd name="connsiteY55" fmla="*/ 602891 h 976639"/>
                      <a:gd name="connsiteX56" fmla="*/ 104742 w 982797"/>
                      <a:gd name="connsiteY56" fmla="*/ 542824 h 976639"/>
                      <a:gd name="connsiteX57" fmla="*/ 106971 w 982797"/>
                      <a:gd name="connsiteY57" fmla="*/ 536150 h 976639"/>
                      <a:gd name="connsiteX58" fmla="*/ 104742 w 982797"/>
                      <a:gd name="connsiteY58" fmla="*/ 496106 h 976639"/>
                      <a:gd name="connsiteX59" fmla="*/ 102514 w 982797"/>
                      <a:gd name="connsiteY59" fmla="*/ 489432 h 976639"/>
                      <a:gd name="connsiteX60" fmla="*/ 4457 w 982797"/>
                      <a:gd name="connsiteY60" fmla="*/ 444938 h 976639"/>
                      <a:gd name="connsiteX61" fmla="*/ 0 w 982797"/>
                      <a:gd name="connsiteY61" fmla="*/ 440489 h 976639"/>
                      <a:gd name="connsiteX62" fmla="*/ 15600 w 982797"/>
                      <a:gd name="connsiteY62" fmla="*/ 353726 h 976639"/>
                      <a:gd name="connsiteX63" fmla="*/ 20057 w 982797"/>
                      <a:gd name="connsiteY63" fmla="*/ 351501 h 976639"/>
                      <a:gd name="connsiteX64" fmla="*/ 129257 w 982797"/>
                      <a:gd name="connsiteY64" fmla="*/ 342602 h 976639"/>
                      <a:gd name="connsiteX65" fmla="*/ 135942 w 982797"/>
                      <a:gd name="connsiteY65" fmla="*/ 340377 h 976639"/>
                      <a:gd name="connsiteX66" fmla="*/ 151542 w 982797"/>
                      <a:gd name="connsiteY66" fmla="*/ 302558 h 976639"/>
                      <a:gd name="connsiteX67" fmla="*/ 151542 w 982797"/>
                      <a:gd name="connsiteY67" fmla="*/ 295884 h 976639"/>
                      <a:gd name="connsiteX68" fmla="*/ 91371 w 982797"/>
                      <a:gd name="connsiteY68" fmla="*/ 209121 h 976639"/>
                      <a:gd name="connsiteX69" fmla="*/ 91371 w 982797"/>
                      <a:gd name="connsiteY69" fmla="*/ 200222 h 976639"/>
                      <a:gd name="connsiteX70" fmla="*/ 147085 w 982797"/>
                      <a:gd name="connsiteY70" fmla="*/ 133481 h 976639"/>
                      <a:gd name="connsiteX71" fmla="*/ 153771 w 982797"/>
                      <a:gd name="connsiteY71" fmla="*/ 133481 h 976639"/>
                      <a:gd name="connsiteX72" fmla="*/ 249599 w 982797"/>
                      <a:gd name="connsiteY72" fmla="*/ 180200 h 976639"/>
                      <a:gd name="connsiteX73" fmla="*/ 256285 w 982797"/>
                      <a:gd name="connsiteY73" fmla="*/ 180200 h 976639"/>
                      <a:gd name="connsiteX74" fmla="*/ 289713 w 982797"/>
                      <a:gd name="connsiteY74" fmla="*/ 157953 h 976639"/>
                      <a:gd name="connsiteX75" fmla="*/ 283027 w 982797"/>
                      <a:gd name="connsiteY75" fmla="*/ 44493 h 976639"/>
                      <a:gd name="connsiteX76" fmla="*/ 369942 w 982797"/>
                      <a:gd name="connsiteY76" fmla="*/ 11123 h 976639"/>
                      <a:gd name="connsiteX77" fmla="*/ 439027 w 982797"/>
                      <a:gd name="connsiteY77" fmla="*/ 106785 h 976639"/>
                      <a:gd name="connsiteX78" fmla="*/ 481370 w 982797"/>
                      <a:gd name="connsiteY78" fmla="*/ 102335 h 976639"/>
                      <a:gd name="connsiteX79" fmla="*/ 532627 w 982797"/>
                      <a:gd name="connsiteY79"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33197 w 982797"/>
                      <a:gd name="connsiteY23" fmla="*/ 791990 h 976639"/>
                      <a:gd name="connsiteX24" fmla="*/ 728740 w 982797"/>
                      <a:gd name="connsiteY24" fmla="*/ 791990 h 976639"/>
                      <a:gd name="connsiteX25" fmla="*/ 695312 w 982797"/>
                      <a:gd name="connsiteY25" fmla="*/ 814237 h 976639"/>
                      <a:gd name="connsiteX26" fmla="*/ 690855 w 982797"/>
                      <a:gd name="connsiteY26" fmla="*/ 823135 h 976639"/>
                      <a:gd name="connsiteX27" fmla="*/ 701998 w 982797"/>
                      <a:gd name="connsiteY27" fmla="*/ 929921 h 976639"/>
                      <a:gd name="connsiteX28" fmla="*/ 697540 w 982797"/>
                      <a:gd name="connsiteY28" fmla="*/ 934370 h 976639"/>
                      <a:gd name="connsiteX29" fmla="*/ 612855 w 982797"/>
                      <a:gd name="connsiteY29" fmla="*/ 963291 h 976639"/>
                      <a:gd name="connsiteX30" fmla="*/ 608398 w 982797"/>
                      <a:gd name="connsiteY30" fmla="*/ 963291 h 976639"/>
                      <a:gd name="connsiteX31" fmla="*/ 548227 w 982797"/>
                      <a:gd name="connsiteY31" fmla="*/ 874303 h 976639"/>
                      <a:gd name="connsiteX32" fmla="*/ 543770 w 982797"/>
                      <a:gd name="connsiteY32" fmla="*/ 869854 h 976639"/>
                      <a:gd name="connsiteX33" fmla="*/ 501427 w 982797"/>
                      <a:gd name="connsiteY33" fmla="*/ 874303 h 976639"/>
                      <a:gd name="connsiteX34" fmla="*/ 494741 w 982797"/>
                      <a:gd name="connsiteY34" fmla="*/ 876528 h 976639"/>
                      <a:gd name="connsiteX35" fmla="*/ 450170 w 982797"/>
                      <a:gd name="connsiteY35" fmla="*/ 974414 h 976639"/>
                      <a:gd name="connsiteX36" fmla="*/ 445713 w 982797"/>
                      <a:gd name="connsiteY36" fmla="*/ 976639 h 976639"/>
                      <a:gd name="connsiteX37" fmla="*/ 356570 w 982797"/>
                      <a:gd name="connsiteY37" fmla="*/ 958842 h 976639"/>
                      <a:gd name="connsiteX38" fmla="*/ 352113 w 982797"/>
                      <a:gd name="connsiteY38" fmla="*/ 956617 h 976639"/>
                      <a:gd name="connsiteX39" fmla="*/ 347656 w 982797"/>
                      <a:gd name="connsiteY39" fmla="*/ 847607 h 976639"/>
                      <a:gd name="connsiteX40" fmla="*/ 340970 w 982797"/>
                      <a:gd name="connsiteY40" fmla="*/ 843158 h 976639"/>
                      <a:gd name="connsiteX41" fmla="*/ 305313 w 982797"/>
                      <a:gd name="connsiteY41" fmla="*/ 825360 h 976639"/>
                      <a:gd name="connsiteX42" fmla="*/ 296399 w 982797"/>
                      <a:gd name="connsiteY42" fmla="*/ 825360 h 976639"/>
                      <a:gd name="connsiteX43" fmla="*/ 211713 w 982797"/>
                      <a:gd name="connsiteY43" fmla="*/ 887652 h 976639"/>
                      <a:gd name="connsiteX44" fmla="*/ 205028 w 982797"/>
                      <a:gd name="connsiteY44" fmla="*/ 887652 h 976639"/>
                      <a:gd name="connsiteX45" fmla="*/ 138171 w 982797"/>
                      <a:gd name="connsiteY45" fmla="*/ 829810 h 976639"/>
                      <a:gd name="connsiteX46" fmla="*/ 135942 w 982797"/>
                      <a:gd name="connsiteY46" fmla="*/ 823135 h 976639"/>
                      <a:gd name="connsiteX47" fmla="*/ 182742 w 982797"/>
                      <a:gd name="connsiteY47" fmla="*/ 725249 h 976639"/>
                      <a:gd name="connsiteX48" fmla="*/ 182742 w 982797"/>
                      <a:gd name="connsiteY48" fmla="*/ 720800 h 976639"/>
                      <a:gd name="connsiteX49" fmla="*/ 160457 w 982797"/>
                      <a:gd name="connsiteY49" fmla="*/ 687429 h 976639"/>
                      <a:gd name="connsiteX50" fmla="*/ 153771 w 982797"/>
                      <a:gd name="connsiteY50" fmla="*/ 685205 h 976639"/>
                      <a:gd name="connsiteX51" fmla="*/ 49028 w 982797"/>
                      <a:gd name="connsiteY51" fmla="*/ 696328 h 976639"/>
                      <a:gd name="connsiteX52" fmla="*/ 42343 w 982797"/>
                      <a:gd name="connsiteY52" fmla="*/ 691879 h 976639"/>
                      <a:gd name="connsiteX53" fmla="*/ 11143 w 982797"/>
                      <a:gd name="connsiteY53" fmla="*/ 609565 h 976639"/>
                      <a:gd name="connsiteX54" fmla="*/ 15600 w 982797"/>
                      <a:gd name="connsiteY54" fmla="*/ 602891 h 976639"/>
                      <a:gd name="connsiteX55" fmla="*/ 104742 w 982797"/>
                      <a:gd name="connsiteY55" fmla="*/ 542824 h 976639"/>
                      <a:gd name="connsiteX56" fmla="*/ 106971 w 982797"/>
                      <a:gd name="connsiteY56" fmla="*/ 536150 h 976639"/>
                      <a:gd name="connsiteX57" fmla="*/ 104742 w 982797"/>
                      <a:gd name="connsiteY57" fmla="*/ 496106 h 976639"/>
                      <a:gd name="connsiteX58" fmla="*/ 102514 w 982797"/>
                      <a:gd name="connsiteY58" fmla="*/ 489432 h 976639"/>
                      <a:gd name="connsiteX59" fmla="*/ 4457 w 982797"/>
                      <a:gd name="connsiteY59" fmla="*/ 444938 h 976639"/>
                      <a:gd name="connsiteX60" fmla="*/ 0 w 982797"/>
                      <a:gd name="connsiteY60" fmla="*/ 440489 h 976639"/>
                      <a:gd name="connsiteX61" fmla="*/ 15600 w 982797"/>
                      <a:gd name="connsiteY61" fmla="*/ 353726 h 976639"/>
                      <a:gd name="connsiteX62" fmla="*/ 20057 w 982797"/>
                      <a:gd name="connsiteY62" fmla="*/ 351501 h 976639"/>
                      <a:gd name="connsiteX63" fmla="*/ 129257 w 982797"/>
                      <a:gd name="connsiteY63" fmla="*/ 342602 h 976639"/>
                      <a:gd name="connsiteX64" fmla="*/ 135942 w 982797"/>
                      <a:gd name="connsiteY64" fmla="*/ 340377 h 976639"/>
                      <a:gd name="connsiteX65" fmla="*/ 151542 w 982797"/>
                      <a:gd name="connsiteY65" fmla="*/ 302558 h 976639"/>
                      <a:gd name="connsiteX66" fmla="*/ 151542 w 982797"/>
                      <a:gd name="connsiteY66" fmla="*/ 295884 h 976639"/>
                      <a:gd name="connsiteX67" fmla="*/ 91371 w 982797"/>
                      <a:gd name="connsiteY67" fmla="*/ 209121 h 976639"/>
                      <a:gd name="connsiteX68" fmla="*/ 91371 w 982797"/>
                      <a:gd name="connsiteY68" fmla="*/ 200222 h 976639"/>
                      <a:gd name="connsiteX69" fmla="*/ 147085 w 982797"/>
                      <a:gd name="connsiteY69" fmla="*/ 133481 h 976639"/>
                      <a:gd name="connsiteX70" fmla="*/ 153771 w 982797"/>
                      <a:gd name="connsiteY70" fmla="*/ 133481 h 976639"/>
                      <a:gd name="connsiteX71" fmla="*/ 249599 w 982797"/>
                      <a:gd name="connsiteY71" fmla="*/ 180200 h 976639"/>
                      <a:gd name="connsiteX72" fmla="*/ 256285 w 982797"/>
                      <a:gd name="connsiteY72" fmla="*/ 180200 h 976639"/>
                      <a:gd name="connsiteX73" fmla="*/ 289713 w 982797"/>
                      <a:gd name="connsiteY73" fmla="*/ 157953 h 976639"/>
                      <a:gd name="connsiteX74" fmla="*/ 283027 w 982797"/>
                      <a:gd name="connsiteY74" fmla="*/ 44493 h 976639"/>
                      <a:gd name="connsiteX75" fmla="*/ 369942 w 982797"/>
                      <a:gd name="connsiteY75" fmla="*/ 11123 h 976639"/>
                      <a:gd name="connsiteX76" fmla="*/ 439027 w 982797"/>
                      <a:gd name="connsiteY76" fmla="*/ 106785 h 976639"/>
                      <a:gd name="connsiteX77" fmla="*/ 481370 w 982797"/>
                      <a:gd name="connsiteY77" fmla="*/ 102335 h 976639"/>
                      <a:gd name="connsiteX78" fmla="*/ 532627 w 982797"/>
                      <a:gd name="connsiteY78"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5312 w 982797"/>
                      <a:gd name="connsiteY24" fmla="*/ 814237 h 976639"/>
                      <a:gd name="connsiteX25" fmla="*/ 690855 w 982797"/>
                      <a:gd name="connsiteY25" fmla="*/ 823135 h 976639"/>
                      <a:gd name="connsiteX26" fmla="*/ 701998 w 982797"/>
                      <a:gd name="connsiteY26" fmla="*/ 929921 h 976639"/>
                      <a:gd name="connsiteX27" fmla="*/ 697540 w 982797"/>
                      <a:gd name="connsiteY27" fmla="*/ 934370 h 976639"/>
                      <a:gd name="connsiteX28" fmla="*/ 612855 w 982797"/>
                      <a:gd name="connsiteY28" fmla="*/ 963291 h 976639"/>
                      <a:gd name="connsiteX29" fmla="*/ 608398 w 982797"/>
                      <a:gd name="connsiteY29" fmla="*/ 963291 h 976639"/>
                      <a:gd name="connsiteX30" fmla="*/ 548227 w 982797"/>
                      <a:gd name="connsiteY30" fmla="*/ 874303 h 976639"/>
                      <a:gd name="connsiteX31" fmla="*/ 543770 w 982797"/>
                      <a:gd name="connsiteY31" fmla="*/ 869854 h 976639"/>
                      <a:gd name="connsiteX32" fmla="*/ 501427 w 982797"/>
                      <a:gd name="connsiteY32" fmla="*/ 874303 h 976639"/>
                      <a:gd name="connsiteX33" fmla="*/ 494741 w 982797"/>
                      <a:gd name="connsiteY33" fmla="*/ 876528 h 976639"/>
                      <a:gd name="connsiteX34" fmla="*/ 450170 w 982797"/>
                      <a:gd name="connsiteY34" fmla="*/ 974414 h 976639"/>
                      <a:gd name="connsiteX35" fmla="*/ 445713 w 982797"/>
                      <a:gd name="connsiteY35" fmla="*/ 976639 h 976639"/>
                      <a:gd name="connsiteX36" fmla="*/ 356570 w 982797"/>
                      <a:gd name="connsiteY36" fmla="*/ 958842 h 976639"/>
                      <a:gd name="connsiteX37" fmla="*/ 352113 w 982797"/>
                      <a:gd name="connsiteY37" fmla="*/ 956617 h 976639"/>
                      <a:gd name="connsiteX38" fmla="*/ 347656 w 982797"/>
                      <a:gd name="connsiteY38" fmla="*/ 847607 h 976639"/>
                      <a:gd name="connsiteX39" fmla="*/ 340970 w 982797"/>
                      <a:gd name="connsiteY39" fmla="*/ 843158 h 976639"/>
                      <a:gd name="connsiteX40" fmla="*/ 305313 w 982797"/>
                      <a:gd name="connsiteY40" fmla="*/ 825360 h 976639"/>
                      <a:gd name="connsiteX41" fmla="*/ 296399 w 982797"/>
                      <a:gd name="connsiteY41" fmla="*/ 825360 h 976639"/>
                      <a:gd name="connsiteX42" fmla="*/ 211713 w 982797"/>
                      <a:gd name="connsiteY42" fmla="*/ 887652 h 976639"/>
                      <a:gd name="connsiteX43" fmla="*/ 205028 w 982797"/>
                      <a:gd name="connsiteY43" fmla="*/ 887652 h 976639"/>
                      <a:gd name="connsiteX44" fmla="*/ 138171 w 982797"/>
                      <a:gd name="connsiteY44" fmla="*/ 829810 h 976639"/>
                      <a:gd name="connsiteX45" fmla="*/ 135942 w 982797"/>
                      <a:gd name="connsiteY45" fmla="*/ 823135 h 976639"/>
                      <a:gd name="connsiteX46" fmla="*/ 182742 w 982797"/>
                      <a:gd name="connsiteY46" fmla="*/ 725249 h 976639"/>
                      <a:gd name="connsiteX47" fmla="*/ 182742 w 982797"/>
                      <a:gd name="connsiteY47" fmla="*/ 720800 h 976639"/>
                      <a:gd name="connsiteX48" fmla="*/ 160457 w 982797"/>
                      <a:gd name="connsiteY48" fmla="*/ 687429 h 976639"/>
                      <a:gd name="connsiteX49" fmla="*/ 153771 w 982797"/>
                      <a:gd name="connsiteY49" fmla="*/ 685205 h 976639"/>
                      <a:gd name="connsiteX50" fmla="*/ 49028 w 982797"/>
                      <a:gd name="connsiteY50" fmla="*/ 696328 h 976639"/>
                      <a:gd name="connsiteX51" fmla="*/ 42343 w 982797"/>
                      <a:gd name="connsiteY51" fmla="*/ 691879 h 976639"/>
                      <a:gd name="connsiteX52" fmla="*/ 11143 w 982797"/>
                      <a:gd name="connsiteY52" fmla="*/ 609565 h 976639"/>
                      <a:gd name="connsiteX53" fmla="*/ 15600 w 982797"/>
                      <a:gd name="connsiteY53" fmla="*/ 602891 h 976639"/>
                      <a:gd name="connsiteX54" fmla="*/ 104742 w 982797"/>
                      <a:gd name="connsiteY54" fmla="*/ 542824 h 976639"/>
                      <a:gd name="connsiteX55" fmla="*/ 106971 w 982797"/>
                      <a:gd name="connsiteY55" fmla="*/ 536150 h 976639"/>
                      <a:gd name="connsiteX56" fmla="*/ 104742 w 982797"/>
                      <a:gd name="connsiteY56" fmla="*/ 496106 h 976639"/>
                      <a:gd name="connsiteX57" fmla="*/ 102514 w 982797"/>
                      <a:gd name="connsiteY57" fmla="*/ 489432 h 976639"/>
                      <a:gd name="connsiteX58" fmla="*/ 4457 w 982797"/>
                      <a:gd name="connsiteY58" fmla="*/ 444938 h 976639"/>
                      <a:gd name="connsiteX59" fmla="*/ 0 w 982797"/>
                      <a:gd name="connsiteY59" fmla="*/ 440489 h 976639"/>
                      <a:gd name="connsiteX60" fmla="*/ 15600 w 982797"/>
                      <a:gd name="connsiteY60" fmla="*/ 353726 h 976639"/>
                      <a:gd name="connsiteX61" fmla="*/ 20057 w 982797"/>
                      <a:gd name="connsiteY61" fmla="*/ 351501 h 976639"/>
                      <a:gd name="connsiteX62" fmla="*/ 129257 w 982797"/>
                      <a:gd name="connsiteY62" fmla="*/ 342602 h 976639"/>
                      <a:gd name="connsiteX63" fmla="*/ 135942 w 982797"/>
                      <a:gd name="connsiteY63" fmla="*/ 340377 h 976639"/>
                      <a:gd name="connsiteX64" fmla="*/ 151542 w 982797"/>
                      <a:gd name="connsiteY64" fmla="*/ 302558 h 976639"/>
                      <a:gd name="connsiteX65" fmla="*/ 151542 w 982797"/>
                      <a:gd name="connsiteY65" fmla="*/ 295884 h 976639"/>
                      <a:gd name="connsiteX66" fmla="*/ 91371 w 982797"/>
                      <a:gd name="connsiteY66" fmla="*/ 209121 h 976639"/>
                      <a:gd name="connsiteX67" fmla="*/ 91371 w 982797"/>
                      <a:gd name="connsiteY67" fmla="*/ 200222 h 976639"/>
                      <a:gd name="connsiteX68" fmla="*/ 147085 w 982797"/>
                      <a:gd name="connsiteY68" fmla="*/ 133481 h 976639"/>
                      <a:gd name="connsiteX69" fmla="*/ 153771 w 982797"/>
                      <a:gd name="connsiteY69" fmla="*/ 133481 h 976639"/>
                      <a:gd name="connsiteX70" fmla="*/ 249599 w 982797"/>
                      <a:gd name="connsiteY70" fmla="*/ 180200 h 976639"/>
                      <a:gd name="connsiteX71" fmla="*/ 256285 w 982797"/>
                      <a:gd name="connsiteY71" fmla="*/ 180200 h 976639"/>
                      <a:gd name="connsiteX72" fmla="*/ 289713 w 982797"/>
                      <a:gd name="connsiteY72" fmla="*/ 157953 h 976639"/>
                      <a:gd name="connsiteX73" fmla="*/ 283027 w 982797"/>
                      <a:gd name="connsiteY73" fmla="*/ 44493 h 976639"/>
                      <a:gd name="connsiteX74" fmla="*/ 369942 w 982797"/>
                      <a:gd name="connsiteY74" fmla="*/ 11123 h 976639"/>
                      <a:gd name="connsiteX75" fmla="*/ 439027 w 982797"/>
                      <a:gd name="connsiteY75" fmla="*/ 106785 h 976639"/>
                      <a:gd name="connsiteX76" fmla="*/ 481370 w 982797"/>
                      <a:gd name="connsiteY76" fmla="*/ 102335 h 976639"/>
                      <a:gd name="connsiteX77" fmla="*/ 532627 w 982797"/>
                      <a:gd name="connsiteY77"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97540 w 982797"/>
                      <a:gd name="connsiteY26" fmla="*/ 934370 h 976639"/>
                      <a:gd name="connsiteX27" fmla="*/ 612855 w 982797"/>
                      <a:gd name="connsiteY27" fmla="*/ 963291 h 976639"/>
                      <a:gd name="connsiteX28" fmla="*/ 608398 w 982797"/>
                      <a:gd name="connsiteY28" fmla="*/ 963291 h 976639"/>
                      <a:gd name="connsiteX29" fmla="*/ 548227 w 982797"/>
                      <a:gd name="connsiteY29" fmla="*/ 874303 h 976639"/>
                      <a:gd name="connsiteX30" fmla="*/ 543770 w 982797"/>
                      <a:gd name="connsiteY30" fmla="*/ 869854 h 976639"/>
                      <a:gd name="connsiteX31" fmla="*/ 501427 w 982797"/>
                      <a:gd name="connsiteY31" fmla="*/ 874303 h 976639"/>
                      <a:gd name="connsiteX32" fmla="*/ 494741 w 982797"/>
                      <a:gd name="connsiteY32" fmla="*/ 876528 h 976639"/>
                      <a:gd name="connsiteX33" fmla="*/ 450170 w 982797"/>
                      <a:gd name="connsiteY33" fmla="*/ 974414 h 976639"/>
                      <a:gd name="connsiteX34" fmla="*/ 445713 w 982797"/>
                      <a:gd name="connsiteY34" fmla="*/ 976639 h 976639"/>
                      <a:gd name="connsiteX35" fmla="*/ 356570 w 982797"/>
                      <a:gd name="connsiteY35" fmla="*/ 958842 h 976639"/>
                      <a:gd name="connsiteX36" fmla="*/ 352113 w 982797"/>
                      <a:gd name="connsiteY36" fmla="*/ 956617 h 976639"/>
                      <a:gd name="connsiteX37" fmla="*/ 347656 w 982797"/>
                      <a:gd name="connsiteY37" fmla="*/ 847607 h 976639"/>
                      <a:gd name="connsiteX38" fmla="*/ 340970 w 982797"/>
                      <a:gd name="connsiteY38" fmla="*/ 843158 h 976639"/>
                      <a:gd name="connsiteX39" fmla="*/ 305313 w 982797"/>
                      <a:gd name="connsiteY39" fmla="*/ 825360 h 976639"/>
                      <a:gd name="connsiteX40" fmla="*/ 296399 w 982797"/>
                      <a:gd name="connsiteY40" fmla="*/ 825360 h 976639"/>
                      <a:gd name="connsiteX41" fmla="*/ 211713 w 982797"/>
                      <a:gd name="connsiteY41" fmla="*/ 887652 h 976639"/>
                      <a:gd name="connsiteX42" fmla="*/ 205028 w 982797"/>
                      <a:gd name="connsiteY42" fmla="*/ 887652 h 976639"/>
                      <a:gd name="connsiteX43" fmla="*/ 138171 w 982797"/>
                      <a:gd name="connsiteY43" fmla="*/ 829810 h 976639"/>
                      <a:gd name="connsiteX44" fmla="*/ 135942 w 982797"/>
                      <a:gd name="connsiteY44" fmla="*/ 823135 h 976639"/>
                      <a:gd name="connsiteX45" fmla="*/ 182742 w 982797"/>
                      <a:gd name="connsiteY45" fmla="*/ 725249 h 976639"/>
                      <a:gd name="connsiteX46" fmla="*/ 182742 w 982797"/>
                      <a:gd name="connsiteY46" fmla="*/ 720800 h 976639"/>
                      <a:gd name="connsiteX47" fmla="*/ 160457 w 982797"/>
                      <a:gd name="connsiteY47" fmla="*/ 687429 h 976639"/>
                      <a:gd name="connsiteX48" fmla="*/ 153771 w 982797"/>
                      <a:gd name="connsiteY48" fmla="*/ 685205 h 976639"/>
                      <a:gd name="connsiteX49" fmla="*/ 49028 w 982797"/>
                      <a:gd name="connsiteY49" fmla="*/ 696328 h 976639"/>
                      <a:gd name="connsiteX50" fmla="*/ 42343 w 982797"/>
                      <a:gd name="connsiteY50" fmla="*/ 691879 h 976639"/>
                      <a:gd name="connsiteX51" fmla="*/ 11143 w 982797"/>
                      <a:gd name="connsiteY51" fmla="*/ 609565 h 976639"/>
                      <a:gd name="connsiteX52" fmla="*/ 15600 w 982797"/>
                      <a:gd name="connsiteY52" fmla="*/ 602891 h 976639"/>
                      <a:gd name="connsiteX53" fmla="*/ 104742 w 982797"/>
                      <a:gd name="connsiteY53" fmla="*/ 542824 h 976639"/>
                      <a:gd name="connsiteX54" fmla="*/ 106971 w 982797"/>
                      <a:gd name="connsiteY54" fmla="*/ 536150 h 976639"/>
                      <a:gd name="connsiteX55" fmla="*/ 104742 w 982797"/>
                      <a:gd name="connsiteY55" fmla="*/ 496106 h 976639"/>
                      <a:gd name="connsiteX56" fmla="*/ 102514 w 982797"/>
                      <a:gd name="connsiteY56" fmla="*/ 489432 h 976639"/>
                      <a:gd name="connsiteX57" fmla="*/ 4457 w 982797"/>
                      <a:gd name="connsiteY57" fmla="*/ 444938 h 976639"/>
                      <a:gd name="connsiteX58" fmla="*/ 0 w 982797"/>
                      <a:gd name="connsiteY58" fmla="*/ 440489 h 976639"/>
                      <a:gd name="connsiteX59" fmla="*/ 15600 w 982797"/>
                      <a:gd name="connsiteY59" fmla="*/ 353726 h 976639"/>
                      <a:gd name="connsiteX60" fmla="*/ 20057 w 982797"/>
                      <a:gd name="connsiteY60" fmla="*/ 351501 h 976639"/>
                      <a:gd name="connsiteX61" fmla="*/ 129257 w 982797"/>
                      <a:gd name="connsiteY61" fmla="*/ 342602 h 976639"/>
                      <a:gd name="connsiteX62" fmla="*/ 135942 w 982797"/>
                      <a:gd name="connsiteY62" fmla="*/ 340377 h 976639"/>
                      <a:gd name="connsiteX63" fmla="*/ 151542 w 982797"/>
                      <a:gd name="connsiteY63" fmla="*/ 302558 h 976639"/>
                      <a:gd name="connsiteX64" fmla="*/ 151542 w 982797"/>
                      <a:gd name="connsiteY64" fmla="*/ 295884 h 976639"/>
                      <a:gd name="connsiteX65" fmla="*/ 91371 w 982797"/>
                      <a:gd name="connsiteY65" fmla="*/ 209121 h 976639"/>
                      <a:gd name="connsiteX66" fmla="*/ 91371 w 982797"/>
                      <a:gd name="connsiteY66" fmla="*/ 200222 h 976639"/>
                      <a:gd name="connsiteX67" fmla="*/ 147085 w 982797"/>
                      <a:gd name="connsiteY67" fmla="*/ 133481 h 976639"/>
                      <a:gd name="connsiteX68" fmla="*/ 153771 w 982797"/>
                      <a:gd name="connsiteY68" fmla="*/ 133481 h 976639"/>
                      <a:gd name="connsiteX69" fmla="*/ 249599 w 982797"/>
                      <a:gd name="connsiteY69" fmla="*/ 180200 h 976639"/>
                      <a:gd name="connsiteX70" fmla="*/ 256285 w 982797"/>
                      <a:gd name="connsiteY70" fmla="*/ 180200 h 976639"/>
                      <a:gd name="connsiteX71" fmla="*/ 289713 w 982797"/>
                      <a:gd name="connsiteY71" fmla="*/ 157953 h 976639"/>
                      <a:gd name="connsiteX72" fmla="*/ 283027 w 982797"/>
                      <a:gd name="connsiteY72" fmla="*/ 44493 h 976639"/>
                      <a:gd name="connsiteX73" fmla="*/ 369942 w 982797"/>
                      <a:gd name="connsiteY73" fmla="*/ 11123 h 976639"/>
                      <a:gd name="connsiteX74" fmla="*/ 439027 w 982797"/>
                      <a:gd name="connsiteY74" fmla="*/ 106785 h 976639"/>
                      <a:gd name="connsiteX75" fmla="*/ 481370 w 982797"/>
                      <a:gd name="connsiteY75" fmla="*/ 102335 h 976639"/>
                      <a:gd name="connsiteX76" fmla="*/ 532627 w 982797"/>
                      <a:gd name="connsiteY76"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12855 w 982797"/>
                      <a:gd name="connsiteY26" fmla="*/ 963291 h 976639"/>
                      <a:gd name="connsiteX27" fmla="*/ 608398 w 982797"/>
                      <a:gd name="connsiteY27" fmla="*/ 963291 h 976639"/>
                      <a:gd name="connsiteX28" fmla="*/ 548227 w 982797"/>
                      <a:gd name="connsiteY28" fmla="*/ 874303 h 976639"/>
                      <a:gd name="connsiteX29" fmla="*/ 543770 w 982797"/>
                      <a:gd name="connsiteY29" fmla="*/ 869854 h 976639"/>
                      <a:gd name="connsiteX30" fmla="*/ 501427 w 982797"/>
                      <a:gd name="connsiteY30" fmla="*/ 874303 h 976639"/>
                      <a:gd name="connsiteX31" fmla="*/ 494741 w 982797"/>
                      <a:gd name="connsiteY31" fmla="*/ 876528 h 976639"/>
                      <a:gd name="connsiteX32" fmla="*/ 450170 w 982797"/>
                      <a:gd name="connsiteY32" fmla="*/ 974414 h 976639"/>
                      <a:gd name="connsiteX33" fmla="*/ 445713 w 982797"/>
                      <a:gd name="connsiteY33" fmla="*/ 976639 h 976639"/>
                      <a:gd name="connsiteX34" fmla="*/ 356570 w 982797"/>
                      <a:gd name="connsiteY34" fmla="*/ 958842 h 976639"/>
                      <a:gd name="connsiteX35" fmla="*/ 352113 w 982797"/>
                      <a:gd name="connsiteY35" fmla="*/ 956617 h 976639"/>
                      <a:gd name="connsiteX36" fmla="*/ 347656 w 982797"/>
                      <a:gd name="connsiteY36" fmla="*/ 847607 h 976639"/>
                      <a:gd name="connsiteX37" fmla="*/ 340970 w 982797"/>
                      <a:gd name="connsiteY37" fmla="*/ 843158 h 976639"/>
                      <a:gd name="connsiteX38" fmla="*/ 305313 w 982797"/>
                      <a:gd name="connsiteY38" fmla="*/ 825360 h 976639"/>
                      <a:gd name="connsiteX39" fmla="*/ 296399 w 982797"/>
                      <a:gd name="connsiteY39" fmla="*/ 825360 h 976639"/>
                      <a:gd name="connsiteX40" fmla="*/ 211713 w 982797"/>
                      <a:gd name="connsiteY40" fmla="*/ 887652 h 976639"/>
                      <a:gd name="connsiteX41" fmla="*/ 205028 w 982797"/>
                      <a:gd name="connsiteY41" fmla="*/ 887652 h 976639"/>
                      <a:gd name="connsiteX42" fmla="*/ 138171 w 982797"/>
                      <a:gd name="connsiteY42" fmla="*/ 829810 h 976639"/>
                      <a:gd name="connsiteX43" fmla="*/ 135942 w 982797"/>
                      <a:gd name="connsiteY43" fmla="*/ 823135 h 976639"/>
                      <a:gd name="connsiteX44" fmla="*/ 182742 w 982797"/>
                      <a:gd name="connsiteY44" fmla="*/ 725249 h 976639"/>
                      <a:gd name="connsiteX45" fmla="*/ 182742 w 982797"/>
                      <a:gd name="connsiteY45" fmla="*/ 720800 h 976639"/>
                      <a:gd name="connsiteX46" fmla="*/ 160457 w 982797"/>
                      <a:gd name="connsiteY46" fmla="*/ 687429 h 976639"/>
                      <a:gd name="connsiteX47" fmla="*/ 153771 w 982797"/>
                      <a:gd name="connsiteY47" fmla="*/ 685205 h 976639"/>
                      <a:gd name="connsiteX48" fmla="*/ 49028 w 982797"/>
                      <a:gd name="connsiteY48" fmla="*/ 696328 h 976639"/>
                      <a:gd name="connsiteX49" fmla="*/ 42343 w 982797"/>
                      <a:gd name="connsiteY49" fmla="*/ 691879 h 976639"/>
                      <a:gd name="connsiteX50" fmla="*/ 11143 w 982797"/>
                      <a:gd name="connsiteY50" fmla="*/ 609565 h 976639"/>
                      <a:gd name="connsiteX51" fmla="*/ 15600 w 982797"/>
                      <a:gd name="connsiteY51" fmla="*/ 602891 h 976639"/>
                      <a:gd name="connsiteX52" fmla="*/ 104742 w 982797"/>
                      <a:gd name="connsiteY52" fmla="*/ 542824 h 976639"/>
                      <a:gd name="connsiteX53" fmla="*/ 106971 w 982797"/>
                      <a:gd name="connsiteY53" fmla="*/ 536150 h 976639"/>
                      <a:gd name="connsiteX54" fmla="*/ 104742 w 982797"/>
                      <a:gd name="connsiteY54" fmla="*/ 496106 h 976639"/>
                      <a:gd name="connsiteX55" fmla="*/ 102514 w 982797"/>
                      <a:gd name="connsiteY55" fmla="*/ 489432 h 976639"/>
                      <a:gd name="connsiteX56" fmla="*/ 4457 w 982797"/>
                      <a:gd name="connsiteY56" fmla="*/ 444938 h 976639"/>
                      <a:gd name="connsiteX57" fmla="*/ 0 w 982797"/>
                      <a:gd name="connsiteY57" fmla="*/ 440489 h 976639"/>
                      <a:gd name="connsiteX58" fmla="*/ 15600 w 982797"/>
                      <a:gd name="connsiteY58" fmla="*/ 353726 h 976639"/>
                      <a:gd name="connsiteX59" fmla="*/ 20057 w 982797"/>
                      <a:gd name="connsiteY59" fmla="*/ 351501 h 976639"/>
                      <a:gd name="connsiteX60" fmla="*/ 129257 w 982797"/>
                      <a:gd name="connsiteY60" fmla="*/ 342602 h 976639"/>
                      <a:gd name="connsiteX61" fmla="*/ 135942 w 982797"/>
                      <a:gd name="connsiteY61" fmla="*/ 340377 h 976639"/>
                      <a:gd name="connsiteX62" fmla="*/ 151542 w 982797"/>
                      <a:gd name="connsiteY62" fmla="*/ 302558 h 976639"/>
                      <a:gd name="connsiteX63" fmla="*/ 151542 w 982797"/>
                      <a:gd name="connsiteY63" fmla="*/ 295884 h 976639"/>
                      <a:gd name="connsiteX64" fmla="*/ 91371 w 982797"/>
                      <a:gd name="connsiteY64" fmla="*/ 209121 h 976639"/>
                      <a:gd name="connsiteX65" fmla="*/ 91371 w 982797"/>
                      <a:gd name="connsiteY65" fmla="*/ 200222 h 976639"/>
                      <a:gd name="connsiteX66" fmla="*/ 147085 w 982797"/>
                      <a:gd name="connsiteY66" fmla="*/ 133481 h 976639"/>
                      <a:gd name="connsiteX67" fmla="*/ 153771 w 982797"/>
                      <a:gd name="connsiteY67" fmla="*/ 133481 h 976639"/>
                      <a:gd name="connsiteX68" fmla="*/ 249599 w 982797"/>
                      <a:gd name="connsiteY68" fmla="*/ 180200 h 976639"/>
                      <a:gd name="connsiteX69" fmla="*/ 256285 w 982797"/>
                      <a:gd name="connsiteY69" fmla="*/ 180200 h 976639"/>
                      <a:gd name="connsiteX70" fmla="*/ 289713 w 982797"/>
                      <a:gd name="connsiteY70" fmla="*/ 157953 h 976639"/>
                      <a:gd name="connsiteX71" fmla="*/ 283027 w 982797"/>
                      <a:gd name="connsiteY71" fmla="*/ 44493 h 976639"/>
                      <a:gd name="connsiteX72" fmla="*/ 369942 w 982797"/>
                      <a:gd name="connsiteY72" fmla="*/ 11123 h 976639"/>
                      <a:gd name="connsiteX73" fmla="*/ 439027 w 982797"/>
                      <a:gd name="connsiteY73" fmla="*/ 106785 h 976639"/>
                      <a:gd name="connsiteX74" fmla="*/ 481370 w 982797"/>
                      <a:gd name="connsiteY74" fmla="*/ 102335 h 976639"/>
                      <a:gd name="connsiteX75" fmla="*/ 532627 w 982797"/>
                      <a:gd name="connsiteY75"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43770 w 982797"/>
                      <a:gd name="connsiteY28" fmla="*/ 869854 h 976639"/>
                      <a:gd name="connsiteX29" fmla="*/ 501427 w 982797"/>
                      <a:gd name="connsiteY29" fmla="*/ 874303 h 976639"/>
                      <a:gd name="connsiteX30" fmla="*/ 494741 w 982797"/>
                      <a:gd name="connsiteY30" fmla="*/ 876528 h 976639"/>
                      <a:gd name="connsiteX31" fmla="*/ 450170 w 982797"/>
                      <a:gd name="connsiteY31" fmla="*/ 974414 h 976639"/>
                      <a:gd name="connsiteX32" fmla="*/ 445713 w 982797"/>
                      <a:gd name="connsiteY32" fmla="*/ 976639 h 976639"/>
                      <a:gd name="connsiteX33" fmla="*/ 356570 w 982797"/>
                      <a:gd name="connsiteY33" fmla="*/ 958842 h 976639"/>
                      <a:gd name="connsiteX34" fmla="*/ 352113 w 982797"/>
                      <a:gd name="connsiteY34" fmla="*/ 956617 h 976639"/>
                      <a:gd name="connsiteX35" fmla="*/ 347656 w 982797"/>
                      <a:gd name="connsiteY35" fmla="*/ 847607 h 976639"/>
                      <a:gd name="connsiteX36" fmla="*/ 340970 w 982797"/>
                      <a:gd name="connsiteY36" fmla="*/ 843158 h 976639"/>
                      <a:gd name="connsiteX37" fmla="*/ 305313 w 982797"/>
                      <a:gd name="connsiteY37" fmla="*/ 825360 h 976639"/>
                      <a:gd name="connsiteX38" fmla="*/ 296399 w 982797"/>
                      <a:gd name="connsiteY38" fmla="*/ 825360 h 976639"/>
                      <a:gd name="connsiteX39" fmla="*/ 211713 w 982797"/>
                      <a:gd name="connsiteY39" fmla="*/ 887652 h 976639"/>
                      <a:gd name="connsiteX40" fmla="*/ 205028 w 982797"/>
                      <a:gd name="connsiteY40" fmla="*/ 887652 h 976639"/>
                      <a:gd name="connsiteX41" fmla="*/ 138171 w 982797"/>
                      <a:gd name="connsiteY41" fmla="*/ 829810 h 976639"/>
                      <a:gd name="connsiteX42" fmla="*/ 135942 w 982797"/>
                      <a:gd name="connsiteY42" fmla="*/ 823135 h 976639"/>
                      <a:gd name="connsiteX43" fmla="*/ 182742 w 982797"/>
                      <a:gd name="connsiteY43" fmla="*/ 725249 h 976639"/>
                      <a:gd name="connsiteX44" fmla="*/ 182742 w 982797"/>
                      <a:gd name="connsiteY44" fmla="*/ 720800 h 976639"/>
                      <a:gd name="connsiteX45" fmla="*/ 160457 w 982797"/>
                      <a:gd name="connsiteY45" fmla="*/ 687429 h 976639"/>
                      <a:gd name="connsiteX46" fmla="*/ 153771 w 982797"/>
                      <a:gd name="connsiteY46" fmla="*/ 685205 h 976639"/>
                      <a:gd name="connsiteX47" fmla="*/ 49028 w 982797"/>
                      <a:gd name="connsiteY47" fmla="*/ 696328 h 976639"/>
                      <a:gd name="connsiteX48" fmla="*/ 42343 w 982797"/>
                      <a:gd name="connsiteY48" fmla="*/ 691879 h 976639"/>
                      <a:gd name="connsiteX49" fmla="*/ 11143 w 982797"/>
                      <a:gd name="connsiteY49" fmla="*/ 609565 h 976639"/>
                      <a:gd name="connsiteX50" fmla="*/ 15600 w 982797"/>
                      <a:gd name="connsiteY50" fmla="*/ 602891 h 976639"/>
                      <a:gd name="connsiteX51" fmla="*/ 104742 w 982797"/>
                      <a:gd name="connsiteY51" fmla="*/ 542824 h 976639"/>
                      <a:gd name="connsiteX52" fmla="*/ 106971 w 982797"/>
                      <a:gd name="connsiteY52" fmla="*/ 536150 h 976639"/>
                      <a:gd name="connsiteX53" fmla="*/ 104742 w 982797"/>
                      <a:gd name="connsiteY53" fmla="*/ 496106 h 976639"/>
                      <a:gd name="connsiteX54" fmla="*/ 102514 w 982797"/>
                      <a:gd name="connsiteY54" fmla="*/ 489432 h 976639"/>
                      <a:gd name="connsiteX55" fmla="*/ 4457 w 982797"/>
                      <a:gd name="connsiteY55" fmla="*/ 444938 h 976639"/>
                      <a:gd name="connsiteX56" fmla="*/ 0 w 982797"/>
                      <a:gd name="connsiteY56" fmla="*/ 440489 h 976639"/>
                      <a:gd name="connsiteX57" fmla="*/ 15600 w 982797"/>
                      <a:gd name="connsiteY57" fmla="*/ 353726 h 976639"/>
                      <a:gd name="connsiteX58" fmla="*/ 20057 w 982797"/>
                      <a:gd name="connsiteY58" fmla="*/ 351501 h 976639"/>
                      <a:gd name="connsiteX59" fmla="*/ 129257 w 982797"/>
                      <a:gd name="connsiteY59" fmla="*/ 342602 h 976639"/>
                      <a:gd name="connsiteX60" fmla="*/ 135942 w 982797"/>
                      <a:gd name="connsiteY60" fmla="*/ 340377 h 976639"/>
                      <a:gd name="connsiteX61" fmla="*/ 151542 w 982797"/>
                      <a:gd name="connsiteY61" fmla="*/ 302558 h 976639"/>
                      <a:gd name="connsiteX62" fmla="*/ 151542 w 982797"/>
                      <a:gd name="connsiteY62" fmla="*/ 295884 h 976639"/>
                      <a:gd name="connsiteX63" fmla="*/ 91371 w 982797"/>
                      <a:gd name="connsiteY63" fmla="*/ 209121 h 976639"/>
                      <a:gd name="connsiteX64" fmla="*/ 91371 w 982797"/>
                      <a:gd name="connsiteY64" fmla="*/ 200222 h 976639"/>
                      <a:gd name="connsiteX65" fmla="*/ 147085 w 982797"/>
                      <a:gd name="connsiteY65" fmla="*/ 133481 h 976639"/>
                      <a:gd name="connsiteX66" fmla="*/ 153771 w 982797"/>
                      <a:gd name="connsiteY66" fmla="*/ 133481 h 976639"/>
                      <a:gd name="connsiteX67" fmla="*/ 249599 w 982797"/>
                      <a:gd name="connsiteY67" fmla="*/ 180200 h 976639"/>
                      <a:gd name="connsiteX68" fmla="*/ 256285 w 982797"/>
                      <a:gd name="connsiteY68" fmla="*/ 180200 h 976639"/>
                      <a:gd name="connsiteX69" fmla="*/ 289713 w 982797"/>
                      <a:gd name="connsiteY69" fmla="*/ 157953 h 976639"/>
                      <a:gd name="connsiteX70" fmla="*/ 283027 w 982797"/>
                      <a:gd name="connsiteY70" fmla="*/ 44493 h 976639"/>
                      <a:gd name="connsiteX71" fmla="*/ 369942 w 982797"/>
                      <a:gd name="connsiteY71" fmla="*/ 11123 h 976639"/>
                      <a:gd name="connsiteX72" fmla="*/ 439027 w 982797"/>
                      <a:gd name="connsiteY72" fmla="*/ 106785 h 976639"/>
                      <a:gd name="connsiteX73" fmla="*/ 481370 w 982797"/>
                      <a:gd name="connsiteY73" fmla="*/ 102335 h 976639"/>
                      <a:gd name="connsiteX74" fmla="*/ 532627 w 982797"/>
                      <a:gd name="connsiteY7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01427 w 982797"/>
                      <a:gd name="connsiteY28" fmla="*/ 874303 h 976639"/>
                      <a:gd name="connsiteX29" fmla="*/ 494741 w 982797"/>
                      <a:gd name="connsiteY29" fmla="*/ 876528 h 976639"/>
                      <a:gd name="connsiteX30" fmla="*/ 450170 w 982797"/>
                      <a:gd name="connsiteY30" fmla="*/ 974414 h 976639"/>
                      <a:gd name="connsiteX31" fmla="*/ 445713 w 982797"/>
                      <a:gd name="connsiteY31" fmla="*/ 976639 h 976639"/>
                      <a:gd name="connsiteX32" fmla="*/ 356570 w 982797"/>
                      <a:gd name="connsiteY32" fmla="*/ 958842 h 976639"/>
                      <a:gd name="connsiteX33" fmla="*/ 352113 w 982797"/>
                      <a:gd name="connsiteY33" fmla="*/ 956617 h 976639"/>
                      <a:gd name="connsiteX34" fmla="*/ 347656 w 982797"/>
                      <a:gd name="connsiteY34" fmla="*/ 847607 h 976639"/>
                      <a:gd name="connsiteX35" fmla="*/ 340970 w 982797"/>
                      <a:gd name="connsiteY35" fmla="*/ 843158 h 976639"/>
                      <a:gd name="connsiteX36" fmla="*/ 305313 w 982797"/>
                      <a:gd name="connsiteY36" fmla="*/ 825360 h 976639"/>
                      <a:gd name="connsiteX37" fmla="*/ 296399 w 982797"/>
                      <a:gd name="connsiteY37" fmla="*/ 825360 h 976639"/>
                      <a:gd name="connsiteX38" fmla="*/ 211713 w 982797"/>
                      <a:gd name="connsiteY38" fmla="*/ 887652 h 976639"/>
                      <a:gd name="connsiteX39" fmla="*/ 205028 w 982797"/>
                      <a:gd name="connsiteY39" fmla="*/ 887652 h 976639"/>
                      <a:gd name="connsiteX40" fmla="*/ 138171 w 982797"/>
                      <a:gd name="connsiteY40" fmla="*/ 829810 h 976639"/>
                      <a:gd name="connsiteX41" fmla="*/ 135942 w 982797"/>
                      <a:gd name="connsiteY41" fmla="*/ 823135 h 976639"/>
                      <a:gd name="connsiteX42" fmla="*/ 182742 w 982797"/>
                      <a:gd name="connsiteY42" fmla="*/ 725249 h 976639"/>
                      <a:gd name="connsiteX43" fmla="*/ 182742 w 982797"/>
                      <a:gd name="connsiteY43" fmla="*/ 720800 h 976639"/>
                      <a:gd name="connsiteX44" fmla="*/ 160457 w 982797"/>
                      <a:gd name="connsiteY44" fmla="*/ 687429 h 976639"/>
                      <a:gd name="connsiteX45" fmla="*/ 153771 w 982797"/>
                      <a:gd name="connsiteY45" fmla="*/ 685205 h 976639"/>
                      <a:gd name="connsiteX46" fmla="*/ 49028 w 982797"/>
                      <a:gd name="connsiteY46" fmla="*/ 696328 h 976639"/>
                      <a:gd name="connsiteX47" fmla="*/ 42343 w 982797"/>
                      <a:gd name="connsiteY47" fmla="*/ 691879 h 976639"/>
                      <a:gd name="connsiteX48" fmla="*/ 11143 w 982797"/>
                      <a:gd name="connsiteY48" fmla="*/ 609565 h 976639"/>
                      <a:gd name="connsiteX49" fmla="*/ 15600 w 982797"/>
                      <a:gd name="connsiteY49" fmla="*/ 602891 h 976639"/>
                      <a:gd name="connsiteX50" fmla="*/ 104742 w 982797"/>
                      <a:gd name="connsiteY50" fmla="*/ 542824 h 976639"/>
                      <a:gd name="connsiteX51" fmla="*/ 106971 w 982797"/>
                      <a:gd name="connsiteY51" fmla="*/ 536150 h 976639"/>
                      <a:gd name="connsiteX52" fmla="*/ 104742 w 982797"/>
                      <a:gd name="connsiteY52" fmla="*/ 496106 h 976639"/>
                      <a:gd name="connsiteX53" fmla="*/ 102514 w 982797"/>
                      <a:gd name="connsiteY53" fmla="*/ 489432 h 976639"/>
                      <a:gd name="connsiteX54" fmla="*/ 4457 w 982797"/>
                      <a:gd name="connsiteY54" fmla="*/ 444938 h 976639"/>
                      <a:gd name="connsiteX55" fmla="*/ 0 w 982797"/>
                      <a:gd name="connsiteY55" fmla="*/ 440489 h 976639"/>
                      <a:gd name="connsiteX56" fmla="*/ 15600 w 982797"/>
                      <a:gd name="connsiteY56" fmla="*/ 353726 h 976639"/>
                      <a:gd name="connsiteX57" fmla="*/ 20057 w 982797"/>
                      <a:gd name="connsiteY57" fmla="*/ 351501 h 976639"/>
                      <a:gd name="connsiteX58" fmla="*/ 129257 w 982797"/>
                      <a:gd name="connsiteY58" fmla="*/ 342602 h 976639"/>
                      <a:gd name="connsiteX59" fmla="*/ 135942 w 982797"/>
                      <a:gd name="connsiteY59" fmla="*/ 340377 h 976639"/>
                      <a:gd name="connsiteX60" fmla="*/ 151542 w 982797"/>
                      <a:gd name="connsiteY60" fmla="*/ 302558 h 976639"/>
                      <a:gd name="connsiteX61" fmla="*/ 151542 w 982797"/>
                      <a:gd name="connsiteY61" fmla="*/ 295884 h 976639"/>
                      <a:gd name="connsiteX62" fmla="*/ 91371 w 982797"/>
                      <a:gd name="connsiteY62" fmla="*/ 209121 h 976639"/>
                      <a:gd name="connsiteX63" fmla="*/ 91371 w 982797"/>
                      <a:gd name="connsiteY63" fmla="*/ 200222 h 976639"/>
                      <a:gd name="connsiteX64" fmla="*/ 147085 w 982797"/>
                      <a:gd name="connsiteY64" fmla="*/ 133481 h 976639"/>
                      <a:gd name="connsiteX65" fmla="*/ 153771 w 982797"/>
                      <a:gd name="connsiteY65" fmla="*/ 133481 h 976639"/>
                      <a:gd name="connsiteX66" fmla="*/ 249599 w 982797"/>
                      <a:gd name="connsiteY66" fmla="*/ 180200 h 976639"/>
                      <a:gd name="connsiteX67" fmla="*/ 256285 w 982797"/>
                      <a:gd name="connsiteY67" fmla="*/ 180200 h 976639"/>
                      <a:gd name="connsiteX68" fmla="*/ 289713 w 982797"/>
                      <a:gd name="connsiteY68" fmla="*/ 157953 h 976639"/>
                      <a:gd name="connsiteX69" fmla="*/ 283027 w 982797"/>
                      <a:gd name="connsiteY69" fmla="*/ 44493 h 976639"/>
                      <a:gd name="connsiteX70" fmla="*/ 369942 w 982797"/>
                      <a:gd name="connsiteY70" fmla="*/ 11123 h 976639"/>
                      <a:gd name="connsiteX71" fmla="*/ 439027 w 982797"/>
                      <a:gd name="connsiteY71" fmla="*/ 106785 h 976639"/>
                      <a:gd name="connsiteX72" fmla="*/ 481370 w 982797"/>
                      <a:gd name="connsiteY72" fmla="*/ 102335 h 976639"/>
                      <a:gd name="connsiteX73" fmla="*/ 532627 w 982797"/>
                      <a:gd name="connsiteY7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9485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05313 w 982797"/>
                      <a:gd name="connsiteY34" fmla="*/ 825360 h 976639"/>
                      <a:gd name="connsiteX35" fmla="*/ 296399 w 982797"/>
                      <a:gd name="connsiteY35" fmla="*/ 825360 h 976639"/>
                      <a:gd name="connsiteX36" fmla="*/ 211713 w 982797"/>
                      <a:gd name="connsiteY36" fmla="*/ 887652 h 976639"/>
                      <a:gd name="connsiteX37" fmla="*/ 205028 w 982797"/>
                      <a:gd name="connsiteY37" fmla="*/ 887652 h 976639"/>
                      <a:gd name="connsiteX38" fmla="*/ 138171 w 982797"/>
                      <a:gd name="connsiteY38" fmla="*/ 829810 h 976639"/>
                      <a:gd name="connsiteX39" fmla="*/ 135942 w 982797"/>
                      <a:gd name="connsiteY39" fmla="*/ 823135 h 976639"/>
                      <a:gd name="connsiteX40" fmla="*/ 182742 w 982797"/>
                      <a:gd name="connsiteY40" fmla="*/ 725249 h 976639"/>
                      <a:gd name="connsiteX41" fmla="*/ 182742 w 982797"/>
                      <a:gd name="connsiteY41" fmla="*/ 720800 h 976639"/>
                      <a:gd name="connsiteX42" fmla="*/ 160457 w 982797"/>
                      <a:gd name="connsiteY42" fmla="*/ 687429 h 976639"/>
                      <a:gd name="connsiteX43" fmla="*/ 153771 w 982797"/>
                      <a:gd name="connsiteY43" fmla="*/ 685205 h 976639"/>
                      <a:gd name="connsiteX44" fmla="*/ 49028 w 982797"/>
                      <a:gd name="connsiteY44" fmla="*/ 696328 h 976639"/>
                      <a:gd name="connsiteX45" fmla="*/ 42343 w 982797"/>
                      <a:gd name="connsiteY45" fmla="*/ 691879 h 976639"/>
                      <a:gd name="connsiteX46" fmla="*/ 11143 w 982797"/>
                      <a:gd name="connsiteY46" fmla="*/ 609565 h 976639"/>
                      <a:gd name="connsiteX47" fmla="*/ 15600 w 982797"/>
                      <a:gd name="connsiteY47" fmla="*/ 602891 h 976639"/>
                      <a:gd name="connsiteX48" fmla="*/ 104742 w 982797"/>
                      <a:gd name="connsiteY48" fmla="*/ 542824 h 976639"/>
                      <a:gd name="connsiteX49" fmla="*/ 106971 w 982797"/>
                      <a:gd name="connsiteY49" fmla="*/ 536150 h 976639"/>
                      <a:gd name="connsiteX50" fmla="*/ 104742 w 982797"/>
                      <a:gd name="connsiteY50" fmla="*/ 496106 h 976639"/>
                      <a:gd name="connsiteX51" fmla="*/ 102514 w 982797"/>
                      <a:gd name="connsiteY51" fmla="*/ 489432 h 976639"/>
                      <a:gd name="connsiteX52" fmla="*/ 4457 w 982797"/>
                      <a:gd name="connsiteY52" fmla="*/ 444938 h 976639"/>
                      <a:gd name="connsiteX53" fmla="*/ 0 w 982797"/>
                      <a:gd name="connsiteY53" fmla="*/ 440489 h 976639"/>
                      <a:gd name="connsiteX54" fmla="*/ 15600 w 982797"/>
                      <a:gd name="connsiteY54" fmla="*/ 353726 h 976639"/>
                      <a:gd name="connsiteX55" fmla="*/ 20057 w 982797"/>
                      <a:gd name="connsiteY55" fmla="*/ 351501 h 976639"/>
                      <a:gd name="connsiteX56" fmla="*/ 129257 w 982797"/>
                      <a:gd name="connsiteY56" fmla="*/ 342602 h 976639"/>
                      <a:gd name="connsiteX57" fmla="*/ 135942 w 982797"/>
                      <a:gd name="connsiteY57" fmla="*/ 340377 h 976639"/>
                      <a:gd name="connsiteX58" fmla="*/ 151542 w 982797"/>
                      <a:gd name="connsiteY58" fmla="*/ 302558 h 976639"/>
                      <a:gd name="connsiteX59" fmla="*/ 151542 w 982797"/>
                      <a:gd name="connsiteY59" fmla="*/ 295884 h 976639"/>
                      <a:gd name="connsiteX60" fmla="*/ 91371 w 982797"/>
                      <a:gd name="connsiteY60" fmla="*/ 209121 h 976639"/>
                      <a:gd name="connsiteX61" fmla="*/ 91371 w 982797"/>
                      <a:gd name="connsiteY61" fmla="*/ 200222 h 976639"/>
                      <a:gd name="connsiteX62" fmla="*/ 147085 w 982797"/>
                      <a:gd name="connsiteY62" fmla="*/ 133481 h 976639"/>
                      <a:gd name="connsiteX63" fmla="*/ 153771 w 982797"/>
                      <a:gd name="connsiteY63" fmla="*/ 133481 h 976639"/>
                      <a:gd name="connsiteX64" fmla="*/ 249599 w 982797"/>
                      <a:gd name="connsiteY64" fmla="*/ 180200 h 976639"/>
                      <a:gd name="connsiteX65" fmla="*/ 256285 w 982797"/>
                      <a:gd name="connsiteY65" fmla="*/ 180200 h 976639"/>
                      <a:gd name="connsiteX66" fmla="*/ 289713 w 982797"/>
                      <a:gd name="connsiteY66" fmla="*/ 157953 h 976639"/>
                      <a:gd name="connsiteX67" fmla="*/ 283027 w 982797"/>
                      <a:gd name="connsiteY67" fmla="*/ 44493 h 976639"/>
                      <a:gd name="connsiteX68" fmla="*/ 369942 w 982797"/>
                      <a:gd name="connsiteY68" fmla="*/ 11123 h 976639"/>
                      <a:gd name="connsiteX69" fmla="*/ 439027 w 982797"/>
                      <a:gd name="connsiteY69" fmla="*/ 106785 h 976639"/>
                      <a:gd name="connsiteX70" fmla="*/ 481370 w 982797"/>
                      <a:gd name="connsiteY70" fmla="*/ 102335 h 976639"/>
                      <a:gd name="connsiteX71" fmla="*/ 532627 w 982797"/>
                      <a:gd name="connsiteY7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296399 w 982797"/>
                      <a:gd name="connsiteY34" fmla="*/ 825360 h 976639"/>
                      <a:gd name="connsiteX35" fmla="*/ 211713 w 982797"/>
                      <a:gd name="connsiteY35" fmla="*/ 887652 h 976639"/>
                      <a:gd name="connsiteX36" fmla="*/ 205028 w 982797"/>
                      <a:gd name="connsiteY36" fmla="*/ 887652 h 976639"/>
                      <a:gd name="connsiteX37" fmla="*/ 138171 w 982797"/>
                      <a:gd name="connsiteY37" fmla="*/ 829810 h 976639"/>
                      <a:gd name="connsiteX38" fmla="*/ 135942 w 982797"/>
                      <a:gd name="connsiteY38" fmla="*/ 823135 h 976639"/>
                      <a:gd name="connsiteX39" fmla="*/ 182742 w 982797"/>
                      <a:gd name="connsiteY39" fmla="*/ 725249 h 976639"/>
                      <a:gd name="connsiteX40" fmla="*/ 182742 w 982797"/>
                      <a:gd name="connsiteY40" fmla="*/ 720800 h 976639"/>
                      <a:gd name="connsiteX41" fmla="*/ 160457 w 982797"/>
                      <a:gd name="connsiteY41" fmla="*/ 687429 h 976639"/>
                      <a:gd name="connsiteX42" fmla="*/ 153771 w 982797"/>
                      <a:gd name="connsiteY42" fmla="*/ 685205 h 976639"/>
                      <a:gd name="connsiteX43" fmla="*/ 49028 w 982797"/>
                      <a:gd name="connsiteY43" fmla="*/ 696328 h 976639"/>
                      <a:gd name="connsiteX44" fmla="*/ 42343 w 982797"/>
                      <a:gd name="connsiteY44" fmla="*/ 691879 h 976639"/>
                      <a:gd name="connsiteX45" fmla="*/ 11143 w 982797"/>
                      <a:gd name="connsiteY45" fmla="*/ 609565 h 976639"/>
                      <a:gd name="connsiteX46" fmla="*/ 15600 w 982797"/>
                      <a:gd name="connsiteY46" fmla="*/ 602891 h 976639"/>
                      <a:gd name="connsiteX47" fmla="*/ 104742 w 982797"/>
                      <a:gd name="connsiteY47" fmla="*/ 542824 h 976639"/>
                      <a:gd name="connsiteX48" fmla="*/ 106971 w 982797"/>
                      <a:gd name="connsiteY48" fmla="*/ 536150 h 976639"/>
                      <a:gd name="connsiteX49" fmla="*/ 104742 w 982797"/>
                      <a:gd name="connsiteY49" fmla="*/ 496106 h 976639"/>
                      <a:gd name="connsiteX50" fmla="*/ 102514 w 982797"/>
                      <a:gd name="connsiteY50" fmla="*/ 489432 h 976639"/>
                      <a:gd name="connsiteX51" fmla="*/ 4457 w 982797"/>
                      <a:gd name="connsiteY51" fmla="*/ 444938 h 976639"/>
                      <a:gd name="connsiteX52" fmla="*/ 0 w 982797"/>
                      <a:gd name="connsiteY52" fmla="*/ 440489 h 976639"/>
                      <a:gd name="connsiteX53" fmla="*/ 15600 w 982797"/>
                      <a:gd name="connsiteY53" fmla="*/ 353726 h 976639"/>
                      <a:gd name="connsiteX54" fmla="*/ 20057 w 982797"/>
                      <a:gd name="connsiteY54" fmla="*/ 351501 h 976639"/>
                      <a:gd name="connsiteX55" fmla="*/ 129257 w 982797"/>
                      <a:gd name="connsiteY55" fmla="*/ 342602 h 976639"/>
                      <a:gd name="connsiteX56" fmla="*/ 135942 w 982797"/>
                      <a:gd name="connsiteY56" fmla="*/ 340377 h 976639"/>
                      <a:gd name="connsiteX57" fmla="*/ 151542 w 982797"/>
                      <a:gd name="connsiteY57" fmla="*/ 302558 h 976639"/>
                      <a:gd name="connsiteX58" fmla="*/ 151542 w 982797"/>
                      <a:gd name="connsiteY58" fmla="*/ 295884 h 976639"/>
                      <a:gd name="connsiteX59" fmla="*/ 91371 w 982797"/>
                      <a:gd name="connsiteY59" fmla="*/ 209121 h 976639"/>
                      <a:gd name="connsiteX60" fmla="*/ 91371 w 982797"/>
                      <a:gd name="connsiteY60" fmla="*/ 200222 h 976639"/>
                      <a:gd name="connsiteX61" fmla="*/ 147085 w 982797"/>
                      <a:gd name="connsiteY61" fmla="*/ 133481 h 976639"/>
                      <a:gd name="connsiteX62" fmla="*/ 153771 w 982797"/>
                      <a:gd name="connsiteY62" fmla="*/ 133481 h 976639"/>
                      <a:gd name="connsiteX63" fmla="*/ 249599 w 982797"/>
                      <a:gd name="connsiteY63" fmla="*/ 180200 h 976639"/>
                      <a:gd name="connsiteX64" fmla="*/ 256285 w 982797"/>
                      <a:gd name="connsiteY64" fmla="*/ 180200 h 976639"/>
                      <a:gd name="connsiteX65" fmla="*/ 289713 w 982797"/>
                      <a:gd name="connsiteY65" fmla="*/ 157953 h 976639"/>
                      <a:gd name="connsiteX66" fmla="*/ 283027 w 982797"/>
                      <a:gd name="connsiteY66" fmla="*/ 44493 h 976639"/>
                      <a:gd name="connsiteX67" fmla="*/ 369942 w 982797"/>
                      <a:gd name="connsiteY67" fmla="*/ 11123 h 976639"/>
                      <a:gd name="connsiteX68" fmla="*/ 439027 w 982797"/>
                      <a:gd name="connsiteY68" fmla="*/ 106785 h 976639"/>
                      <a:gd name="connsiteX69" fmla="*/ 481370 w 982797"/>
                      <a:gd name="connsiteY69" fmla="*/ 102335 h 976639"/>
                      <a:gd name="connsiteX70" fmla="*/ 532627 w 982797"/>
                      <a:gd name="connsiteY70" fmla="*/ 0 h 976639"/>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52113 w 982797"/>
                      <a:gd name="connsiteY31" fmla="*/ 956617 h 974414"/>
                      <a:gd name="connsiteX32" fmla="*/ 347656 w 982797"/>
                      <a:gd name="connsiteY32" fmla="*/ 847607 h 974414"/>
                      <a:gd name="connsiteX33" fmla="*/ 296399 w 982797"/>
                      <a:gd name="connsiteY33" fmla="*/ 825360 h 974414"/>
                      <a:gd name="connsiteX34" fmla="*/ 211713 w 982797"/>
                      <a:gd name="connsiteY34" fmla="*/ 887652 h 974414"/>
                      <a:gd name="connsiteX35" fmla="*/ 205028 w 982797"/>
                      <a:gd name="connsiteY35" fmla="*/ 887652 h 974414"/>
                      <a:gd name="connsiteX36" fmla="*/ 138171 w 982797"/>
                      <a:gd name="connsiteY36" fmla="*/ 829810 h 974414"/>
                      <a:gd name="connsiteX37" fmla="*/ 135942 w 982797"/>
                      <a:gd name="connsiteY37" fmla="*/ 823135 h 974414"/>
                      <a:gd name="connsiteX38" fmla="*/ 182742 w 982797"/>
                      <a:gd name="connsiteY38" fmla="*/ 725249 h 974414"/>
                      <a:gd name="connsiteX39" fmla="*/ 182742 w 982797"/>
                      <a:gd name="connsiteY39" fmla="*/ 720800 h 974414"/>
                      <a:gd name="connsiteX40" fmla="*/ 160457 w 982797"/>
                      <a:gd name="connsiteY40" fmla="*/ 687429 h 974414"/>
                      <a:gd name="connsiteX41" fmla="*/ 153771 w 982797"/>
                      <a:gd name="connsiteY41" fmla="*/ 685205 h 974414"/>
                      <a:gd name="connsiteX42" fmla="*/ 49028 w 982797"/>
                      <a:gd name="connsiteY42" fmla="*/ 696328 h 974414"/>
                      <a:gd name="connsiteX43" fmla="*/ 42343 w 982797"/>
                      <a:gd name="connsiteY43" fmla="*/ 691879 h 974414"/>
                      <a:gd name="connsiteX44" fmla="*/ 11143 w 982797"/>
                      <a:gd name="connsiteY44" fmla="*/ 609565 h 974414"/>
                      <a:gd name="connsiteX45" fmla="*/ 15600 w 982797"/>
                      <a:gd name="connsiteY45" fmla="*/ 602891 h 974414"/>
                      <a:gd name="connsiteX46" fmla="*/ 104742 w 982797"/>
                      <a:gd name="connsiteY46" fmla="*/ 542824 h 974414"/>
                      <a:gd name="connsiteX47" fmla="*/ 106971 w 982797"/>
                      <a:gd name="connsiteY47" fmla="*/ 536150 h 974414"/>
                      <a:gd name="connsiteX48" fmla="*/ 104742 w 982797"/>
                      <a:gd name="connsiteY48" fmla="*/ 496106 h 974414"/>
                      <a:gd name="connsiteX49" fmla="*/ 102514 w 982797"/>
                      <a:gd name="connsiteY49" fmla="*/ 489432 h 974414"/>
                      <a:gd name="connsiteX50" fmla="*/ 4457 w 982797"/>
                      <a:gd name="connsiteY50" fmla="*/ 444938 h 974414"/>
                      <a:gd name="connsiteX51" fmla="*/ 0 w 982797"/>
                      <a:gd name="connsiteY51" fmla="*/ 440489 h 974414"/>
                      <a:gd name="connsiteX52" fmla="*/ 15600 w 982797"/>
                      <a:gd name="connsiteY52" fmla="*/ 353726 h 974414"/>
                      <a:gd name="connsiteX53" fmla="*/ 20057 w 982797"/>
                      <a:gd name="connsiteY53" fmla="*/ 351501 h 974414"/>
                      <a:gd name="connsiteX54" fmla="*/ 129257 w 982797"/>
                      <a:gd name="connsiteY54" fmla="*/ 342602 h 974414"/>
                      <a:gd name="connsiteX55" fmla="*/ 135942 w 982797"/>
                      <a:gd name="connsiteY55" fmla="*/ 340377 h 974414"/>
                      <a:gd name="connsiteX56" fmla="*/ 151542 w 982797"/>
                      <a:gd name="connsiteY56" fmla="*/ 302558 h 974414"/>
                      <a:gd name="connsiteX57" fmla="*/ 151542 w 982797"/>
                      <a:gd name="connsiteY57" fmla="*/ 295884 h 974414"/>
                      <a:gd name="connsiteX58" fmla="*/ 91371 w 982797"/>
                      <a:gd name="connsiteY58" fmla="*/ 209121 h 974414"/>
                      <a:gd name="connsiteX59" fmla="*/ 91371 w 982797"/>
                      <a:gd name="connsiteY59" fmla="*/ 200222 h 974414"/>
                      <a:gd name="connsiteX60" fmla="*/ 147085 w 982797"/>
                      <a:gd name="connsiteY60" fmla="*/ 133481 h 974414"/>
                      <a:gd name="connsiteX61" fmla="*/ 153771 w 982797"/>
                      <a:gd name="connsiteY61" fmla="*/ 133481 h 974414"/>
                      <a:gd name="connsiteX62" fmla="*/ 249599 w 982797"/>
                      <a:gd name="connsiteY62" fmla="*/ 180200 h 974414"/>
                      <a:gd name="connsiteX63" fmla="*/ 256285 w 982797"/>
                      <a:gd name="connsiteY63" fmla="*/ 180200 h 974414"/>
                      <a:gd name="connsiteX64" fmla="*/ 289713 w 982797"/>
                      <a:gd name="connsiteY64" fmla="*/ 157953 h 974414"/>
                      <a:gd name="connsiteX65" fmla="*/ 283027 w 982797"/>
                      <a:gd name="connsiteY65" fmla="*/ 44493 h 974414"/>
                      <a:gd name="connsiteX66" fmla="*/ 369942 w 982797"/>
                      <a:gd name="connsiteY66" fmla="*/ 11123 h 974414"/>
                      <a:gd name="connsiteX67" fmla="*/ 439027 w 982797"/>
                      <a:gd name="connsiteY67" fmla="*/ 106785 h 974414"/>
                      <a:gd name="connsiteX68" fmla="*/ 481370 w 982797"/>
                      <a:gd name="connsiteY68" fmla="*/ 102335 h 974414"/>
                      <a:gd name="connsiteX69" fmla="*/ 532627 w 982797"/>
                      <a:gd name="connsiteY6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11713 w 982797"/>
                      <a:gd name="connsiteY33" fmla="*/ 887652 h 974414"/>
                      <a:gd name="connsiteX34" fmla="*/ 205028 w 982797"/>
                      <a:gd name="connsiteY34" fmla="*/ 887652 h 974414"/>
                      <a:gd name="connsiteX35" fmla="*/ 138171 w 982797"/>
                      <a:gd name="connsiteY35" fmla="*/ 829810 h 974414"/>
                      <a:gd name="connsiteX36" fmla="*/ 135942 w 982797"/>
                      <a:gd name="connsiteY36" fmla="*/ 823135 h 974414"/>
                      <a:gd name="connsiteX37" fmla="*/ 182742 w 982797"/>
                      <a:gd name="connsiteY37" fmla="*/ 725249 h 974414"/>
                      <a:gd name="connsiteX38" fmla="*/ 182742 w 982797"/>
                      <a:gd name="connsiteY38" fmla="*/ 720800 h 974414"/>
                      <a:gd name="connsiteX39" fmla="*/ 160457 w 982797"/>
                      <a:gd name="connsiteY39" fmla="*/ 687429 h 974414"/>
                      <a:gd name="connsiteX40" fmla="*/ 153771 w 982797"/>
                      <a:gd name="connsiteY40" fmla="*/ 685205 h 974414"/>
                      <a:gd name="connsiteX41" fmla="*/ 49028 w 982797"/>
                      <a:gd name="connsiteY41" fmla="*/ 696328 h 974414"/>
                      <a:gd name="connsiteX42" fmla="*/ 42343 w 982797"/>
                      <a:gd name="connsiteY42" fmla="*/ 691879 h 974414"/>
                      <a:gd name="connsiteX43" fmla="*/ 11143 w 982797"/>
                      <a:gd name="connsiteY43" fmla="*/ 609565 h 974414"/>
                      <a:gd name="connsiteX44" fmla="*/ 15600 w 982797"/>
                      <a:gd name="connsiteY44" fmla="*/ 602891 h 974414"/>
                      <a:gd name="connsiteX45" fmla="*/ 104742 w 982797"/>
                      <a:gd name="connsiteY45" fmla="*/ 542824 h 974414"/>
                      <a:gd name="connsiteX46" fmla="*/ 106971 w 982797"/>
                      <a:gd name="connsiteY46" fmla="*/ 536150 h 974414"/>
                      <a:gd name="connsiteX47" fmla="*/ 104742 w 982797"/>
                      <a:gd name="connsiteY47" fmla="*/ 496106 h 974414"/>
                      <a:gd name="connsiteX48" fmla="*/ 102514 w 982797"/>
                      <a:gd name="connsiteY48" fmla="*/ 489432 h 974414"/>
                      <a:gd name="connsiteX49" fmla="*/ 4457 w 982797"/>
                      <a:gd name="connsiteY49" fmla="*/ 444938 h 974414"/>
                      <a:gd name="connsiteX50" fmla="*/ 0 w 982797"/>
                      <a:gd name="connsiteY50" fmla="*/ 440489 h 974414"/>
                      <a:gd name="connsiteX51" fmla="*/ 15600 w 982797"/>
                      <a:gd name="connsiteY51" fmla="*/ 353726 h 974414"/>
                      <a:gd name="connsiteX52" fmla="*/ 20057 w 982797"/>
                      <a:gd name="connsiteY52" fmla="*/ 351501 h 974414"/>
                      <a:gd name="connsiteX53" fmla="*/ 129257 w 982797"/>
                      <a:gd name="connsiteY53" fmla="*/ 342602 h 974414"/>
                      <a:gd name="connsiteX54" fmla="*/ 135942 w 982797"/>
                      <a:gd name="connsiteY54" fmla="*/ 340377 h 974414"/>
                      <a:gd name="connsiteX55" fmla="*/ 151542 w 982797"/>
                      <a:gd name="connsiteY55" fmla="*/ 302558 h 974414"/>
                      <a:gd name="connsiteX56" fmla="*/ 151542 w 982797"/>
                      <a:gd name="connsiteY56" fmla="*/ 295884 h 974414"/>
                      <a:gd name="connsiteX57" fmla="*/ 91371 w 982797"/>
                      <a:gd name="connsiteY57" fmla="*/ 209121 h 974414"/>
                      <a:gd name="connsiteX58" fmla="*/ 91371 w 982797"/>
                      <a:gd name="connsiteY58" fmla="*/ 200222 h 974414"/>
                      <a:gd name="connsiteX59" fmla="*/ 147085 w 982797"/>
                      <a:gd name="connsiteY59" fmla="*/ 133481 h 974414"/>
                      <a:gd name="connsiteX60" fmla="*/ 153771 w 982797"/>
                      <a:gd name="connsiteY60" fmla="*/ 133481 h 974414"/>
                      <a:gd name="connsiteX61" fmla="*/ 249599 w 982797"/>
                      <a:gd name="connsiteY61" fmla="*/ 180200 h 974414"/>
                      <a:gd name="connsiteX62" fmla="*/ 256285 w 982797"/>
                      <a:gd name="connsiteY62" fmla="*/ 180200 h 974414"/>
                      <a:gd name="connsiteX63" fmla="*/ 289713 w 982797"/>
                      <a:gd name="connsiteY63" fmla="*/ 157953 h 974414"/>
                      <a:gd name="connsiteX64" fmla="*/ 283027 w 982797"/>
                      <a:gd name="connsiteY64" fmla="*/ 44493 h 974414"/>
                      <a:gd name="connsiteX65" fmla="*/ 369942 w 982797"/>
                      <a:gd name="connsiteY65" fmla="*/ 11123 h 974414"/>
                      <a:gd name="connsiteX66" fmla="*/ 439027 w 982797"/>
                      <a:gd name="connsiteY66" fmla="*/ 106785 h 974414"/>
                      <a:gd name="connsiteX67" fmla="*/ 481370 w 982797"/>
                      <a:gd name="connsiteY67" fmla="*/ 102335 h 974414"/>
                      <a:gd name="connsiteX68" fmla="*/ 532627 w 982797"/>
                      <a:gd name="connsiteY68"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8171 w 982797"/>
                      <a:gd name="connsiteY34" fmla="*/ 829810 h 974414"/>
                      <a:gd name="connsiteX35" fmla="*/ 135942 w 982797"/>
                      <a:gd name="connsiteY35" fmla="*/ 823135 h 974414"/>
                      <a:gd name="connsiteX36" fmla="*/ 182742 w 982797"/>
                      <a:gd name="connsiteY36" fmla="*/ 725249 h 974414"/>
                      <a:gd name="connsiteX37" fmla="*/ 182742 w 982797"/>
                      <a:gd name="connsiteY37" fmla="*/ 720800 h 974414"/>
                      <a:gd name="connsiteX38" fmla="*/ 160457 w 982797"/>
                      <a:gd name="connsiteY38" fmla="*/ 687429 h 974414"/>
                      <a:gd name="connsiteX39" fmla="*/ 153771 w 982797"/>
                      <a:gd name="connsiteY39" fmla="*/ 685205 h 974414"/>
                      <a:gd name="connsiteX40" fmla="*/ 49028 w 982797"/>
                      <a:gd name="connsiteY40" fmla="*/ 696328 h 974414"/>
                      <a:gd name="connsiteX41" fmla="*/ 42343 w 982797"/>
                      <a:gd name="connsiteY41" fmla="*/ 691879 h 974414"/>
                      <a:gd name="connsiteX42" fmla="*/ 11143 w 982797"/>
                      <a:gd name="connsiteY42" fmla="*/ 609565 h 974414"/>
                      <a:gd name="connsiteX43" fmla="*/ 15600 w 982797"/>
                      <a:gd name="connsiteY43" fmla="*/ 602891 h 974414"/>
                      <a:gd name="connsiteX44" fmla="*/ 104742 w 982797"/>
                      <a:gd name="connsiteY44" fmla="*/ 542824 h 974414"/>
                      <a:gd name="connsiteX45" fmla="*/ 106971 w 982797"/>
                      <a:gd name="connsiteY45" fmla="*/ 536150 h 974414"/>
                      <a:gd name="connsiteX46" fmla="*/ 104742 w 982797"/>
                      <a:gd name="connsiteY46" fmla="*/ 496106 h 974414"/>
                      <a:gd name="connsiteX47" fmla="*/ 102514 w 982797"/>
                      <a:gd name="connsiteY47" fmla="*/ 489432 h 974414"/>
                      <a:gd name="connsiteX48" fmla="*/ 4457 w 982797"/>
                      <a:gd name="connsiteY48" fmla="*/ 444938 h 974414"/>
                      <a:gd name="connsiteX49" fmla="*/ 0 w 982797"/>
                      <a:gd name="connsiteY49" fmla="*/ 440489 h 974414"/>
                      <a:gd name="connsiteX50" fmla="*/ 15600 w 982797"/>
                      <a:gd name="connsiteY50" fmla="*/ 353726 h 974414"/>
                      <a:gd name="connsiteX51" fmla="*/ 20057 w 982797"/>
                      <a:gd name="connsiteY51" fmla="*/ 351501 h 974414"/>
                      <a:gd name="connsiteX52" fmla="*/ 129257 w 982797"/>
                      <a:gd name="connsiteY52" fmla="*/ 342602 h 974414"/>
                      <a:gd name="connsiteX53" fmla="*/ 135942 w 982797"/>
                      <a:gd name="connsiteY53" fmla="*/ 340377 h 974414"/>
                      <a:gd name="connsiteX54" fmla="*/ 151542 w 982797"/>
                      <a:gd name="connsiteY54" fmla="*/ 302558 h 974414"/>
                      <a:gd name="connsiteX55" fmla="*/ 151542 w 982797"/>
                      <a:gd name="connsiteY55" fmla="*/ 295884 h 974414"/>
                      <a:gd name="connsiteX56" fmla="*/ 91371 w 982797"/>
                      <a:gd name="connsiteY56" fmla="*/ 209121 h 974414"/>
                      <a:gd name="connsiteX57" fmla="*/ 91371 w 982797"/>
                      <a:gd name="connsiteY57" fmla="*/ 200222 h 974414"/>
                      <a:gd name="connsiteX58" fmla="*/ 147085 w 982797"/>
                      <a:gd name="connsiteY58" fmla="*/ 133481 h 974414"/>
                      <a:gd name="connsiteX59" fmla="*/ 153771 w 982797"/>
                      <a:gd name="connsiteY59" fmla="*/ 133481 h 974414"/>
                      <a:gd name="connsiteX60" fmla="*/ 249599 w 982797"/>
                      <a:gd name="connsiteY60" fmla="*/ 180200 h 974414"/>
                      <a:gd name="connsiteX61" fmla="*/ 256285 w 982797"/>
                      <a:gd name="connsiteY61" fmla="*/ 180200 h 974414"/>
                      <a:gd name="connsiteX62" fmla="*/ 289713 w 982797"/>
                      <a:gd name="connsiteY62" fmla="*/ 157953 h 974414"/>
                      <a:gd name="connsiteX63" fmla="*/ 283027 w 982797"/>
                      <a:gd name="connsiteY63" fmla="*/ 44493 h 974414"/>
                      <a:gd name="connsiteX64" fmla="*/ 369942 w 982797"/>
                      <a:gd name="connsiteY64" fmla="*/ 11123 h 974414"/>
                      <a:gd name="connsiteX65" fmla="*/ 439027 w 982797"/>
                      <a:gd name="connsiteY65" fmla="*/ 106785 h 974414"/>
                      <a:gd name="connsiteX66" fmla="*/ 481370 w 982797"/>
                      <a:gd name="connsiteY66" fmla="*/ 102335 h 974414"/>
                      <a:gd name="connsiteX67" fmla="*/ 532627 w 982797"/>
                      <a:gd name="connsiteY67"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82742 w 982797"/>
                      <a:gd name="connsiteY36" fmla="*/ 720800 h 974414"/>
                      <a:gd name="connsiteX37" fmla="*/ 160457 w 982797"/>
                      <a:gd name="connsiteY37" fmla="*/ 687429 h 974414"/>
                      <a:gd name="connsiteX38" fmla="*/ 153771 w 982797"/>
                      <a:gd name="connsiteY38" fmla="*/ 685205 h 974414"/>
                      <a:gd name="connsiteX39" fmla="*/ 49028 w 982797"/>
                      <a:gd name="connsiteY39" fmla="*/ 696328 h 974414"/>
                      <a:gd name="connsiteX40" fmla="*/ 42343 w 982797"/>
                      <a:gd name="connsiteY40" fmla="*/ 691879 h 974414"/>
                      <a:gd name="connsiteX41" fmla="*/ 11143 w 982797"/>
                      <a:gd name="connsiteY41" fmla="*/ 609565 h 974414"/>
                      <a:gd name="connsiteX42" fmla="*/ 15600 w 982797"/>
                      <a:gd name="connsiteY42" fmla="*/ 602891 h 974414"/>
                      <a:gd name="connsiteX43" fmla="*/ 104742 w 982797"/>
                      <a:gd name="connsiteY43" fmla="*/ 542824 h 974414"/>
                      <a:gd name="connsiteX44" fmla="*/ 106971 w 982797"/>
                      <a:gd name="connsiteY44" fmla="*/ 536150 h 974414"/>
                      <a:gd name="connsiteX45" fmla="*/ 104742 w 982797"/>
                      <a:gd name="connsiteY45" fmla="*/ 496106 h 974414"/>
                      <a:gd name="connsiteX46" fmla="*/ 102514 w 982797"/>
                      <a:gd name="connsiteY46" fmla="*/ 489432 h 974414"/>
                      <a:gd name="connsiteX47" fmla="*/ 4457 w 982797"/>
                      <a:gd name="connsiteY47" fmla="*/ 444938 h 974414"/>
                      <a:gd name="connsiteX48" fmla="*/ 0 w 982797"/>
                      <a:gd name="connsiteY48" fmla="*/ 440489 h 974414"/>
                      <a:gd name="connsiteX49" fmla="*/ 15600 w 982797"/>
                      <a:gd name="connsiteY49" fmla="*/ 353726 h 974414"/>
                      <a:gd name="connsiteX50" fmla="*/ 20057 w 982797"/>
                      <a:gd name="connsiteY50" fmla="*/ 351501 h 974414"/>
                      <a:gd name="connsiteX51" fmla="*/ 129257 w 982797"/>
                      <a:gd name="connsiteY51" fmla="*/ 342602 h 974414"/>
                      <a:gd name="connsiteX52" fmla="*/ 135942 w 982797"/>
                      <a:gd name="connsiteY52" fmla="*/ 340377 h 974414"/>
                      <a:gd name="connsiteX53" fmla="*/ 151542 w 982797"/>
                      <a:gd name="connsiteY53" fmla="*/ 302558 h 974414"/>
                      <a:gd name="connsiteX54" fmla="*/ 151542 w 982797"/>
                      <a:gd name="connsiteY54" fmla="*/ 295884 h 974414"/>
                      <a:gd name="connsiteX55" fmla="*/ 91371 w 982797"/>
                      <a:gd name="connsiteY55" fmla="*/ 209121 h 974414"/>
                      <a:gd name="connsiteX56" fmla="*/ 91371 w 982797"/>
                      <a:gd name="connsiteY56" fmla="*/ 200222 h 974414"/>
                      <a:gd name="connsiteX57" fmla="*/ 147085 w 982797"/>
                      <a:gd name="connsiteY57" fmla="*/ 133481 h 974414"/>
                      <a:gd name="connsiteX58" fmla="*/ 153771 w 982797"/>
                      <a:gd name="connsiteY58" fmla="*/ 133481 h 974414"/>
                      <a:gd name="connsiteX59" fmla="*/ 249599 w 982797"/>
                      <a:gd name="connsiteY59" fmla="*/ 180200 h 974414"/>
                      <a:gd name="connsiteX60" fmla="*/ 256285 w 982797"/>
                      <a:gd name="connsiteY60" fmla="*/ 180200 h 974414"/>
                      <a:gd name="connsiteX61" fmla="*/ 289713 w 982797"/>
                      <a:gd name="connsiteY61" fmla="*/ 157953 h 974414"/>
                      <a:gd name="connsiteX62" fmla="*/ 283027 w 982797"/>
                      <a:gd name="connsiteY62" fmla="*/ 44493 h 974414"/>
                      <a:gd name="connsiteX63" fmla="*/ 369942 w 982797"/>
                      <a:gd name="connsiteY63" fmla="*/ 11123 h 974414"/>
                      <a:gd name="connsiteX64" fmla="*/ 439027 w 982797"/>
                      <a:gd name="connsiteY64" fmla="*/ 106785 h 974414"/>
                      <a:gd name="connsiteX65" fmla="*/ 481370 w 982797"/>
                      <a:gd name="connsiteY65" fmla="*/ 102335 h 974414"/>
                      <a:gd name="connsiteX66" fmla="*/ 532627 w 982797"/>
                      <a:gd name="connsiteY66"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60457 w 982797"/>
                      <a:gd name="connsiteY36" fmla="*/ 687429 h 974414"/>
                      <a:gd name="connsiteX37" fmla="*/ 153771 w 982797"/>
                      <a:gd name="connsiteY37" fmla="*/ 685205 h 974414"/>
                      <a:gd name="connsiteX38" fmla="*/ 49028 w 982797"/>
                      <a:gd name="connsiteY38" fmla="*/ 696328 h 974414"/>
                      <a:gd name="connsiteX39" fmla="*/ 42343 w 982797"/>
                      <a:gd name="connsiteY39" fmla="*/ 691879 h 974414"/>
                      <a:gd name="connsiteX40" fmla="*/ 11143 w 982797"/>
                      <a:gd name="connsiteY40" fmla="*/ 609565 h 974414"/>
                      <a:gd name="connsiteX41" fmla="*/ 15600 w 982797"/>
                      <a:gd name="connsiteY41" fmla="*/ 602891 h 974414"/>
                      <a:gd name="connsiteX42" fmla="*/ 104742 w 982797"/>
                      <a:gd name="connsiteY42" fmla="*/ 542824 h 974414"/>
                      <a:gd name="connsiteX43" fmla="*/ 106971 w 982797"/>
                      <a:gd name="connsiteY43" fmla="*/ 536150 h 974414"/>
                      <a:gd name="connsiteX44" fmla="*/ 104742 w 982797"/>
                      <a:gd name="connsiteY44" fmla="*/ 496106 h 974414"/>
                      <a:gd name="connsiteX45" fmla="*/ 102514 w 982797"/>
                      <a:gd name="connsiteY45" fmla="*/ 489432 h 974414"/>
                      <a:gd name="connsiteX46" fmla="*/ 4457 w 982797"/>
                      <a:gd name="connsiteY46" fmla="*/ 444938 h 974414"/>
                      <a:gd name="connsiteX47" fmla="*/ 0 w 982797"/>
                      <a:gd name="connsiteY47" fmla="*/ 440489 h 974414"/>
                      <a:gd name="connsiteX48" fmla="*/ 15600 w 982797"/>
                      <a:gd name="connsiteY48" fmla="*/ 353726 h 974414"/>
                      <a:gd name="connsiteX49" fmla="*/ 20057 w 982797"/>
                      <a:gd name="connsiteY49" fmla="*/ 351501 h 974414"/>
                      <a:gd name="connsiteX50" fmla="*/ 129257 w 982797"/>
                      <a:gd name="connsiteY50" fmla="*/ 342602 h 974414"/>
                      <a:gd name="connsiteX51" fmla="*/ 135942 w 982797"/>
                      <a:gd name="connsiteY51" fmla="*/ 340377 h 974414"/>
                      <a:gd name="connsiteX52" fmla="*/ 151542 w 982797"/>
                      <a:gd name="connsiteY52" fmla="*/ 302558 h 974414"/>
                      <a:gd name="connsiteX53" fmla="*/ 151542 w 982797"/>
                      <a:gd name="connsiteY53" fmla="*/ 295884 h 974414"/>
                      <a:gd name="connsiteX54" fmla="*/ 91371 w 982797"/>
                      <a:gd name="connsiteY54" fmla="*/ 209121 h 974414"/>
                      <a:gd name="connsiteX55" fmla="*/ 91371 w 982797"/>
                      <a:gd name="connsiteY55" fmla="*/ 200222 h 974414"/>
                      <a:gd name="connsiteX56" fmla="*/ 147085 w 982797"/>
                      <a:gd name="connsiteY56" fmla="*/ 133481 h 974414"/>
                      <a:gd name="connsiteX57" fmla="*/ 153771 w 982797"/>
                      <a:gd name="connsiteY57" fmla="*/ 133481 h 974414"/>
                      <a:gd name="connsiteX58" fmla="*/ 249599 w 982797"/>
                      <a:gd name="connsiteY58" fmla="*/ 180200 h 974414"/>
                      <a:gd name="connsiteX59" fmla="*/ 256285 w 982797"/>
                      <a:gd name="connsiteY59" fmla="*/ 180200 h 974414"/>
                      <a:gd name="connsiteX60" fmla="*/ 289713 w 982797"/>
                      <a:gd name="connsiteY60" fmla="*/ 157953 h 974414"/>
                      <a:gd name="connsiteX61" fmla="*/ 283027 w 982797"/>
                      <a:gd name="connsiteY61" fmla="*/ 44493 h 974414"/>
                      <a:gd name="connsiteX62" fmla="*/ 369942 w 982797"/>
                      <a:gd name="connsiteY62" fmla="*/ 11123 h 974414"/>
                      <a:gd name="connsiteX63" fmla="*/ 439027 w 982797"/>
                      <a:gd name="connsiteY63" fmla="*/ 106785 h 974414"/>
                      <a:gd name="connsiteX64" fmla="*/ 481370 w 982797"/>
                      <a:gd name="connsiteY64" fmla="*/ 102335 h 974414"/>
                      <a:gd name="connsiteX65" fmla="*/ 532627 w 982797"/>
                      <a:gd name="connsiteY65"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42343 w 982797"/>
                      <a:gd name="connsiteY38" fmla="*/ 691879 h 974414"/>
                      <a:gd name="connsiteX39" fmla="*/ 11143 w 982797"/>
                      <a:gd name="connsiteY39" fmla="*/ 609565 h 974414"/>
                      <a:gd name="connsiteX40" fmla="*/ 15600 w 982797"/>
                      <a:gd name="connsiteY40" fmla="*/ 602891 h 974414"/>
                      <a:gd name="connsiteX41" fmla="*/ 104742 w 982797"/>
                      <a:gd name="connsiteY41" fmla="*/ 542824 h 974414"/>
                      <a:gd name="connsiteX42" fmla="*/ 106971 w 982797"/>
                      <a:gd name="connsiteY42" fmla="*/ 536150 h 974414"/>
                      <a:gd name="connsiteX43" fmla="*/ 104742 w 982797"/>
                      <a:gd name="connsiteY43" fmla="*/ 496106 h 974414"/>
                      <a:gd name="connsiteX44" fmla="*/ 102514 w 982797"/>
                      <a:gd name="connsiteY44" fmla="*/ 489432 h 974414"/>
                      <a:gd name="connsiteX45" fmla="*/ 4457 w 982797"/>
                      <a:gd name="connsiteY45" fmla="*/ 444938 h 974414"/>
                      <a:gd name="connsiteX46" fmla="*/ 0 w 982797"/>
                      <a:gd name="connsiteY46" fmla="*/ 440489 h 974414"/>
                      <a:gd name="connsiteX47" fmla="*/ 15600 w 982797"/>
                      <a:gd name="connsiteY47" fmla="*/ 353726 h 974414"/>
                      <a:gd name="connsiteX48" fmla="*/ 20057 w 982797"/>
                      <a:gd name="connsiteY48" fmla="*/ 351501 h 974414"/>
                      <a:gd name="connsiteX49" fmla="*/ 129257 w 982797"/>
                      <a:gd name="connsiteY49" fmla="*/ 342602 h 974414"/>
                      <a:gd name="connsiteX50" fmla="*/ 135942 w 982797"/>
                      <a:gd name="connsiteY50" fmla="*/ 340377 h 974414"/>
                      <a:gd name="connsiteX51" fmla="*/ 151542 w 982797"/>
                      <a:gd name="connsiteY51" fmla="*/ 302558 h 974414"/>
                      <a:gd name="connsiteX52" fmla="*/ 151542 w 982797"/>
                      <a:gd name="connsiteY52" fmla="*/ 295884 h 974414"/>
                      <a:gd name="connsiteX53" fmla="*/ 91371 w 982797"/>
                      <a:gd name="connsiteY53" fmla="*/ 209121 h 974414"/>
                      <a:gd name="connsiteX54" fmla="*/ 91371 w 982797"/>
                      <a:gd name="connsiteY54" fmla="*/ 200222 h 974414"/>
                      <a:gd name="connsiteX55" fmla="*/ 147085 w 982797"/>
                      <a:gd name="connsiteY55" fmla="*/ 133481 h 974414"/>
                      <a:gd name="connsiteX56" fmla="*/ 153771 w 982797"/>
                      <a:gd name="connsiteY56" fmla="*/ 133481 h 974414"/>
                      <a:gd name="connsiteX57" fmla="*/ 249599 w 982797"/>
                      <a:gd name="connsiteY57" fmla="*/ 180200 h 974414"/>
                      <a:gd name="connsiteX58" fmla="*/ 256285 w 982797"/>
                      <a:gd name="connsiteY58" fmla="*/ 180200 h 974414"/>
                      <a:gd name="connsiteX59" fmla="*/ 289713 w 982797"/>
                      <a:gd name="connsiteY59" fmla="*/ 157953 h 974414"/>
                      <a:gd name="connsiteX60" fmla="*/ 283027 w 982797"/>
                      <a:gd name="connsiteY60" fmla="*/ 44493 h 974414"/>
                      <a:gd name="connsiteX61" fmla="*/ 369942 w 982797"/>
                      <a:gd name="connsiteY61" fmla="*/ 11123 h 974414"/>
                      <a:gd name="connsiteX62" fmla="*/ 439027 w 982797"/>
                      <a:gd name="connsiteY62" fmla="*/ 106785 h 974414"/>
                      <a:gd name="connsiteX63" fmla="*/ 481370 w 982797"/>
                      <a:gd name="connsiteY63" fmla="*/ 102335 h 974414"/>
                      <a:gd name="connsiteX64" fmla="*/ 532627 w 982797"/>
                      <a:gd name="connsiteY64"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1143 w 982797"/>
                      <a:gd name="connsiteY38" fmla="*/ 609565 h 974414"/>
                      <a:gd name="connsiteX39" fmla="*/ 15600 w 982797"/>
                      <a:gd name="connsiteY39" fmla="*/ 602891 h 974414"/>
                      <a:gd name="connsiteX40" fmla="*/ 104742 w 982797"/>
                      <a:gd name="connsiteY40" fmla="*/ 542824 h 974414"/>
                      <a:gd name="connsiteX41" fmla="*/ 106971 w 982797"/>
                      <a:gd name="connsiteY41" fmla="*/ 536150 h 974414"/>
                      <a:gd name="connsiteX42" fmla="*/ 104742 w 982797"/>
                      <a:gd name="connsiteY42" fmla="*/ 496106 h 974414"/>
                      <a:gd name="connsiteX43" fmla="*/ 102514 w 982797"/>
                      <a:gd name="connsiteY43" fmla="*/ 489432 h 974414"/>
                      <a:gd name="connsiteX44" fmla="*/ 4457 w 982797"/>
                      <a:gd name="connsiteY44" fmla="*/ 444938 h 974414"/>
                      <a:gd name="connsiteX45" fmla="*/ 0 w 982797"/>
                      <a:gd name="connsiteY45" fmla="*/ 440489 h 974414"/>
                      <a:gd name="connsiteX46" fmla="*/ 15600 w 982797"/>
                      <a:gd name="connsiteY46" fmla="*/ 353726 h 974414"/>
                      <a:gd name="connsiteX47" fmla="*/ 20057 w 982797"/>
                      <a:gd name="connsiteY47" fmla="*/ 351501 h 974414"/>
                      <a:gd name="connsiteX48" fmla="*/ 129257 w 982797"/>
                      <a:gd name="connsiteY48" fmla="*/ 342602 h 974414"/>
                      <a:gd name="connsiteX49" fmla="*/ 135942 w 982797"/>
                      <a:gd name="connsiteY49" fmla="*/ 340377 h 974414"/>
                      <a:gd name="connsiteX50" fmla="*/ 151542 w 982797"/>
                      <a:gd name="connsiteY50" fmla="*/ 302558 h 974414"/>
                      <a:gd name="connsiteX51" fmla="*/ 151542 w 982797"/>
                      <a:gd name="connsiteY51" fmla="*/ 295884 h 974414"/>
                      <a:gd name="connsiteX52" fmla="*/ 91371 w 982797"/>
                      <a:gd name="connsiteY52" fmla="*/ 209121 h 974414"/>
                      <a:gd name="connsiteX53" fmla="*/ 91371 w 982797"/>
                      <a:gd name="connsiteY53" fmla="*/ 200222 h 974414"/>
                      <a:gd name="connsiteX54" fmla="*/ 147085 w 982797"/>
                      <a:gd name="connsiteY54" fmla="*/ 133481 h 974414"/>
                      <a:gd name="connsiteX55" fmla="*/ 153771 w 982797"/>
                      <a:gd name="connsiteY55" fmla="*/ 133481 h 974414"/>
                      <a:gd name="connsiteX56" fmla="*/ 249599 w 982797"/>
                      <a:gd name="connsiteY56" fmla="*/ 180200 h 974414"/>
                      <a:gd name="connsiteX57" fmla="*/ 256285 w 982797"/>
                      <a:gd name="connsiteY57" fmla="*/ 180200 h 974414"/>
                      <a:gd name="connsiteX58" fmla="*/ 289713 w 982797"/>
                      <a:gd name="connsiteY58" fmla="*/ 157953 h 974414"/>
                      <a:gd name="connsiteX59" fmla="*/ 283027 w 982797"/>
                      <a:gd name="connsiteY59" fmla="*/ 44493 h 974414"/>
                      <a:gd name="connsiteX60" fmla="*/ 369942 w 982797"/>
                      <a:gd name="connsiteY60" fmla="*/ 11123 h 974414"/>
                      <a:gd name="connsiteX61" fmla="*/ 439027 w 982797"/>
                      <a:gd name="connsiteY61" fmla="*/ 106785 h 974414"/>
                      <a:gd name="connsiteX62" fmla="*/ 481370 w 982797"/>
                      <a:gd name="connsiteY62" fmla="*/ 102335 h 974414"/>
                      <a:gd name="connsiteX63" fmla="*/ 532627 w 982797"/>
                      <a:gd name="connsiteY63"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6971 w 982797"/>
                      <a:gd name="connsiteY40" fmla="*/ 536150 h 974414"/>
                      <a:gd name="connsiteX41" fmla="*/ 104742 w 982797"/>
                      <a:gd name="connsiteY41" fmla="*/ 496106 h 974414"/>
                      <a:gd name="connsiteX42" fmla="*/ 102514 w 982797"/>
                      <a:gd name="connsiteY42" fmla="*/ 489432 h 974414"/>
                      <a:gd name="connsiteX43" fmla="*/ 4457 w 982797"/>
                      <a:gd name="connsiteY43" fmla="*/ 444938 h 974414"/>
                      <a:gd name="connsiteX44" fmla="*/ 0 w 982797"/>
                      <a:gd name="connsiteY44" fmla="*/ 440489 h 974414"/>
                      <a:gd name="connsiteX45" fmla="*/ 15600 w 982797"/>
                      <a:gd name="connsiteY45" fmla="*/ 353726 h 974414"/>
                      <a:gd name="connsiteX46" fmla="*/ 20057 w 982797"/>
                      <a:gd name="connsiteY46" fmla="*/ 351501 h 974414"/>
                      <a:gd name="connsiteX47" fmla="*/ 129257 w 982797"/>
                      <a:gd name="connsiteY47" fmla="*/ 342602 h 974414"/>
                      <a:gd name="connsiteX48" fmla="*/ 135942 w 982797"/>
                      <a:gd name="connsiteY48" fmla="*/ 340377 h 974414"/>
                      <a:gd name="connsiteX49" fmla="*/ 151542 w 982797"/>
                      <a:gd name="connsiteY49" fmla="*/ 302558 h 974414"/>
                      <a:gd name="connsiteX50" fmla="*/ 151542 w 982797"/>
                      <a:gd name="connsiteY50" fmla="*/ 295884 h 974414"/>
                      <a:gd name="connsiteX51" fmla="*/ 91371 w 982797"/>
                      <a:gd name="connsiteY51" fmla="*/ 209121 h 974414"/>
                      <a:gd name="connsiteX52" fmla="*/ 91371 w 982797"/>
                      <a:gd name="connsiteY52" fmla="*/ 200222 h 974414"/>
                      <a:gd name="connsiteX53" fmla="*/ 147085 w 982797"/>
                      <a:gd name="connsiteY53" fmla="*/ 133481 h 974414"/>
                      <a:gd name="connsiteX54" fmla="*/ 153771 w 982797"/>
                      <a:gd name="connsiteY54" fmla="*/ 133481 h 974414"/>
                      <a:gd name="connsiteX55" fmla="*/ 249599 w 982797"/>
                      <a:gd name="connsiteY55" fmla="*/ 180200 h 974414"/>
                      <a:gd name="connsiteX56" fmla="*/ 256285 w 982797"/>
                      <a:gd name="connsiteY56" fmla="*/ 180200 h 974414"/>
                      <a:gd name="connsiteX57" fmla="*/ 289713 w 982797"/>
                      <a:gd name="connsiteY57" fmla="*/ 157953 h 974414"/>
                      <a:gd name="connsiteX58" fmla="*/ 283027 w 982797"/>
                      <a:gd name="connsiteY58" fmla="*/ 44493 h 974414"/>
                      <a:gd name="connsiteX59" fmla="*/ 369942 w 982797"/>
                      <a:gd name="connsiteY59" fmla="*/ 11123 h 974414"/>
                      <a:gd name="connsiteX60" fmla="*/ 439027 w 982797"/>
                      <a:gd name="connsiteY60" fmla="*/ 106785 h 974414"/>
                      <a:gd name="connsiteX61" fmla="*/ 481370 w 982797"/>
                      <a:gd name="connsiteY61" fmla="*/ 102335 h 974414"/>
                      <a:gd name="connsiteX62" fmla="*/ 532627 w 982797"/>
                      <a:gd name="connsiteY62"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102514 w 982797"/>
                      <a:gd name="connsiteY41" fmla="*/ 489432 h 974414"/>
                      <a:gd name="connsiteX42" fmla="*/ 4457 w 982797"/>
                      <a:gd name="connsiteY42" fmla="*/ 444938 h 974414"/>
                      <a:gd name="connsiteX43" fmla="*/ 0 w 982797"/>
                      <a:gd name="connsiteY43" fmla="*/ 440489 h 974414"/>
                      <a:gd name="connsiteX44" fmla="*/ 15600 w 982797"/>
                      <a:gd name="connsiteY44" fmla="*/ 353726 h 974414"/>
                      <a:gd name="connsiteX45" fmla="*/ 20057 w 982797"/>
                      <a:gd name="connsiteY45" fmla="*/ 351501 h 974414"/>
                      <a:gd name="connsiteX46" fmla="*/ 129257 w 982797"/>
                      <a:gd name="connsiteY46" fmla="*/ 342602 h 974414"/>
                      <a:gd name="connsiteX47" fmla="*/ 135942 w 982797"/>
                      <a:gd name="connsiteY47" fmla="*/ 340377 h 974414"/>
                      <a:gd name="connsiteX48" fmla="*/ 151542 w 982797"/>
                      <a:gd name="connsiteY48" fmla="*/ 302558 h 974414"/>
                      <a:gd name="connsiteX49" fmla="*/ 151542 w 982797"/>
                      <a:gd name="connsiteY49" fmla="*/ 295884 h 974414"/>
                      <a:gd name="connsiteX50" fmla="*/ 91371 w 982797"/>
                      <a:gd name="connsiteY50" fmla="*/ 209121 h 974414"/>
                      <a:gd name="connsiteX51" fmla="*/ 91371 w 982797"/>
                      <a:gd name="connsiteY51" fmla="*/ 200222 h 974414"/>
                      <a:gd name="connsiteX52" fmla="*/ 147085 w 982797"/>
                      <a:gd name="connsiteY52" fmla="*/ 133481 h 974414"/>
                      <a:gd name="connsiteX53" fmla="*/ 153771 w 982797"/>
                      <a:gd name="connsiteY53" fmla="*/ 133481 h 974414"/>
                      <a:gd name="connsiteX54" fmla="*/ 249599 w 982797"/>
                      <a:gd name="connsiteY54" fmla="*/ 180200 h 974414"/>
                      <a:gd name="connsiteX55" fmla="*/ 256285 w 982797"/>
                      <a:gd name="connsiteY55" fmla="*/ 180200 h 974414"/>
                      <a:gd name="connsiteX56" fmla="*/ 289713 w 982797"/>
                      <a:gd name="connsiteY56" fmla="*/ 157953 h 974414"/>
                      <a:gd name="connsiteX57" fmla="*/ 283027 w 982797"/>
                      <a:gd name="connsiteY57" fmla="*/ 44493 h 974414"/>
                      <a:gd name="connsiteX58" fmla="*/ 369942 w 982797"/>
                      <a:gd name="connsiteY58" fmla="*/ 11123 h 974414"/>
                      <a:gd name="connsiteX59" fmla="*/ 439027 w 982797"/>
                      <a:gd name="connsiteY59" fmla="*/ 106785 h 974414"/>
                      <a:gd name="connsiteX60" fmla="*/ 481370 w 982797"/>
                      <a:gd name="connsiteY60" fmla="*/ 102335 h 974414"/>
                      <a:gd name="connsiteX61" fmla="*/ 532627 w 982797"/>
                      <a:gd name="connsiteY61"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15600 w 982797"/>
                      <a:gd name="connsiteY43" fmla="*/ 353726 h 974414"/>
                      <a:gd name="connsiteX44" fmla="*/ 20057 w 982797"/>
                      <a:gd name="connsiteY44" fmla="*/ 351501 h 974414"/>
                      <a:gd name="connsiteX45" fmla="*/ 129257 w 982797"/>
                      <a:gd name="connsiteY45" fmla="*/ 342602 h 974414"/>
                      <a:gd name="connsiteX46" fmla="*/ 135942 w 982797"/>
                      <a:gd name="connsiteY46" fmla="*/ 340377 h 974414"/>
                      <a:gd name="connsiteX47" fmla="*/ 151542 w 982797"/>
                      <a:gd name="connsiteY47" fmla="*/ 302558 h 974414"/>
                      <a:gd name="connsiteX48" fmla="*/ 151542 w 982797"/>
                      <a:gd name="connsiteY48" fmla="*/ 295884 h 974414"/>
                      <a:gd name="connsiteX49" fmla="*/ 91371 w 982797"/>
                      <a:gd name="connsiteY49" fmla="*/ 209121 h 974414"/>
                      <a:gd name="connsiteX50" fmla="*/ 91371 w 982797"/>
                      <a:gd name="connsiteY50" fmla="*/ 200222 h 974414"/>
                      <a:gd name="connsiteX51" fmla="*/ 147085 w 982797"/>
                      <a:gd name="connsiteY51" fmla="*/ 133481 h 974414"/>
                      <a:gd name="connsiteX52" fmla="*/ 153771 w 982797"/>
                      <a:gd name="connsiteY52" fmla="*/ 133481 h 974414"/>
                      <a:gd name="connsiteX53" fmla="*/ 249599 w 982797"/>
                      <a:gd name="connsiteY53" fmla="*/ 180200 h 974414"/>
                      <a:gd name="connsiteX54" fmla="*/ 256285 w 982797"/>
                      <a:gd name="connsiteY54" fmla="*/ 180200 h 974414"/>
                      <a:gd name="connsiteX55" fmla="*/ 289713 w 982797"/>
                      <a:gd name="connsiteY55" fmla="*/ 157953 h 974414"/>
                      <a:gd name="connsiteX56" fmla="*/ 283027 w 982797"/>
                      <a:gd name="connsiteY56" fmla="*/ 44493 h 974414"/>
                      <a:gd name="connsiteX57" fmla="*/ 369942 w 982797"/>
                      <a:gd name="connsiteY57" fmla="*/ 11123 h 974414"/>
                      <a:gd name="connsiteX58" fmla="*/ 439027 w 982797"/>
                      <a:gd name="connsiteY58" fmla="*/ 106785 h 974414"/>
                      <a:gd name="connsiteX59" fmla="*/ 481370 w 982797"/>
                      <a:gd name="connsiteY59" fmla="*/ 102335 h 974414"/>
                      <a:gd name="connsiteX60" fmla="*/ 532627 w 982797"/>
                      <a:gd name="connsiteY60"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24800 w 978340"/>
                      <a:gd name="connsiteY43" fmla="*/ 342602 h 974414"/>
                      <a:gd name="connsiteX44" fmla="*/ 131485 w 978340"/>
                      <a:gd name="connsiteY44" fmla="*/ 340377 h 974414"/>
                      <a:gd name="connsiteX45" fmla="*/ 147085 w 978340"/>
                      <a:gd name="connsiteY45" fmla="*/ 302558 h 974414"/>
                      <a:gd name="connsiteX46" fmla="*/ 147085 w 978340"/>
                      <a:gd name="connsiteY46" fmla="*/ 295884 h 974414"/>
                      <a:gd name="connsiteX47" fmla="*/ 86914 w 978340"/>
                      <a:gd name="connsiteY47" fmla="*/ 209121 h 974414"/>
                      <a:gd name="connsiteX48" fmla="*/ 86914 w 978340"/>
                      <a:gd name="connsiteY48" fmla="*/ 200222 h 974414"/>
                      <a:gd name="connsiteX49" fmla="*/ 142628 w 978340"/>
                      <a:gd name="connsiteY49" fmla="*/ 133481 h 974414"/>
                      <a:gd name="connsiteX50" fmla="*/ 149314 w 978340"/>
                      <a:gd name="connsiteY50" fmla="*/ 133481 h 974414"/>
                      <a:gd name="connsiteX51" fmla="*/ 245142 w 978340"/>
                      <a:gd name="connsiteY51" fmla="*/ 180200 h 974414"/>
                      <a:gd name="connsiteX52" fmla="*/ 251828 w 978340"/>
                      <a:gd name="connsiteY52" fmla="*/ 180200 h 974414"/>
                      <a:gd name="connsiteX53" fmla="*/ 285256 w 978340"/>
                      <a:gd name="connsiteY53" fmla="*/ 157953 h 974414"/>
                      <a:gd name="connsiteX54" fmla="*/ 278570 w 978340"/>
                      <a:gd name="connsiteY54" fmla="*/ 44493 h 974414"/>
                      <a:gd name="connsiteX55" fmla="*/ 365485 w 978340"/>
                      <a:gd name="connsiteY55" fmla="*/ 11123 h 974414"/>
                      <a:gd name="connsiteX56" fmla="*/ 434570 w 978340"/>
                      <a:gd name="connsiteY56" fmla="*/ 106785 h 974414"/>
                      <a:gd name="connsiteX57" fmla="*/ 476913 w 978340"/>
                      <a:gd name="connsiteY57" fmla="*/ 102335 h 974414"/>
                      <a:gd name="connsiteX58" fmla="*/ 528170 w 978340"/>
                      <a:gd name="connsiteY58"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147085 w 978340"/>
                      <a:gd name="connsiteY45" fmla="*/ 295884 h 974414"/>
                      <a:gd name="connsiteX46" fmla="*/ 86914 w 978340"/>
                      <a:gd name="connsiteY46" fmla="*/ 209121 h 974414"/>
                      <a:gd name="connsiteX47" fmla="*/ 86914 w 978340"/>
                      <a:gd name="connsiteY47" fmla="*/ 200222 h 974414"/>
                      <a:gd name="connsiteX48" fmla="*/ 142628 w 978340"/>
                      <a:gd name="connsiteY48" fmla="*/ 133481 h 974414"/>
                      <a:gd name="connsiteX49" fmla="*/ 149314 w 978340"/>
                      <a:gd name="connsiteY49" fmla="*/ 133481 h 974414"/>
                      <a:gd name="connsiteX50" fmla="*/ 245142 w 978340"/>
                      <a:gd name="connsiteY50" fmla="*/ 180200 h 974414"/>
                      <a:gd name="connsiteX51" fmla="*/ 251828 w 978340"/>
                      <a:gd name="connsiteY51" fmla="*/ 180200 h 974414"/>
                      <a:gd name="connsiteX52" fmla="*/ 285256 w 978340"/>
                      <a:gd name="connsiteY52" fmla="*/ 157953 h 974414"/>
                      <a:gd name="connsiteX53" fmla="*/ 278570 w 978340"/>
                      <a:gd name="connsiteY53" fmla="*/ 44493 h 974414"/>
                      <a:gd name="connsiteX54" fmla="*/ 365485 w 978340"/>
                      <a:gd name="connsiteY54" fmla="*/ 11123 h 974414"/>
                      <a:gd name="connsiteX55" fmla="*/ 434570 w 978340"/>
                      <a:gd name="connsiteY55" fmla="*/ 106785 h 974414"/>
                      <a:gd name="connsiteX56" fmla="*/ 476913 w 978340"/>
                      <a:gd name="connsiteY56" fmla="*/ 102335 h 974414"/>
                      <a:gd name="connsiteX57" fmla="*/ 528170 w 978340"/>
                      <a:gd name="connsiteY57"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9121 h 974414"/>
                      <a:gd name="connsiteX46" fmla="*/ 86914 w 978340"/>
                      <a:gd name="connsiteY46" fmla="*/ 200222 h 974414"/>
                      <a:gd name="connsiteX47" fmla="*/ 142628 w 978340"/>
                      <a:gd name="connsiteY47" fmla="*/ 133481 h 974414"/>
                      <a:gd name="connsiteX48" fmla="*/ 149314 w 978340"/>
                      <a:gd name="connsiteY48" fmla="*/ 133481 h 974414"/>
                      <a:gd name="connsiteX49" fmla="*/ 245142 w 978340"/>
                      <a:gd name="connsiteY49" fmla="*/ 180200 h 974414"/>
                      <a:gd name="connsiteX50" fmla="*/ 251828 w 978340"/>
                      <a:gd name="connsiteY50" fmla="*/ 180200 h 974414"/>
                      <a:gd name="connsiteX51" fmla="*/ 285256 w 978340"/>
                      <a:gd name="connsiteY51" fmla="*/ 157953 h 974414"/>
                      <a:gd name="connsiteX52" fmla="*/ 278570 w 978340"/>
                      <a:gd name="connsiteY52" fmla="*/ 44493 h 974414"/>
                      <a:gd name="connsiteX53" fmla="*/ 365485 w 978340"/>
                      <a:gd name="connsiteY53" fmla="*/ 11123 h 974414"/>
                      <a:gd name="connsiteX54" fmla="*/ 434570 w 978340"/>
                      <a:gd name="connsiteY54" fmla="*/ 106785 h 974414"/>
                      <a:gd name="connsiteX55" fmla="*/ 476913 w 978340"/>
                      <a:gd name="connsiteY55" fmla="*/ 102335 h 974414"/>
                      <a:gd name="connsiteX56" fmla="*/ 528170 w 978340"/>
                      <a:gd name="connsiteY56"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149314 w 978340"/>
                      <a:gd name="connsiteY47" fmla="*/ 133481 h 974414"/>
                      <a:gd name="connsiteX48" fmla="*/ 245142 w 978340"/>
                      <a:gd name="connsiteY48" fmla="*/ 180200 h 974414"/>
                      <a:gd name="connsiteX49" fmla="*/ 251828 w 978340"/>
                      <a:gd name="connsiteY49" fmla="*/ 180200 h 974414"/>
                      <a:gd name="connsiteX50" fmla="*/ 285256 w 978340"/>
                      <a:gd name="connsiteY50" fmla="*/ 157953 h 974414"/>
                      <a:gd name="connsiteX51" fmla="*/ 278570 w 978340"/>
                      <a:gd name="connsiteY51" fmla="*/ 44493 h 974414"/>
                      <a:gd name="connsiteX52" fmla="*/ 365485 w 978340"/>
                      <a:gd name="connsiteY52" fmla="*/ 11123 h 974414"/>
                      <a:gd name="connsiteX53" fmla="*/ 434570 w 978340"/>
                      <a:gd name="connsiteY53" fmla="*/ 106785 h 974414"/>
                      <a:gd name="connsiteX54" fmla="*/ 476913 w 978340"/>
                      <a:gd name="connsiteY54" fmla="*/ 102335 h 974414"/>
                      <a:gd name="connsiteX55" fmla="*/ 528170 w 978340"/>
                      <a:gd name="connsiteY55"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45142 w 978340"/>
                      <a:gd name="connsiteY47" fmla="*/ 180200 h 974414"/>
                      <a:gd name="connsiteX48" fmla="*/ 251828 w 978340"/>
                      <a:gd name="connsiteY48" fmla="*/ 180200 h 974414"/>
                      <a:gd name="connsiteX49" fmla="*/ 285256 w 978340"/>
                      <a:gd name="connsiteY49" fmla="*/ 157953 h 974414"/>
                      <a:gd name="connsiteX50" fmla="*/ 278570 w 978340"/>
                      <a:gd name="connsiteY50" fmla="*/ 44493 h 974414"/>
                      <a:gd name="connsiteX51" fmla="*/ 365485 w 978340"/>
                      <a:gd name="connsiteY51" fmla="*/ 11123 h 974414"/>
                      <a:gd name="connsiteX52" fmla="*/ 434570 w 978340"/>
                      <a:gd name="connsiteY52" fmla="*/ 106785 h 974414"/>
                      <a:gd name="connsiteX53" fmla="*/ 476913 w 978340"/>
                      <a:gd name="connsiteY53" fmla="*/ 102335 h 974414"/>
                      <a:gd name="connsiteX54" fmla="*/ 528170 w 978340"/>
                      <a:gd name="connsiteY54"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51828 w 978340"/>
                      <a:gd name="connsiteY47" fmla="*/ 180200 h 974414"/>
                      <a:gd name="connsiteX48" fmla="*/ 285256 w 978340"/>
                      <a:gd name="connsiteY48" fmla="*/ 157953 h 974414"/>
                      <a:gd name="connsiteX49" fmla="*/ 278570 w 978340"/>
                      <a:gd name="connsiteY49" fmla="*/ 44493 h 974414"/>
                      <a:gd name="connsiteX50" fmla="*/ 365485 w 978340"/>
                      <a:gd name="connsiteY50" fmla="*/ 11123 h 974414"/>
                      <a:gd name="connsiteX51" fmla="*/ 434570 w 978340"/>
                      <a:gd name="connsiteY51" fmla="*/ 106785 h 974414"/>
                      <a:gd name="connsiteX52" fmla="*/ 476913 w 978340"/>
                      <a:gd name="connsiteY52" fmla="*/ 102335 h 974414"/>
                      <a:gd name="connsiteX53" fmla="*/ 528170 w 978340"/>
                      <a:gd name="connsiteY53" fmla="*/ 0 h 97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78340" h="974414">
                        <a:moveTo>
                          <a:pt x="488055" y="299009"/>
                        </a:moveTo>
                        <a:cubicBezTo>
                          <a:pt x="383573" y="299009"/>
                          <a:pt x="298873" y="383268"/>
                          <a:pt x="298873" y="487207"/>
                        </a:cubicBezTo>
                        <a:cubicBezTo>
                          <a:pt x="298873" y="591146"/>
                          <a:pt x="383573" y="675405"/>
                          <a:pt x="488055" y="675405"/>
                        </a:cubicBezTo>
                        <a:cubicBezTo>
                          <a:pt x="592537" y="675405"/>
                          <a:pt x="677237" y="591146"/>
                          <a:pt x="677237" y="487207"/>
                        </a:cubicBezTo>
                        <a:cubicBezTo>
                          <a:pt x="677237" y="383268"/>
                          <a:pt x="592537" y="299009"/>
                          <a:pt x="488055" y="299009"/>
                        </a:cubicBezTo>
                        <a:close/>
                        <a:moveTo>
                          <a:pt x="528170" y="0"/>
                        </a:moveTo>
                        <a:lnTo>
                          <a:pt x="621769" y="13348"/>
                        </a:lnTo>
                        <a:lnTo>
                          <a:pt x="637369" y="131256"/>
                        </a:lnTo>
                        <a:lnTo>
                          <a:pt x="673026" y="151279"/>
                        </a:lnTo>
                        <a:lnTo>
                          <a:pt x="775540" y="86763"/>
                        </a:lnTo>
                        <a:lnTo>
                          <a:pt x="842397" y="144605"/>
                        </a:lnTo>
                        <a:lnTo>
                          <a:pt x="795597" y="253614"/>
                        </a:lnTo>
                        <a:lnTo>
                          <a:pt x="817883" y="286985"/>
                        </a:lnTo>
                        <a:lnTo>
                          <a:pt x="933768" y="278086"/>
                        </a:lnTo>
                        <a:lnTo>
                          <a:pt x="967197" y="367074"/>
                        </a:lnTo>
                        <a:lnTo>
                          <a:pt x="873597" y="431590"/>
                        </a:lnTo>
                        <a:lnTo>
                          <a:pt x="873597" y="478308"/>
                        </a:lnTo>
                        <a:lnTo>
                          <a:pt x="978340" y="529476"/>
                        </a:lnTo>
                        <a:lnTo>
                          <a:pt x="962740" y="620689"/>
                        </a:lnTo>
                        <a:lnTo>
                          <a:pt x="846854" y="634037"/>
                        </a:lnTo>
                        <a:lnTo>
                          <a:pt x="826797" y="674081"/>
                        </a:lnTo>
                        <a:lnTo>
                          <a:pt x="891426" y="774192"/>
                        </a:lnTo>
                        <a:lnTo>
                          <a:pt x="831254" y="840933"/>
                        </a:lnTo>
                        <a:lnTo>
                          <a:pt x="724283" y="791990"/>
                        </a:lnTo>
                        <a:lnTo>
                          <a:pt x="686398" y="823135"/>
                        </a:lnTo>
                        <a:lnTo>
                          <a:pt x="697541" y="929921"/>
                        </a:lnTo>
                        <a:lnTo>
                          <a:pt x="603941" y="963291"/>
                        </a:lnTo>
                        <a:lnTo>
                          <a:pt x="546286" y="875561"/>
                        </a:lnTo>
                        <a:lnTo>
                          <a:pt x="490284" y="875584"/>
                        </a:lnTo>
                        <a:lnTo>
                          <a:pt x="445713" y="974414"/>
                        </a:lnTo>
                        <a:lnTo>
                          <a:pt x="352113" y="958842"/>
                        </a:lnTo>
                        <a:lnTo>
                          <a:pt x="343199" y="847607"/>
                        </a:lnTo>
                        <a:lnTo>
                          <a:pt x="291942" y="825360"/>
                        </a:lnTo>
                        <a:lnTo>
                          <a:pt x="200571" y="887652"/>
                        </a:lnTo>
                        <a:lnTo>
                          <a:pt x="131485" y="823135"/>
                        </a:lnTo>
                        <a:lnTo>
                          <a:pt x="178285" y="725249"/>
                        </a:lnTo>
                        <a:lnTo>
                          <a:pt x="149314" y="685205"/>
                        </a:lnTo>
                        <a:lnTo>
                          <a:pt x="44571" y="696328"/>
                        </a:lnTo>
                        <a:lnTo>
                          <a:pt x="11143" y="602891"/>
                        </a:lnTo>
                        <a:lnTo>
                          <a:pt x="100285" y="542824"/>
                        </a:lnTo>
                        <a:lnTo>
                          <a:pt x="100285" y="496106"/>
                        </a:lnTo>
                        <a:lnTo>
                          <a:pt x="0" y="444938"/>
                        </a:lnTo>
                        <a:lnTo>
                          <a:pt x="15600" y="351501"/>
                        </a:lnTo>
                        <a:lnTo>
                          <a:pt x="131485" y="340377"/>
                        </a:lnTo>
                        <a:lnTo>
                          <a:pt x="147085" y="302558"/>
                        </a:lnTo>
                        <a:lnTo>
                          <a:pt x="86914" y="200222"/>
                        </a:lnTo>
                        <a:lnTo>
                          <a:pt x="142628" y="133481"/>
                        </a:lnTo>
                        <a:lnTo>
                          <a:pt x="251828" y="180200"/>
                        </a:lnTo>
                        <a:lnTo>
                          <a:pt x="285256" y="157953"/>
                        </a:lnTo>
                        <a:lnTo>
                          <a:pt x="278570" y="44493"/>
                        </a:lnTo>
                        <a:lnTo>
                          <a:pt x="365485" y="11123"/>
                        </a:lnTo>
                        <a:lnTo>
                          <a:pt x="434570" y="106785"/>
                        </a:lnTo>
                        <a:lnTo>
                          <a:pt x="476913" y="102335"/>
                        </a:lnTo>
                        <a:lnTo>
                          <a:pt x="528170" y="0"/>
                        </a:lnTo>
                        <a:close/>
                      </a:path>
                    </a:pathLst>
                  </a:custGeom>
                  <a:grpFill/>
                  <a:ln w="19050">
                    <a:solidFill>
                      <a:schemeClr val="bg1"/>
                    </a:solidFill>
                    <a:prstDash val="solid"/>
                    <a:round/>
                    <a:headEnd/>
                    <a:tailEnd/>
                  </a:ln>
                  <a:effectLst/>
                </p:spPr>
                <p:txBody>
                  <a:bodyPr vert="horz" wrap="square" lIns="91440" tIns="45720" rIns="91440" bIns="45720" numCol="1" anchor="t" anchorCtr="0" compatLnSpc="1">
                    <a:prstTxWarp prst="textNoShape">
                      <a:avLst/>
                    </a:prstTxWarp>
                    <a:noAutofit/>
                  </a:bodyPr>
                  <a:lstStyle/>
                  <a:p>
                    <a:pPr>
                      <a:defRPr/>
                    </a:pPr>
                    <a:endParaRPr lang="en-US" dirty="0">
                      <a:solidFill>
                        <a:prstClr val="black"/>
                      </a:solidFill>
                      <a:latin typeface="Univers for KPMG" panose="020B0603020202020204" pitchFamily="34" charset="0"/>
                      <a:cs typeface="Arial" panose="020B0604020202020204" pitchFamily="34" charset="0"/>
                    </a:endParaRPr>
                  </a:p>
                </p:txBody>
              </p:sp>
              <p:sp>
                <p:nvSpPr>
                  <p:cNvPr id="122" name="Freeform 121"/>
                  <p:cNvSpPr>
                    <a:spLocks/>
                  </p:cNvSpPr>
                  <p:nvPr/>
                </p:nvSpPr>
                <p:spPr bwMode="auto">
                  <a:xfrm>
                    <a:off x="-973718" y="4261611"/>
                    <a:ext cx="2125230" cy="2116694"/>
                  </a:xfrm>
                  <a:custGeom>
                    <a:avLst/>
                    <a:gdLst>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376627 w 985025"/>
                      <a:gd name="connsiteY95" fmla="*/ 15573 h 978864"/>
                      <a:gd name="connsiteX96" fmla="*/ 434570 w 985025"/>
                      <a:gd name="connsiteY96" fmla="*/ 104560 h 978864"/>
                      <a:gd name="connsiteX97" fmla="*/ 439027 w 985025"/>
                      <a:gd name="connsiteY97" fmla="*/ 109010 h 978864"/>
                      <a:gd name="connsiteX98" fmla="*/ 481370 w 985025"/>
                      <a:gd name="connsiteY98" fmla="*/ 104560 h 978864"/>
                      <a:gd name="connsiteX99" fmla="*/ 488055 w 985025"/>
                      <a:gd name="connsiteY99" fmla="*/ 100111 h 978864"/>
                      <a:gd name="connsiteX100" fmla="*/ 532627 w 985025"/>
                      <a:gd name="connsiteY100" fmla="*/ 2225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4570 w 985025"/>
                      <a:gd name="connsiteY95" fmla="*/ 104560 h 978864"/>
                      <a:gd name="connsiteX96" fmla="*/ 439027 w 985025"/>
                      <a:gd name="connsiteY96" fmla="*/ 109010 h 978864"/>
                      <a:gd name="connsiteX97" fmla="*/ 481370 w 985025"/>
                      <a:gd name="connsiteY97" fmla="*/ 104560 h 978864"/>
                      <a:gd name="connsiteX98" fmla="*/ 488055 w 985025"/>
                      <a:gd name="connsiteY98" fmla="*/ 100111 h 978864"/>
                      <a:gd name="connsiteX99" fmla="*/ 532627 w 985025"/>
                      <a:gd name="connsiteY99" fmla="*/ 2225 h 978864"/>
                      <a:gd name="connsiteX100" fmla="*/ 537084 w 985025"/>
                      <a:gd name="connsiteY100"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285256 w 985025"/>
                      <a:gd name="connsiteY93" fmla="*/ 44494 h 978864"/>
                      <a:gd name="connsiteX94" fmla="*/ 369942 w 985025"/>
                      <a:gd name="connsiteY94" fmla="*/ 13348 h 978864"/>
                      <a:gd name="connsiteX95" fmla="*/ 439027 w 985025"/>
                      <a:gd name="connsiteY95" fmla="*/ 109010 h 978864"/>
                      <a:gd name="connsiteX96" fmla="*/ 481370 w 985025"/>
                      <a:gd name="connsiteY96" fmla="*/ 104560 h 978864"/>
                      <a:gd name="connsiteX97" fmla="*/ 488055 w 985025"/>
                      <a:gd name="connsiteY97" fmla="*/ 100111 h 978864"/>
                      <a:gd name="connsiteX98" fmla="*/ 532627 w 985025"/>
                      <a:gd name="connsiteY98" fmla="*/ 2225 h 978864"/>
                      <a:gd name="connsiteX99" fmla="*/ 537084 w 985025"/>
                      <a:gd name="connsiteY99"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91942 w 985025"/>
                      <a:gd name="connsiteY91" fmla="*/ 155728 h 978864"/>
                      <a:gd name="connsiteX92" fmla="*/ 283027 w 985025"/>
                      <a:gd name="connsiteY92" fmla="*/ 46718 h 978864"/>
                      <a:gd name="connsiteX93" fmla="*/ 369942 w 985025"/>
                      <a:gd name="connsiteY93" fmla="*/ 13348 h 978864"/>
                      <a:gd name="connsiteX94" fmla="*/ 439027 w 985025"/>
                      <a:gd name="connsiteY94" fmla="*/ 109010 h 978864"/>
                      <a:gd name="connsiteX95" fmla="*/ 481370 w 985025"/>
                      <a:gd name="connsiteY95" fmla="*/ 104560 h 978864"/>
                      <a:gd name="connsiteX96" fmla="*/ 488055 w 985025"/>
                      <a:gd name="connsiteY96" fmla="*/ 100111 h 978864"/>
                      <a:gd name="connsiteX97" fmla="*/ 532627 w 985025"/>
                      <a:gd name="connsiteY97" fmla="*/ 2225 h 978864"/>
                      <a:gd name="connsiteX98" fmla="*/ 537084 w 985025"/>
                      <a:gd name="connsiteY98"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488055 w 985025"/>
                      <a:gd name="connsiteY95" fmla="*/ 100111 h 978864"/>
                      <a:gd name="connsiteX96" fmla="*/ 532627 w 985025"/>
                      <a:gd name="connsiteY96" fmla="*/ 2225 h 978864"/>
                      <a:gd name="connsiteX97" fmla="*/ 537084 w 985025"/>
                      <a:gd name="connsiteY97" fmla="*/ 0 h 978864"/>
                      <a:gd name="connsiteX0" fmla="*/ 492512 w 985025"/>
                      <a:gd name="connsiteY0" fmla="*/ 301234 h 978864"/>
                      <a:gd name="connsiteX1" fmla="*/ 303330 w 985025"/>
                      <a:gd name="connsiteY1" fmla="*/ 489432 h 978864"/>
                      <a:gd name="connsiteX2" fmla="*/ 492512 w 985025"/>
                      <a:gd name="connsiteY2" fmla="*/ 677630 h 978864"/>
                      <a:gd name="connsiteX3" fmla="*/ 681694 w 985025"/>
                      <a:gd name="connsiteY3" fmla="*/ 489432 h 978864"/>
                      <a:gd name="connsiteX4" fmla="*/ 492512 w 985025"/>
                      <a:gd name="connsiteY4" fmla="*/ 301234 h 978864"/>
                      <a:gd name="connsiteX5" fmla="*/ 537084 w 985025"/>
                      <a:gd name="connsiteY5" fmla="*/ 0 h 978864"/>
                      <a:gd name="connsiteX6" fmla="*/ 626226 w 985025"/>
                      <a:gd name="connsiteY6" fmla="*/ 15573 h 978864"/>
                      <a:gd name="connsiteX7" fmla="*/ 630684 w 985025"/>
                      <a:gd name="connsiteY7" fmla="*/ 22247 h 978864"/>
                      <a:gd name="connsiteX8" fmla="*/ 637369 w 985025"/>
                      <a:gd name="connsiteY8" fmla="*/ 126807 h 978864"/>
                      <a:gd name="connsiteX9" fmla="*/ 641826 w 985025"/>
                      <a:gd name="connsiteY9" fmla="*/ 133481 h 978864"/>
                      <a:gd name="connsiteX10" fmla="*/ 677483 w 985025"/>
                      <a:gd name="connsiteY10" fmla="*/ 153504 h 978864"/>
                      <a:gd name="connsiteX11" fmla="*/ 686398 w 985025"/>
                      <a:gd name="connsiteY11" fmla="*/ 149054 h 978864"/>
                      <a:gd name="connsiteX12" fmla="*/ 773312 w 985025"/>
                      <a:gd name="connsiteY12" fmla="*/ 88988 h 978864"/>
                      <a:gd name="connsiteX13" fmla="*/ 779997 w 985025"/>
                      <a:gd name="connsiteY13" fmla="*/ 88988 h 978864"/>
                      <a:gd name="connsiteX14" fmla="*/ 846854 w 985025"/>
                      <a:gd name="connsiteY14" fmla="*/ 146830 h 978864"/>
                      <a:gd name="connsiteX15" fmla="*/ 846854 w 985025"/>
                      <a:gd name="connsiteY15" fmla="*/ 153504 h 978864"/>
                      <a:gd name="connsiteX16" fmla="*/ 800054 w 985025"/>
                      <a:gd name="connsiteY16" fmla="*/ 249165 h 978864"/>
                      <a:gd name="connsiteX17" fmla="*/ 800054 w 985025"/>
                      <a:gd name="connsiteY17" fmla="*/ 255839 h 978864"/>
                      <a:gd name="connsiteX18" fmla="*/ 822340 w 985025"/>
                      <a:gd name="connsiteY18" fmla="*/ 289210 h 978864"/>
                      <a:gd name="connsiteX19" fmla="*/ 829026 w 985025"/>
                      <a:gd name="connsiteY19" fmla="*/ 291434 h 978864"/>
                      <a:gd name="connsiteX20" fmla="*/ 938225 w 985025"/>
                      <a:gd name="connsiteY20" fmla="*/ 280311 h 978864"/>
                      <a:gd name="connsiteX21" fmla="*/ 940454 w 985025"/>
                      <a:gd name="connsiteY21" fmla="*/ 286985 h 978864"/>
                      <a:gd name="connsiteX22" fmla="*/ 971654 w 985025"/>
                      <a:gd name="connsiteY22" fmla="*/ 369299 h 978864"/>
                      <a:gd name="connsiteX23" fmla="*/ 967197 w 985025"/>
                      <a:gd name="connsiteY23" fmla="*/ 375973 h 978864"/>
                      <a:gd name="connsiteX24" fmla="*/ 878054 w 985025"/>
                      <a:gd name="connsiteY24" fmla="*/ 433815 h 978864"/>
                      <a:gd name="connsiteX25" fmla="*/ 875825 w 985025"/>
                      <a:gd name="connsiteY25" fmla="*/ 438264 h 978864"/>
                      <a:gd name="connsiteX26" fmla="*/ 878054 w 985025"/>
                      <a:gd name="connsiteY26" fmla="*/ 480533 h 978864"/>
                      <a:gd name="connsiteX27" fmla="*/ 884740 w 985025"/>
                      <a:gd name="connsiteY27" fmla="*/ 487207 h 978864"/>
                      <a:gd name="connsiteX28" fmla="*/ 982797 w 985025"/>
                      <a:gd name="connsiteY28" fmla="*/ 531701 h 978864"/>
                      <a:gd name="connsiteX29" fmla="*/ 985025 w 985025"/>
                      <a:gd name="connsiteY29" fmla="*/ 536151 h 978864"/>
                      <a:gd name="connsiteX30" fmla="*/ 967197 w 985025"/>
                      <a:gd name="connsiteY30" fmla="*/ 622914 h 978864"/>
                      <a:gd name="connsiteX31" fmla="*/ 962739 w 985025"/>
                      <a:gd name="connsiteY31" fmla="*/ 627363 h 978864"/>
                      <a:gd name="connsiteX32" fmla="*/ 855768 w 985025"/>
                      <a:gd name="connsiteY32" fmla="*/ 634037 h 978864"/>
                      <a:gd name="connsiteX33" fmla="*/ 851311 w 985025"/>
                      <a:gd name="connsiteY33" fmla="*/ 636262 h 978864"/>
                      <a:gd name="connsiteX34" fmla="*/ 831254 w 985025"/>
                      <a:gd name="connsiteY34" fmla="*/ 676306 h 978864"/>
                      <a:gd name="connsiteX35" fmla="*/ 831254 w 985025"/>
                      <a:gd name="connsiteY35" fmla="*/ 680756 h 978864"/>
                      <a:gd name="connsiteX36" fmla="*/ 895883 w 985025"/>
                      <a:gd name="connsiteY36" fmla="*/ 769743 h 978864"/>
                      <a:gd name="connsiteX37" fmla="*/ 895883 w 985025"/>
                      <a:gd name="connsiteY37" fmla="*/ 776417 h 978864"/>
                      <a:gd name="connsiteX38" fmla="*/ 835711 w 985025"/>
                      <a:gd name="connsiteY38" fmla="*/ 843158 h 978864"/>
                      <a:gd name="connsiteX39" fmla="*/ 831254 w 985025"/>
                      <a:gd name="connsiteY39" fmla="*/ 843158 h 978864"/>
                      <a:gd name="connsiteX40" fmla="*/ 733197 w 985025"/>
                      <a:gd name="connsiteY40" fmla="*/ 794215 h 978864"/>
                      <a:gd name="connsiteX41" fmla="*/ 728740 w 985025"/>
                      <a:gd name="connsiteY41" fmla="*/ 794215 h 978864"/>
                      <a:gd name="connsiteX42" fmla="*/ 695312 w 985025"/>
                      <a:gd name="connsiteY42" fmla="*/ 816462 h 978864"/>
                      <a:gd name="connsiteX43" fmla="*/ 690855 w 985025"/>
                      <a:gd name="connsiteY43" fmla="*/ 825360 h 978864"/>
                      <a:gd name="connsiteX44" fmla="*/ 701998 w 985025"/>
                      <a:gd name="connsiteY44" fmla="*/ 932146 h 978864"/>
                      <a:gd name="connsiteX45" fmla="*/ 697540 w 985025"/>
                      <a:gd name="connsiteY45" fmla="*/ 936595 h 978864"/>
                      <a:gd name="connsiteX46" fmla="*/ 612855 w 985025"/>
                      <a:gd name="connsiteY46" fmla="*/ 965516 h 978864"/>
                      <a:gd name="connsiteX47" fmla="*/ 608398 w 985025"/>
                      <a:gd name="connsiteY47" fmla="*/ 965516 h 978864"/>
                      <a:gd name="connsiteX48" fmla="*/ 548227 w 985025"/>
                      <a:gd name="connsiteY48" fmla="*/ 876528 h 978864"/>
                      <a:gd name="connsiteX49" fmla="*/ 543770 w 985025"/>
                      <a:gd name="connsiteY49" fmla="*/ 872079 h 978864"/>
                      <a:gd name="connsiteX50" fmla="*/ 501427 w 985025"/>
                      <a:gd name="connsiteY50" fmla="*/ 876528 h 978864"/>
                      <a:gd name="connsiteX51" fmla="*/ 494741 w 985025"/>
                      <a:gd name="connsiteY51" fmla="*/ 878753 h 978864"/>
                      <a:gd name="connsiteX52" fmla="*/ 450170 w 985025"/>
                      <a:gd name="connsiteY52" fmla="*/ 976639 h 978864"/>
                      <a:gd name="connsiteX53" fmla="*/ 445713 w 985025"/>
                      <a:gd name="connsiteY53" fmla="*/ 978864 h 978864"/>
                      <a:gd name="connsiteX54" fmla="*/ 356570 w 985025"/>
                      <a:gd name="connsiteY54" fmla="*/ 961067 h 978864"/>
                      <a:gd name="connsiteX55" fmla="*/ 352113 w 985025"/>
                      <a:gd name="connsiteY55" fmla="*/ 958842 h 978864"/>
                      <a:gd name="connsiteX56" fmla="*/ 347656 w 985025"/>
                      <a:gd name="connsiteY56" fmla="*/ 849832 h 978864"/>
                      <a:gd name="connsiteX57" fmla="*/ 340970 w 985025"/>
                      <a:gd name="connsiteY57" fmla="*/ 845383 h 978864"/>
                      <a:gd name="connsiteX58" fmla="*/ 305313 w 985025"/>
                      <a:gd name="connsiteY58" fmla="*/ 827585 h 978864"/>
                      <a:gd name="connsiteX59" fmla="*/ 296399 w 985025"/>
                      <a:gd name="connsiteY59" fmla="*/ 827585 h 978864"/>
                      <a:gd name="connsiteX60" fmla="*/ 211713 w 985025"/>
                      <a:gd name="connsiteY60" fmla="*/ 889877 h 978864"/>
                      <a:gd name="connsiteX61" fmla="*/ 205028 w 985025"/>
                      <a:gd name="connsiteY61" fmla="*/ 889877 h 978864"/>
                      <a:gd name="connsiteX62" fmla="*/ 138171 w 985025"/>
                      <a:gd name="connsiteY62" fmla="*/ 832035 h 978864"/>
                      <a:gd name="connsiteX63" fmla="*/ 135942 w 985025"/>
                      <a:gd name="connsiteY63" fmla="*/ 825360 h 978864"/>
                      <a:gd name="connsiteX64" fmla="*/ 182742 w 985025"/>
                      <a:gd name="connsiteY64" fmla="*/ 727474 h 978864"/>
                      <a:gd name="connsiteX65" fmla="*/ 182742 w 985025"/>
                      <a:gd name="connsiteY65" fmla="*/ 723025 h 978864"/>
                      <a:gd name="connsiteX66" fmla="*/ 160457 w 985025"/>
                      <a:gd name="connsiteY66" fmla="*/ 689654 h 978864"/>
                      <a:gd name="connsiteX67" fmla="*/ 153771 w 985025"/>
                      <a:gd name="connsiteY67" fmla="*/ 687430 h 978864"/>
                      <a:gd name="connsiteX68" fmla="*/ 49028 w 985025"/>
                      <a:gd name="connsiteY68" fmla="*/ 698553 h 978864"/>
                      <a:gd name="connsiteX69" fmla="*/ 42343 w 985025"/>
                      <a:gd name="connsiteY69" fmla="*/ 694104 h 978864"/>
                      <a:gd name="connsiteX70" fmla="*/ 11143 w 985025"/>
                      <a:gd name="connsiteY70" fmla="*/ 611790 h 978864"/>
                      <a:gd name="connsiteX71" fmla="*/ 15600 w 985025"/>
                      <a:gd name="connsiteY71" fmla="*/ 605116 h 978864"/>
                      <a:gd name="connsiteX72" fmla="*/ 104742 w 985025"/>
                      <a:gd name="connsiteY72" fmla="*/ 545049 h 978864"/>
                      <a:gd name="connsiteX73" fmla="*/ 106971 w 985025"/>
                      <a:gd name="connsiteY73" fmla="*/ 538375 h 978864"/>
                      <a:gd name="connsiteX74" fmla="*/ 104742 w 985025"/>
                      <a:gd name="connsiteY74" fmla="*/ 498331 h 978864"/>
                      <a:gd name="connsiteX75" fmla="*/ 102514 w 985025"/>
                      <a:gd name="connsiteY75" fmla="*/ 491657 h 978864"/>
                      <a:gd name="connsiteX76" fmla="*/ 4457 w 985025"/>
                      <a:gd name="connsiteY76" fmla="*/ 447163 h 978864"/>
                      <a:gd name="connsiteX77" fmla="*/ 0 w 985025"/>
                      <a:gd name="connsiteY77" fmla="*/ 442714 h 978864"/>
                      <a:gd name="connsiteX78" fmla="*/ 15600 w 985025"/>
                      <a:gd name="connsiteY78" fmla="*/ 355951 h 978864"/>
                      <a:gd name="connsiteX79" fmla="*/ 20057 w 985025"/>
                      <a:gd name="connsiteY79" fmla="*/ 353726 h 978864"/>
                      <a:gd name="connsiteX80" fmla="*/ 129257 w 985025"/>
                      <a:gd name="connsiteY80" fmla="*/ 344827 h 978864"/>
                      <a:gd name="connsiteX81" fmla="*/ 135942 w 985025"/>
                      <a:gd name="connsiteY81" fmla="*/ 342602 h 978864"/>
                      <a:gd name="connsiteX82" fmla="*/ 151542 w 985025"/>
                      <a:gd name="connsiteY82" fmla="*/ 304783 h 978864"/>
                      <a:gd name="connsiteX83" fmla="*/ 151542 w 985025"/>
                      <a:gd name="connsiteY83" fmla="*/ 298109 h 978864"/>
                      <a:gd name="connsiteX84" fmla="*/ 91371 w 985025"/>
                      <a:gd name="connsiteY84" fmla="*/ 211346 h 978864"/>
                      <a:gd name="connsiteX85" fmla="*/ 91371 w 985025"/>
                      <a:gd name="connsiteY85" fmla="*/ 202447 h 978864"/>
                      <a:gd name="connsiteX86" fmla="*/ 147085 w 985025"/>
                      <a:gd name="connsiteY86" fmla="*/ 135706 h 978864"/>
                      <a:gd name="connsiteX87" fmla="*/ 153771 w 985025"/>
                      <a:gd name="connsiteY87" fmla="*/ 135706 h 978864"/>
                      <a:gd name="connsiteX88" fmla="*/ 249599 w 985025"/>
                      <a:gd name="connsiteY88" fmla="*/ 182425 h 978864"/>
                      <a:gd name="connsiteX89" fmla="*/ 256285 w 985025"/>
                      <a:gd name="connsiteY89" fmla="*/ 182425 h 978864"/>
                      <a:gd name="connsiteX90" fmla="*/ 289713 w 985025"/>
                      <a:gd name="connsiteY90" fmla="*/ 160178 h 978864"/>
                      <a:gd name="connsiteX91" fmla="*/ 283027 w 985025"/>
                      <a:gd name="connsiteY91" fmla="*/ 46718 h 978864"/>
                      <a:gd name="connsiteX92" fmla="*/ 369942 w 985025"/>
                      <a:gd name="connsiteY92" fmla="*/ 13348 h 978864"/>
                      <a:gd name="connsiteX93" fmla="*/ 439027 w 985025"/>
                      <a:gd name="connsiteY93" fmla="*/ 109010 h 978864"/>
                      <a:gd name="connsiteX94" fmla="*/ 481370 w 985025"/>
                      <a:gd name="connsiteY94" fmla="*/ 104560 h 978864"/>
                      <a:gd name="connsiteX95" fmla="*/ 532627 w 985025"/>
                      <a:gd name="connsiteY95" fmla="*/ 2225 h 978864"/>
                      <a:gd name="connsiteX96" fmla="*/ 537084 w 985025"/>
                      <a:gd name="connsiteY96" fmla="*/ 0 h 978864"/>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0684 w 985025"/>
                      <a:gd name="connsiteY7" fmla="*/ 20022 h 976639"/>
                      <a:gd name="connsiteX8" fmla="*/ 637369 w 985025"/>
                      <a:gd name="connsiteY8" fmla="*/ 124582 h 976639"/>
                      <a:gd name="connsiteX9" fmla="*/ 641826 w 985025"/>
                      <a:gd name="connsiteY9" fmla="*/ 131256 h 976639"/>
                      <a:gd name="connsiteX10" fmla="*/ 677483 w 985025"/>
                      <a:gd name="connsiteY10" fmla="*/ 151279 h 976639"/>
                      <a:gd name="connsiteX11" fmla="*/ 686398 w 985025"/>
                      <a:gd name="connsiteY11" fmla="*/ 146829 h 976639"/>
                      <a:gd name="connsiteX12" fmla="*/ 773312 w 985025"/>
                      <a:gd name="connsiteY12" fmla="*/ 86763 h 976639"/>
                      <a:gd name="connsiteX13" fmla="*/ 779997 w 985025"/>
                      <a:gd name="connsiteY13" fmla="*/ 86763 h 976639"/>
                      <a:gd name="connsiteX14" fmla="*/ 846854 w 985025"/>
                      <a:gd name="connsiteY14" fmla="*/ 144605 h 976639"/>
                      <a:gd name="connsiteX15" fmla="*/ 846854 w 985025"/>
                      <a:gd name="connsiteY15" fmla="*/ 151279 h 976639"/>
                      <a:gd name="connsiteX16" fmla="*/ 800054 w 985025"/>
                      <a:gd name="connsiteY16" fmla="*/ 246940 h 976639"/>
                      <a:gd name="connsiteX17" fmla="*/ 800054 w 985025"/>
                      <a:gd name="connsiteY17" fmla="*/ 253614 h 976639"/>
                      <a:gd name="connsiteX18" fmla="*/ 822340 w 985025"/>
                      <a:gd name="connsiteY18" fmla="*/ 286985 h 976639"/>
                      <a:gd name="connsiteX19" fmla="*/ 829026 w 985025"/>
                      <a:gd name="connsiteY19" fmla="*/ 289209 h 976639"/>
                      <a:gd name="connsiteX20" fmla="*/ 938225 w 985025"/>
                      <a:gd name="connsiteY20" fmla="*/ 278086 h 976639"/>
                      <a:gd name="connsiteX21" fmla="*/ 940454 w 985025"/>
                      <a:gd name="connsiteY21" fmla="*/ 284760 h 976639"/>
                      <a:gd name="connsiteX22" fmla="*/ 971654 w 985025"/>
                      <a:gd name="connsiteY22" fmla="*/ 367074 h 976639"/>
                      <a:gd name="connsiteX23" fmla="*/ 967197 w 985025"/>
                      <a:gd name="connsiteY23" fmla="*/ 373748 h 976639"/>
                      <a:gd name="connsiteX24" fmla="*/ 878054 w 985025"/>
                      <a:gd name="connsiteY24" fmla="*/ 431590 h 976639"/>
                      <a:gd name="connsiteX25" fmla="*/ 875825 w 985025"/>
                      <a:gd name="connsiteY25" fmla="*/ 436039 h 976639"/>
                      <a:gd name="connsiteX26" fmla="*/ 878054 w 985025"/>
                      <a:gd name="connsiteY26" fmla="*/ 478308 h 976639"/>
                      <a:gd name="connsiteX27" fmla="*/ 884740 w 985025"/>
                      <a:gd name="connsiteY27" fmla="*/ 484982 h 976639"/>
                      <a:gd name="connsiteX28" fmla="*/ 982797 w 985025"/>
                      <a:gd name="connsiteY28" fmla="*/ 529476 h 976639"/>
                      <a:gd name="connsiteX29" fmla="*/ 985025 w 985025"/>
                      <a:gd name="connsiteY29" fmla="*/ 533926 h 976639"/>
                      <a:gd name="connsiteX30" fmla="*/ 967197 w 985025"/>
                      <a:gd name="connsiteY30" fmla="*/ 620689 h 976639"/>
                      <a:gd name="connsiteX31" fmla="*/ 962739 w 985025"/>
                      <a:gd name="connsiteY31" fmla="*/ 625138 h 976639"/>
                      <a:gd name="connsiteX32" fmla="*/ 855768 w 985025"/>
                      <a:gd name="connsiteY32" fmla="*/ 631812 h 976639"/>
                      <a:gd name="connsiteX33" fmla="*/ 851311 w 985025"/>
                      <a:gd name="connsiteY33" fmla="*/ 634037 h 976639"/>
                      <a:gd name="connsiteX34" fmla="*/ 831254 w 985025"/>
                      <a:gd name="connsiteY34" fmla="*/ 674081 h 976639"/>
                      <a:gd name="connsiteX35" fmla="*/ 831254 w 985025"/>
                      <a:gd name="connsiteY35" fmla="*/ 678531 h 976639"/>
                      <a:gd name="connsiteX36" fmla="*/ 895883 w 985025"/>
                      <a:gd name="connsiteY36" fmla="*/ 767518 h 976639"/>
                      <a:gd name="connsiteX37" fmla="*/ 895883 w 985025"/>
                      <a:gd name="connsiteY37" fmla="*/ 774192 h 976639"/>
                      <a:gd name="connsiteX38" fmla="*/ 835711 w 985025"/>
                      <a:gd name="connsiteY38" fmla="*/ 840933 h 976639"/>
                      <a:gd name="connsiteX39" fmla="*/ 831254 w 985025"/>
                      <a:gd name="connsiteY39" fmla="*/ 840933 h 976639"/>
                      <a:gd name="connsiteX40" fmla="*/ 733197 w 985025"/>
                      <a:gd name="connsiteY40" fmla="*/ 791990 h 976639"/>
                      <a:gd name="connsiteX41" fmla="*/ 728740 w 985025"/>
                      <a:gd name="connsiteY41" fmla="*/ 791990 h 976639"/>
                      <a:gd name="connsiteX42" fmla="*/ 695312 w 985025"/>
                      <a:gd name="connsiteY42" fmla="*/ 814237 h 976639"/>
                      <a:gd name="connsiteX43" fmla="*/ 690855 w 985025"/>
                      <a:gd name="connsiteY43" fmla="*/ 823135 h 976639"/>
                      <a:gd name="connsiteX44" fmla="*/ 701998 w 985025"/>
                      <a:gd name="connsiteY44" fmla="*/ 929921 h 976639"/>
                      <a:gd name="connsiteX45" fmla="*/ 697540 w 985025"/>
                      <a:gd name="connsiteY45" fmla="*/ 934370 h 976639"/>
                      <a:gd name="connsiteX46" fmla="*/ 612855 w 985025"/>
                      <a:gd name="connsiteY46" fmla="*/ 963291 h 976639"/>
                      <a:gd name="connsiteX47" fmla="*/ 608398 w 985025"/>
                      <a:gd name="connsiteY47" fmla="*/ 963291 h 976639"/>
                      <a:gd name="connsiteX48" fmla="*/ 548227 w 985025"/>
                      <a:gd name="connsiteY48" fmla="*/ 874303 h 976639"/>
                      <a:gd name="connsiteX49" fmla="*/ 543770 w 985025"/>
                      <a:gd name="connsiteY49" fmla="*/ 869854 h 976639"/>
                      <a:gd name="connsiteX50" fmla="*/ 501427 w 985025"/>
                      <a:gd name="connsiteY50" fmla="*/ 874303 h 976639"/>
                      <a:gd name="connsiteX51" fmla="*/ 494741 w 985025"/>
                      <a:gd name="connsiteY51" fmla="*/ 876528 h 976639"/>
                      <a:gd name="connsiteX52" fmla="*/ 450170 w 985025"/>
                      <a:gd name="connsiteY52" fmla="*/ 974414 h 976639"/>
                      <a:gd name="connsiteX53" fmla="*/ 445713 w 985025"/>
                      <a:gd name="connsiteY53" fmla="*/ 976639 h 976639"/>
                      <a:gd name="connsiteX54" fmla="*/ 356570 w 985025"/>
                      <a:gd name="connsiteY54" fmla="*/ 958842 h 976639"/>
                      <a:gd name="connsiteX55" fmla="*/ 352113 w 985025"/>
                      <a:gd name="connsiteY55" fmla="*/ 956617 h 976639"/>
                      <a:gd name="connsiteX56" fmla="*/ 347656 w 985025"/>
                      <a:gd name="connsiteY56" fmla="*/ 847607 h 976639"/>
                      <a:gd name="connsiteX57" fmla="*/ 340970 w 985025"/>
                      <a:gd name="connsiteY57" fmla="*/ 843158 h 976639"/>
                      <a:gd name="connsiteX58" fmla="*/ 305313 w 985025"/>
                      <a:gd name="connsiteY58" fmla="*/ 825360 h 976639"/>
                      <a:gd name="connsiteX59" fmla="*/ 296399 w 985025"/>
                      <a:gd name="connsiteY59" fmla="*/ 825360 h 976639"/>
                      <a:gd name="connsiteX60" fmla="*/ 211713 w 985025"/>
                      <a:gd name="connsiteY60" fmla="*/ 887652 h 976639"/>
                      <a:gd name="connsiteX61" fmla="*/ 205028 w 985025"/>
                      <a:gd name="connsiteY61" fmla="*/ 887652 h 976639"/>
                      <a:gd name="connsiteX62" fmla="*/ 138171 w 985025"/>
                      <a:gd name="connsiteY62" fmla="*/ 829810 h 976639"/>
                      <a:gd name="connsiteX63" fmla="*/ 135942 w 985025"/>
                      <a:gd name="connsiteY63" fmla="*/ 823135 h 976639"/>
                      <a:gd name="connsiteX64" fmla="*/ 182742 w 985025"/>
                      <a:gd name="connsiteY64" fmla="*/ 725249 h 976639"/>
                      <a:gd name="connsiteX65" fmla="*/ 182742 w 985025"/>
                      <a:gd name="connsiteY65" fmla="*/ 720800 h 976639"/>
                      <a:gd name="connsiteX66" fmla="*/ 160457 w 985025"/>
                      <a:gd name="connsiteY66" fmla="*/ 687429 h 976639"/>
                      <a:gd name="connsiteX67" fmla="*/ 153771 w 985025"/>
                      <a:gd name="connsiteY67" fmla="*/ 685205 h 976639"/>
                      <a:gd name="connsiteX68" fmla="*/ 49028 w 985025"/>
                      <a:gd name="connsiteY68" fmla="*/ 696328 h 976639"/>
                      <a:gd name="connsiteX69" fmla="*/ 42343 w 985025"/>
                      <a:gd name="connsiteY69" fmla="*/ 691879 h 976639"/>
                      <a:gd name="connsiteX70" fmla="*/ 11143 w 985025"/>
                      <a:gd name="connsiteY70" fmla="*/ 609565 h 976639"/>
                      <a:gd name="connsiteX71" fmla="*/ 15600 w 985025"/>
                      <a:gd name="connsiteY71" fmla="*/ 602891 h 976639"/>
                      <a:gd name="connsiteX72" fmla="*/ 104742 w 985025"/>
                      <a:gd name="connsiteY72" fmla="*/ 542824 h 976639"/>
                      <a:gd name="connsiteX73" fmla="*/ 106971 w 985025"/>
                      <a:gd name="connsiteY73" fmla="*/ 536150 h 976639"/>
                      <a:gd name="connsiteX74" fmla="*/ 104742 w 985025"/>
                      <a:gd name="connsiteY74" fmla="*/ 496106 h 976639"/>
                      <a:gd name="connsiteX75" fmla="*/ 102514 w 985025"/>
                      <a:gd name="connsiteY75" fmla="*/ 489432 h 976639"/>
                      <a:gd name="connsiteX76" fmla="*/ 4457 w 985025"/>
                      <a:gd name="connsiteY76" fmla="*/ 444938 h 976639"/>
                      <a:gd name="connsiteX77" fmla="*/ 0 w 985025"/>
                      <a:gd name="connsiteY77" fmla="*/ 440489 h 976639"/>
                      <a:gd name="connsiteX78" fmla="*/ 15600 w 985025"/>
                      <a:gd name="connsiteY78" fmla="*/ 353726 h 976639"/>
                      <a:gd name="connsiteX79" fmla="*/ 20057 w 985025"/>
                      <a:gd name="connsiteY79" fmla="*/ 351501 h 976639"/>
                      <a:gd name="connsiteX80" fmla="*/ 129257 w 985025"/>
                      <a:gd name="connsiteY80" fmla="*/ 342602 h 976639"/>
                      <a:gd name="connsiteX81" fmla="*/ 135942 w 985025"/>
                      <a:gd name="connsiteY81" fmla="*/ 340377 h 976639"/>
                      <a:gd name="connsiteX82" fmla="*/ 151542 w 985025"/>
                      <a:gd name="connsiteY82" fmla="*/ 302558 h 976639"/>
                      <a:gd name="connsiteX83" fmla="*/ 151542 w 985025"/>
                      <a:gd name="connsiteY83" fmla="*/ 295884 h 976639"/>
                      <a:gd name="connsiteX84" fmla="*/ 91371 w 985025"/>
                      <a:gd name="connsiteY84" fmla="*/ 209121 h 976639"/>
                      <a:gd name="connsiteX85" fmla="*/ 91371 w 985025"/>
                      <a:gd name="connsiteY85" fmla="*/ 200222 h 976639"/>
                      <a:gd name="connsiteX86" fmla="*/ 147085 w 985025"/>
                      <a:gd name="connsiteY86" fmla="*/ 133481 h 976639"/>
                      <a:gd name="connsiteX87" fmla="*/ 153771 w 985025"/>
                      <a:gd name="connsiteY87" fmla="*/ 133481 h 976639"/>
                      <a:gd name="connsiteX88" fmla="*/ 249599 w 985025"/>
                      <a:gd name="connsiteY88" fmla="*/ 180200 h 976639"/>
                      <a:gd name="connsiteX89" fmla="*/ 256285 w 985025"/>
                      <a:gd name="connsiteY89" fmla="*/ 180200 h 976639"/>
                      <a:gd name="connsiteX90" fmla="*/ 289713 w 985025"/>
                      <a:gd name="connsiteY90" fmla="*/ 157953 h 976639"/>
                      <a:gd name="connsiteX91" fmla="*/ 283027 w 985025"/>
                      <a:gd name="connsiteY91" fmla="*/ 44493 h 976639"/>
                      <a:gd name="connsiteX92" fmla="*/ 369942 w 985025"/>
                      <a:gd name="connsiteY92" fmla="*/ 11123 h 976639"/>
                      <a:gd name="connsiteX93" fmla="*/ 439027 w 985025"/>
                      <a:gd name="connsiteY93" fmla="*/ 106785 h 976639"/>
                      <a:gd name="connsiteX94" fmla="*/ 481370 w 985025"/>
                      <a:gd name="connsiteY94" fmla="*/ 102335 h 976639"/>
                      <a:gd name="connsiteX95" fmla="*/ 532627 w 985025"/>
                      <a:gd name="connsiteY9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37369 w 985025"/>
                      <a:gd name="connsiteY7" fmla="*/ 124582 h 976639"/>
                      <a:gd name="connsiteX8" fmla="*/ 641826 w 985025"/>
                      <a:gd name="connsiteY8" fmla="*/ 131256 h 976639"/>
                      <a:gd name="connsiteX9" fmla="*/ 677483 w 985025"/>
                      <a:gd name="connsiteY9" fmla="*/ 151279 h 976639"/>
                      <a:gd name="connsiteX10" fmla="*/ 686398 w 985025"/>
                      <a:gd name="connsiteY10" fmla="*/ 146829 h 976639"/>
                      <a:gd name="connsiteX11" fmla="*/ 773312 w 985025"/>
                      <a:gd name="connsiteY11" fmla="*/ 86763 h 976639"/>
                      <a:gd name="connsiteX12" fmla="*/ 779997 w 985025"/>
                      <a:gd name="connsiteY12" fmla="*/ 86763 h 976639"/>
                      <a:gd name="connsiteX13" fmla="*/ 846854 w 985025"/>
                      <a:gd name="connsiteY13" fmla="*/ 144605 h 976639"/>
                      <a:gd name="connsiteX14" fmla="*/ 846854 w 985025"/>
                      <a:gd name="connsiteY14" fmla="*/ 151279 h 976639"/>
                      <a:gd name="connsiteX15" fmla="*/ 800054 w 985025"/>
                      <a:gd name="connsiteY15" fmla="*/ 246940 h 976639"/>
                      <a:gd name="connsiteX16" fmla="*/ 800054 w 985025"/>
                      <a:gd name="connsiteY16" fmla="*/ 253614 h 976639"/>
                      <a:gd name="connsiteX17" fmla="*/ 822340 w 985025"/>
                      <a:gd name="connsiteY17" fmla="*/ 286985 h 976639"/>
                      <a:gd name="connsiteX18" fmla="*/ 829026 w 985025"/>
                      <a:gd name="connsiteY18" fmla="*/ 289209 h 976639"/>
                      <a:gd name="connsiteX19" fmla="*/ 938225 w 985025"/>
                      <a:gd name="connsiteY19" fmla="*/ 278086 h 976639"/>
                      <a:gd name="connsiteX20" fmla="*/ 940454 w 985025"/>
                      <a:gd name="connsiteY20" fmla="*/ 284760 h 976639"/>
                      <a:gd name="connsiteX21" fmla="*/ 971654 w 985025"/>
                      <a:gd name="connsiteY21" fmla="*/ 367074 h 976639"/>
                      <a:gd name="connsiteX22" fmla="*/ 967197 w 985025"/>
                      <a:gd name="connsiteY22" fmla="*/ 373748 h 976639"/>
                      <a:gd name="connsiteX23" fmla="*/ 878054 w 985025"/>
                      <a:gd name="connsiteY23" fmla="*/ 431590 h 976639"/>
                      <a:gd name="connsiteX24" fmla="*/ 875825 w 985025"/>
                      <a:gd name="connsiteY24" fmla="*/ 436039 h 976639"/>
                      <a:gd name="connsiteX25" fmla="*/ 878054 w 985025"/>
                      <a:gd name="connsiteY25" fmla="*/ 478308 h 976639"/>
                      <a:gd name="connsiteX26" fmla="*/ 884740 w 985025"/>
                      <a:gd name="connsiteY26" fmla="*/ 484982 h 976639"/>
                      <a:gd name="connsiteX27" fmla="*/ 982797 w 985025"/>
                      <a:gd name="connsiteY27" fmla="*/ 529476 h 976639"/>
                      <a:gd name="connsiteX28" fmla="*/ 985025 w 985025"/>
                      <a:gd name="connsiteY28" fmla="*/ 533926 h 976639"/>
                      <a:gd name="connsiteX29" fmla="*/ 967197 w 985025"/>
                      <a:gd name="connsiteY29" fmla="*/ 620689 h 976639"/>
                      <a:gd name="connsiteX30" fmla="*/ 962739 w 985025"/>
                      <a:gd name="connsiteY30" fmla="*/ 625138 h 976639"/>
                      <a:gd name="connsiteX31" fmla="*/ 855768 w 985025"/>
                      <a:gd name="connsiteY31" fmla="*/ 631812 h 976639"/>
                      <a:gd name="connsiteX32" fmla="*/ 851311 w 985025"/>
                      <a:gd name="connsiteY32" fmla="*/ 634037 h 976639"/>
                      <a:gd name="connsiteX33" fmla="*/ 831254 w 985025"/>
                      <a:gd name="connsiteY33" fmla="*/ 674081 h 976639"/>
                      <a:gd name="connsiteX34" fmla="*/ 831254 w 985025"/>
                      <a:gd name="connsiteY34" fmla="*/ 678531 h 976639"/>
                      <a:gd name="connsiteX35" fmla="*/ 895883 w 985025"/>
                      <a:gd name="connsiteY35" fmla="*/ 767518 h 976639"/>
                      <a:gd name="connsiteX36" fmla="*/ 895883 w 985025"/>
                      <a:gd name="connsiteY36" fmla="*/ 774192 h 976639"/>
                      <a:gd name="connsiteX37" fmla="*/ 835711 w 985025"/>
                      <a:gd name="connsiteY37" fmla="*/ 840933 h 976639"/>
                      <a:gd name="connsiteX38" fmla="*/ 831254 w 985025"/>
                      <a:gd name="connsiteY38" fmla="*/ 840933 h 976639"/>
                      <a:gd name="connsiteX39" fmla="*/ 733197 w 985025"/>
                      <a:gd name="connsiteY39" fmla="*/ 791990 h 976639"/>
                      <a:gd name="connsiteX40" fmla="*/ 728740 w 985025"/>
                      <a:gd name="connsiteY40" fmla="*/ 791990 h 976639"/>
                      <a:gd name="connsiteX41" fmla="*/ 695312 w 985025"/>
                      <a:gd name="connsiteY41" fmla="*/ 814237 h 976639"/>
                      <a:gd name="connsiteX42" fmla="*/ 690855 w 985025"/>
                      <a:gd name="connsiteY42" fmla="*/ 823135 h 976639"/>
                      <a:gd name="connsiteX43" fmla="*/ 701998 w 985025"/>
                      <a:gd name="connsiteY43" fmla="*/ 929921 h 976639"/>
                      <a:gd name="connsiteX44" fmla="*/ 697540 w 985025"/>
                      <a:gd name="connsiteY44" fmla="*/ 934370 h 976639"/>
                      <a:gd name="connsiteX45" fmla="*/ 612855 w 985025"/>
                      <a:gd name="connsiteY45" fmla="*/ 963291 h 976639"/>
                      <a:gd name="connsiteX46" fmla="*/ 608398 w 985025"/>
                      <a:gd name="connsiteY46" fmla="*/ 963291 h 976639"/>
                      <a:gd name="connsiteX47" fmla="*/ 548227 w 985025"/>
                      <a:gd name="connsiteY47" fmla="*/ 874303 h 976639"/>
                      <a:gd name="connsiteX48" fmla="*/ 543770 w 985025"/>
                      <a:gd name="connsiteY48" fmla="*/ 869854 h 976639"/>
                      <a:gd name="connsiteX49" fmla="*/ 501427 w 985025"/>
                      <a:gd name="connsiteY49" fmla="*/ 874303 h 976639"/>
                      <a:gd name="connsiteX50" fmla="*/ 494741 w 985025"/>
                      <a:gd name="connsiteY50" fmla="*/ 876528 h 976639"/>
                      <a:gd name="connsiteX51" fmla="*/ 450170 w 985025"/>
                      <a:gd name="connsiteY51" fmla="*/ 974414 h 976639"/>
                      <a:gd name="connsiteX52" fmla="*/ 445713 w 985025"/>
                      <a:gd name="connsiteY52" fmla="*/ 976639 h 976639"/>
                      <a:gd name="connsiteX53" fmla="*/ 356570 w 985025"/>
                      <a:gd name="connsiteY53" fmla="*/ 958842 h 976639"/>
                      <a:gd name="connsiteX54" fmla="*/ 352113 w 985025"/>
                      <a:gd name="connsiteY54" fmla="*/ 956617 h 976639"/>
                      <a:gd name="connsiteX55" fmla="*/ 347656 w 985025"/>
                      <a:gd name="connsiteY55" fmla="*/ 847607 h 976639"/>
                      <a:gd name="connsiteX56" fmla="*/ 340970 w 985025"/>
                      <a:gd name="connsiteY56" fmla="*/ 843158 h 976639"/>
                      <a:gd name="connsiteX57" fmla="*/ 305313 w 985025"/>
                      <a:gd name="connsiteY57" fmla="*/ 825360 h 976639"/>
                      <a:gd name="connsiteX58" fmla="*/ 296399 w 985025"/>
                      <a:gd name="connsiteY58" fmla="*/ 825360 h 976639"/>
                      <a:gd name="connsiteX59" fmla="*/ 211713 w 985025"/>
                      <a:gd name="connsiteY59" fmla="*/ 887652 h 976639"/>
                      <a:gd name="connsiteX60" fmla="*/ 205028 w 985025"/>
                      <a:gd name="connsiteY60" fmla="*/ 887652 h 976639"/>
                      <a:gd name="connsiteX61" fmla="*/ 138171 w 985025"/>
                      <a:gd name="connsiteY61" fmla="*/ 829810 h 976639"/>
                      <a:gd name="connsiteX62" fmla="*/ 135942 w 985025"/>
                      <a:gd name="connsiteY62" fmla="*/ 823135 h 976639"/>
                      <a:gd name="connsiteX63" fmla="*/ 182742 w 985025"/>
                      <a:gd name="connsiteY63" fmla="*/ 725249 h 976639"/>
                      <a:gd name="connsiteX64" fmla="*/ 182742 w 985025"/>
                      <a:gd name="connsiteY64" fmla="*/ 720800 h 976639"/>
                      <a:gd name="connsiteX65" fmla="*/ 160457 w 985025"/>
                      <a:gd name="connsiteY65" fmla="*/ 687429 h 976639"/>
                      <a:gd name="connsiteX66" fmla="*/ 153771 w 985025"/>
                      <a:gd name="connsiteY66" fmla="*/ 685205 h 976639"/>
                      <a:gd name="connsiteX67" fmla="*/ 49028 w 985025"/>
                      <a:gd name="connsiteY67" fmla="*/ 696328 h 976639"/>
                      <a:gd name="connsiteX68" fmla="*/ 42343 w 985025"/>
                      <a:gd name="connsiteY68" fmla="*/ 691879 h 976639"/>
                      <a:gd name="connsiteX69" fmla="*/ 11143 w 985025"/>
                      <a:gd name="connsiteY69" fmla="*/ 609565 h 976639"/>
                      <a:gd name="connsiteX70" fmla="*/ 15600 w 985025"/>
                      <a:gd name="connsiteY70" fmla="*/ 602891 h 976639"/>
                      <a:gd name="connsiteX71" fmla="*/ 104742 w 985025"/>
                      <a:gd name="connsiteY71" fmla="*/ 542824 h 976639"/>
                      <a:gd name="connsiteX72" fmla="*/ 106971 w 985025"/>
                      <a:gd name="connsiteY72" fmla="*/ 536150 h 976639"/>
                      <a:gd name="connsiteX73" fmla="*/ 104742 w 985025"/>
                      <a:gd name="connsiteY73" fmla="*/ 496106 h 976639"/>
                      <a:gd name="connsiteX74" fmla="*/ 102514 w 985025"/>
                      <a:gd name="connsiteY74" fmla="*/ 489432 h 976639"/>
                      <a:gd name="connsiteX75" fmla="*/ 4457 w 985025"/>
                      <a:gd name="connsiteY75" fmla="*/ 444938 h 976639"/>
                      <a:gd name="connsiteX76" fmla="*/ 0 w 985025"/>
                      <a:gd name="connsiteY76" fmla="*/ 440489 h 976639"/>
                      <a:gd name="connsiteX77" fmla="*/ 15600 w 985025"/>
                      <a:gd name="connsiteY77" fmla="*/ 353726 h 976639"/>
                      <a:gd name="connsiteX78" fmla="*/ 20057 w 985025"/>
                      <a:gd name="connsiteY78" fmla="*/ 351501 h 976639"/>
                      <a:gd name="connsiteX79" fmla="*/ 129257 w 985025"/>
                      <a:gd name="connsiteY79" fmla="*/ 342602 h 976639"/>
                      <a:gd name="connsiteX80" fmla="*/ 135942 w 985025"/>
                      <a:gd name="connsiteY80" fmla="*/ 340377 h 976639"/>
                      <a:gd name="connsiteX81" fmla="*/ 151542 w 985025"/>
                      <a:gd name="connsiteY81" fmla="*/ 302558 h 976639"/>
                      <a:gd name="connsiteX82" fmla="*/ 151542 w 985025"/>
                      <a:gd name="connsiteY82" fmla="*/ 295884 h 976639"/>
                      <a:gd name="connsiteX83" fmla="*/ 91371 w 985025"/>
                      <a:gd name="connsiteY83" fmla="*/ 209121 h 976639"/>
                      <a:gd name="connsiteX84" fmla="*/ 91371 w 985025"/>
                      <a:gd name="connsiteY84" fmla="*/ 200222 h 976639"/>
                      <a:gd name="connsiteX85" fmla="*/ 147085 w 985025"/>
                      <a:gd name="connsiteY85" fmla="*/ 133481 h 976639"/>
                      <a:gd name="connsiteX86" fmla="*/ 153771 w 985025"/>
                      <a:gd name="connsiteY86" fmla="*/ 133481 h 976639"/>
                      <a:gd name="connsiteX87" fmla="*/ 249599 w 985025"/>
                      <a:gd name="connsiteY87" fmla="*/ 180200 h 976639"/>
                      <a:gd name="connsiteX88" fmla="*/ 256285 w 985025"/>
                      <a:gd name="connsiteY88" fmla="*/ 180200 h 976639"/>
                      <a:gd name="connsiteX89" fmla="*/ 289713 w 985025"/>
                      <a:gd name="connsiteY89" fmla="*/ 157953 h 976639"/>
                      <a:gd name="connsiteX90" fmla="*/ 283027 w 985025"/>
                      <a:gd name="connsiteY90" fmla="*/ 44493 h 976639"/>
                      <a:gd name="connsiteX91" fmla="*/ 369942 w 985025"/>
                      <a:gd name="connsiteY91" fmla="*/ 11123 h 976639"/>
                      <a:gd name="connsiteX92" fmla="*/ 439027 w 985025"/>
                      <a:gd name="connsiteY92" fmla="*/ 106785 h 976639"/>
                      <a:gd name="connsiteX93" fmla="*/ 481370 w 985025"/>
                      <a:gd name="connsiteY93" fmla="*/ 102335 h 976639"/>
                      <a:gd name="connsiteX94" fmla="*/ 532627 w 985025"/>
                      <a:gd name="connsiteY94"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686398 w 985025"/>
                      <a:gd name="connsiteY9" fmla="*/ 146829 h 976639"/>
                      <a:gd name="connsiteX10" fmla="*/ 773312 w 985025"/>
                      <a:gd name="connsiteY10" fmla="*/ 86763 h 976639"/>
                      <a:gd name="connsiteX11" fmla="*/ 779997 w 985025"/>
                      <a:gd name="connsiteY11" fmla="*/ 86763 h 976639"/>
                      <a:gd name="connsiteX12" fmla="*/ 846854 w 985025"/>
                      <a:gd name="connsiteY12" fmla="*/ 144605 h 976639"/>
                      <a:gd name="connsiteX13" fmla="*/ 846854 w 985025"/>
                      <a:gd name="connsiteY13" fmla="*/ 151279 h 976639"/>
                      <a:gd name="connsiteX14" fmla="*/ 800054 w 985025"/>
                      <a:gd name="connsiteY14" fmla="*/ 246940 h 976639"/>
                      <a:gd name="connsiteX15" fmla="*/ 800054 w 985025"/>
                      <a:gd name="connsiteY15" fmla="*/ 253614 h 976639"/>
                      <a:gd name="connsiteX16" fmla="*/ 822340 w 985025"/>
                      <a:gd name="connsiteY16" fmla="*/ 286985 h 976639"/>
                      <a:gd name="connsiteX17" fmla="*/ 829026 w 985025"/>
                      <a:gd name="connsiteY17" fmla="*/ 289209 h 976639"/>
                      <a:gd name="connsiteX18" fmla="*/ 938225 w 985025"/>
                      <a:gd name="connsiteY18" fmla="*/ 278086 h 976639"/>
                      <a:gd name="connsiteX19" fmla="*/ 940454 w 985025"/>
                      <a:gd name="connsiteY19" fmla="*/ 284760 h 976639"/>
                      <a:gd name="connsiteX20" fmla="*/ 971654 w 985025"/>
                      <a:gd name="connsiteY20" fmla="*/ 367074 h 976639"/>
                      <a:gd name="connsiteX21" fmla="*/ 967197 w 985025"/>
                      <a:gd name="connsiteY21" fmla="*/ 373748 h 976639"/>
                      <a:gd name="connsiteX22" fmla="*/ 878054 w 985025"/>
                      <a:gd name="connsiteY22" fmla="*/ 431590 h 976639"/>
                      <a:gd name="connsiteX23" fmla="*/ 875825 w 985025"/>
                      <a:gd name="connsiteY23" fmla="*/ 436039 h 976639"/>
                      <a:gd name="connsiteX24" fmla="*/ 878054 w 985025"/>
                      <a:gd name="connsiteY24" fmla="*/ 478308 h 976639"/>
                      <a:gd name="connsiteX25" fmla="*/ 884740 w 985025"/>
                      <a:gd name="connsiteY25" fmla="*/ 484982 h 976639"/>
                      <a:gd name="connsiteX26" fmla="*/ 982797 w 985025"/>
                      <a:gd name="connsiteY26" fmla="*/ 529476 h 976639"/>
                      <a:gd name="connsiteX27" fmla="*/ 985025 w 985025"/>
                      <a:gd name="connsiteY27" fmla="*/ 533926 h 976639"/>
                      <a:gd name="connsiteX28" fmla="*/ 967197 w 985025"/>
                      <a:gd name="connsiteY28" fmla="*/ 620689 h 976639"/>
                      <a:gd name="connsiteX29" fmla="*/ 962739 w 985025"/>
                      <a:gd name="connsiteY29" fmla="*/ 625138 h 976639"/>
                      <a:gd name="connsiteX30" fmla="*/ 855768 w 985025"/>
                      <a:gd name="connsiteY30" fmla="*/ 631812 h 976639"/>
                      <a:gd name="connsiteX31" fmla="*/ 851311 w 985025"/>
                      <a:gd name="connsiteY31" fmla="*/ 634037 h 976639"/>
                      <a:gd name="connsiteX32" fmla="*/ 831254 w 985025"/>
                      <a:gd name="connsiteY32" fmla="*/ 674081 h 976639"/>
                      <a:gd name="connsiteX33" fmla="*/ 831254 w 985025"/>
                      <a:gd name="connsiteY33" fmla="*/ 678531 h 976639"/>
                      <a:gd name="connsiteX34" fmla="*/ 895883 w 985025"/>
                      <a:gd name="connsiteY34" fmla="*/ 767518 h 976639"/>
                      <a:gd name="connsiteX35" fmla="*/ 895883 w 985025"/>
                      <a:gd name="connsiteY35" fmla="*/ 774192 h 976639"/>
                      <a:gd name="connsiteX36" fmla="*/ 835711 w 985025"/>
                      <a:gd name="connsiteY36" fmla="*/ 840933 h 976639"/>
                      <a:gd name="connsiteX37" fmla="*/ 831254 w 985025"/>
                      <a:gd name="connsiteY37" fmla="*/ 840933 h 976639"/>
                      <a:gd name="connsiteX38" fmla="*/ 733197 w 985025"/>
                      <a:gd name="connsiteY38" fmla="*/ 791990 h 976639"/>
                      <a:gd name="connsiteX39" fmla="*/ 728740 w 985025"/>
                      <a:gd name="connsiteY39" fmla="*/ 791990 h 976639"/>
                      <a:gd name="connsiteX40" fmla="*/ 695312 w 985025"/>
                      <a:gd name="connsiteY40" fmla="*/ 814237 h 976639"/>
                      <a:gd name="connsiteX41" fmla="*/ 690855 w 985025"/>
                      <a:gd name="connsiteY41" fmla="*/ 823135 h 976639"/>
                      <a:gd name="connsiteX42" fmla="*/ 701998 w 985025"/>
                      <a:gd name="connsiteY42" fmla="*/ 929921 h 976639"/>
                      <a:gd name="connsiteX43" fmla="*/ 697540 w 985025"/>
                      <a:gd name="connsiteY43" fmla="*/ 934370 h 976639"/>
                      <a:gd name="connsiteX44" fmla="*/ 612855 w 985025"/>
                      <a:gd name="connsiteY44" fmla="*/ 963291 h 976639"/>
                      <a:gd name="connsiteX45" fmla="*/ 608398 w 985025"/>
                      <a:gd name="connsiteY45" fmla="*/ 963291 h 976639"/>
                      <a:gd name="connsiteX46" fmla="*/ 548227 w 985025"/>
                      <a:gd name="connsiteY46" fmla="*/ 874303 h 976639"/>
                      <a:gd name="connsiteX47" fmla="*/ 543770 w 985025"/>
                      <a:gd name="connsiteY47" fmla="*/ 869854 h 976639"/>
                      <a:gd name="connsiteX48" fmla="*/ 501427 w 985025"/>
                      <a:gd name="connsiteY48" fmla="*/ 874303 h 976639"/>
                      <a:gd name="connsiteX49" fmla="*/ 494741 w 985025"/>
                      <a:gd name="connsiteY49" fmla="*/ 876528 h 976639"/>
                      <a:gd name="connsiteX50" fmla="*/ 450170 w 985025"/>
                      <a:gd name="connsiteY50" fmla="*/ 974414 h 976639"/>
                      <a:gd name="connsiteX51" fmla="*/ 445713 w 985025"/>
                      <a:gd name="connsiteY51" fmla="*/ 976639 h 976639"/>
                      <a:gd name="connsiteX52" fmla="*/ 356570 w 985025"/>
                      <a:gd name="connsiteY52" fmla="*/ 958842 h 976639"/>
                      <a:gd name="connsiteX53" fmla="*/ 352113 w 985025"/>
                      <a:gd name="connsiteY53" fmla="*/ 956617 h 976639"/>
                      <a:gd name="connsiteX54" fmla="*/ 347656 w 985025"/>
                      <a:gd name="connsiteY54" fmla="*/ 847607 h 976639"/>
                      <a:gd name="connsiteX55" fmla="*/ 340970 w 985025"/>
                      <a:gd name="connsiteY55" fmla="*/ 843158 h 976639"/>
                      <a:gd name="connsiteX56" fmla="*/ 305313 w 985025"/>
                      <a:gd name="connsiteY56" fmla="*/ 825360 h 976639"/>
                      <a:gd name="connsiteX57" fmla="*/ 296399 w 985025"/>
                      <a:gd name="connsiteY57" fmla="*/ 825360 h 976639"/>
                      <a:gd name="connsiteX58" fmla="*/ 211713 w 985025"/>
                      <a:gd name="connsiteY58" fmla="*/ 887652 h 976639"/>
                      <a:gd name="connsiteX59" fmla="*/ 205028 w 985025"/>
                      <a:gd name="connsiteY59" fmla="*/ 887652 h 976639"/>
                      <a:gd name="connsiteX60" fmla="*/ 138171 w 985025"/>
                      <a:gd name="connsiteY60" fmla="*/ 829810 h 976639"/>
                      <a:gd name="connsiteX61" fmla="*/ 135942 w 985025"/>
                      <a:gd name="connsiteY61" fmla="*/ 823135 h 976639"/>
                      <a:gd name="connsiteX62" fmla="*/ 182742 w 985025"/>
                      <a:gd name="connsiteY62" fmla="*/ 725249 h 976639"/>
                      <a:gd name="connsiteX63" fmla="*/ 182742 w 985025"/>
                      <a:gd name="connsiteY63" fmla="*/ 720800 h 976639"/>
                      <a:gd name="connsiteX64" fmla="*/ 160457 w 985025"/>
                      <a:gd name="connsiteY64" fmla="*/ 687429 h 976639"/>
                      <a:gd name="connsiteX65" fmla="*/ 153771 w 985025"/>
                      <a:gd name="connsiteY65" fmla="*/ 685205 h 976639"/>
                      <a:gd name="connsiteX66" fmla="*/ 49028 w 985025"/>
                      <a:gd name="connsiteY66" fmla="*/ 696328 h 976639"/>
                      <a:gd name="connsiteX67" fmla="*/ 42343 w 985025"/>
                      <a:gd name="connsiteY67" fmla="*/ 691879 h 976639"/>
                      <a:gd name="connsiteX68" fmla="*/ 11143 w 985025"/>
                      <a:gd name="connsiteY68" fmla="*/ 609565 h 976639"/>
                      <a:gd name="connsiteX69" fmla="*/ 15600 w 985025"/>
                      <a:gd name="connsiteY69" fmla="*/ 602891 h 976639"/>
                      <a:gd name="connsiteX70" fmla="*/ 104742 w 985025"/>
                      <a:gd name="connsiteY70" fmla="*/ 542824 h 976639"/>
                      <a:gd name="connsiteX71" fmla="*/ 106971 w 985025"/>
                      <a:gd name="connsiteY71" fmla="*/ 536150 h 976639"/>
                      <a:gd name="connsiteX72" fmla="*/ 104742 w 985025"/>
                      <a:gd name="connsiteY72" fmla="*/ 496106 h 976639"/>
                      <a:gd name="connsiteX73" fmla="*/ 102514 w 985025"/>
                      <a:gd name="connsiteY73" fmla="*/ 489432 h 976639"/>
                      <a:gd name="connsiteX74" fmla="*/ 4457 w 985025"/>
                      <a:gd name="connsiteY74" fmla="*/ 444938 h 976639"/>
                      <a:gd name="connsiteX75" fmla="*/ 0 w 985025"/>
                      <a:gd name="connsiteY75" fmla="*/ 440489 h 976639"/>
                      <a:gd name="connsiteX76" fmla="*/ 15600 w 985025"/>
                      <a:gd name="connsiteY76" fmla="*/ 353726 h 976639"/>
                      <a:gd name="connsiteX77" fmla="*/ 20057 w 985025"/>
                      <a:gd name="connsiteY77" fmla="*/ 351501 h 976639"/>
                      <a:gd name="connsiteX78" fmla="*/ 129257 w 985025"/>
                      <a:gd name="connsiteY78" fmla="*/ 342602 h 976639"/>
                      <a:gd name="connsiteX79" fmla="*/ 135942 w 985025"/>
                      <a:gd name="connsiteY79" fmla="*/ 340377 h 976639"/>
                      <a:gd name="connsiteX80" fmla="*/ 151542 w 985025"/>
                      <a:gd name="connsiteY80" fmla="*/ 302558 h 976639"/>
                      <a:gd name="connsiteX81" fmla="*/ 151542 w 985025"/>
                      <a:gd name="connsiteY81" fmla="*/ 295884 h 976639"/>
                      <a:gd name="connsiteX82" fmla="*/ 91371 w 985025"/>
                      <a:gd name="connsiteY82" fmla="*/ 209121 h 976639"/>
                      <a:gd name="connsiteX83" fmla="*/ 91371 w 985025"/>
                      <a:gd name="connsiteY83" fmla="*/ 200222 h 976639"/>
                      <a:gd name="connsiteX84" fmla="*/ 147085 w 985025"/>
                      <a:gd name="connsiteY84" fmla="*/ 133481 h 976639"/>
                      <a:gd name="connsiteX85" fmla="*/ 153771 w 985025"/>
                      <a:gd name="connsiteY85" fmla="*/ 133481 h 976639"/>
                      <a:gd name="connsiteX86" fmla="*/ 249599 w 985025"/>
                      <a:gd name="connsiteY86" fmla="*/ 180200 h 976639"/>
                      <a:gd name="connsiteX87" fmla="*/ 256285 w 985025"/>
                      <a:gd name="connsiteY87" fmla="*/ 180200 h 976639"/>
                      <a:gd name="connsiteX88" fmla="*/ 289713 w 985025"/>
                      <a:gd name="connsiteY88" fmla="*/ 157953 h 976639"/>
                      <a:gd name="connsiteX89" fmla="*/ 283027 w 985025"/>
                      <a:gd name="connsiteY89" fmla="*/ 44493 h 976639"/>
                      <a:gd name="connsiteX90" fmla="*/ 369942 w 985025"/>
                      <a:gd name="connsiteY90" fmla="*/ 11123 h 976639"/>
                      <a:gd name="connsiteX91" fmla="*/ 439027 w 985025"/>
                      <a:gd name="connsiteY91" fmla="*/ 106785 h 976639"/>
                      <a:gd name="connsiteX92" fmla="*/ 481370 w 985025"/>
                      <a:gd name="connsiteY92" fmla="*/ 102335 h 976639"/>
                      <a:gd name="connsiteX93" fmla="*/ 532627 w 985025"/>
                      <a:gd name="connsiteY93"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3312 w 985025"/>
                      <a:gd name="connsiteY9" fmla="*/ 86763 h 976639"/>
                      <a:gd name="connsiteX10" fmla="*/ 779997 w 985025"/>
                      <a:gd name="connsiteY10" fmla="*/ 86763 h 976639"/>
                      <a:gd name="connsiteX11" fmla="*/ 846854 w 985025"/>
                      <a:gd name="connsiteY11" fmla="*/ 144605 h 976639"/>
                      <a:gd name="connsiteX12" fmla="*/ 846854 w 985025"/>
                      <a:gd name="connsiteY12" fmla="*/ 151279 h 976639"/>
                      <a:gd name="connsiteX13" fmla="*/ 800054 w 985025"/>
                      <a:gd name="connsiteY13" fmla="*/ 246940 h 976639"/>
                      <a:gd name="connsiteX14" fmla="*/ 800054 w 985025"/>
                      <a:gd name="connsiteY14" fmla="*/ 253614 h 976639"/>
                      <a:gd name="connsiteX15" fmla="*/ 822340 w 985025"/>
                      <a:gd name="connsiteY15" fmla="*/ 286985 h 976639"/>
                      <a:gd name="connsiteX16" fmla="*/ 829026 w 985025"/>
                      <a:gd name="connsiteY16" fmla="*/ 289209 h 976639"/>
                      <a:gd name="connsiteX17" fmla="*/ 938225 w 985025"/>
                      <a:gd name="connsiteY17" fmla="*/ 278086 h 976639"/>
                      <a:gd name="connsiteX18" fmla="*/ 940454 w 985025"/>
                      <a:gd name="connsiteY18" fmla="*/ 284760 h 976639"/>
                      <a:gd name="connsiteX19" fmla="*/ 971654 w 985025"/>
                      <a:gd name="connsiteY19" fmla="*/ 367074 h 976639"/>
                      <a:gd name="connsiteX20" fmla="*/ 967197 w 985025"/>
                      <a:gd name="connsiteY20" fmla="*/ 373748 h 976639"/>
                      <a:gd name="connsiteX21" fmla="*/ 878054 w 985025"/>
                      <a:gd name="connsiteY21" fmla="*/ 431590 h 976639"/>
                      <a:gd name="connsiteX22" fmla="*/ 875825 w 985025"/>
                      <a:gd name="connsiteY22" fmla="*/ 436039 h 976639"/>
                      <a:gd name="connsiteX23" fmla="*/ 878054 w 985025"/>
                      <a:gd name="connsiteY23" fmla="*/ 478308 h 976639"/>
                      <a:gd name="connsiteX24" fmla="*/ 884740 w 985025"/>
                      <a:gd name="connsiteY24" fmla="*/ 484982 h 976639"/>
                      <a:gd name="connsiteX25" fmla="*/ 982797 w 985025"/>
                      <a:gd name="connsiteY25" fmla="*/ 529476 h 976639"/>
                      <a:gd name="connsiteX26" fmla="*/ 985025 w 985025"/>
                      <a:gd name="connsiteY26" fmla="*/ 533926 h 976639"/>
                      <a:gd name="connsiteX27" fmla="*/ 967197 w 985025"/>
                      <a:gd name="connsiteY27" fmla="*/ 620689 h 976639"/>
                      <a:gd name="connsiteX28" fmla="*/ 962739 w 985025"/>
                      <a:gd name="connsiteY28" fmla="*/ 625138 h 976639"/>
                      <a:gd name="connsiteX29" fmla="*/ 855768 w 985025"/>
                      <a:gd name="connsiteY29" fmla="*/ 631812 h 976639"/>
                      <a:gd name="connsiteX30" fmla="*/ 851311 w 985025"/>
                      <a:gd name="connsiteY30" fmla="*/ 634037 h 976639"/>
                      <a:gd name="connsiteX31" fmla="*/ 831254 w 985025"/>
                      <a:gd name="connsiteY31" fmla="*/ 674081 h 976639"/>
                      <a:gd name="connsiteX32" fmla="*/ 831254 w 985025"/>
                      <a:gd name="connsiteY32" fmla="*/ 678531 h 976639"/>
                      <a:gd name="connsiteX33" fmla="*/ 895883 w 985025"/>
                      <a:gd name="connsiteY33" fmla="*/ 767518 h 976639"/>
                      <a:gd name="connsiteX34" fmla="*/ 895883 w 985025"/>
                      <a:gd name="connsiteY34" fmla="*/ 774192 h 976639"/>
                      <a:gd name="connsiteX35" fmla="*/ 835711 w 985025"/>
                      <a:gd name="connsiteY35" fmla="*/ 840933 h 976639"/>
                      <a:gd name="connsiteX36" fmla="*/ 831254 w 985025"/>
                      <a:gd name="connsiteY36" fmla="*/ 840933 h 976639"/>
                      <a:gd name="connsiteX37" fmla="*/ 733197 w 985025"/>
                      <a:gd name="connsiteY37" fmla="*/ 791990 h 976639"/>
                      <a:gd name="connsiteX38" fmla="*/ 728740 w 985025"/>
                      <a:gd name="connsiteY38" fmla="*/ 791990 h 976639"/>
                      <a:gd name="connsiteX39" fmla="*/ 695312 w 985025"/>
                      <a:gd name="connsiteY39" fmla="*/ 814237 h 976639"/>
                      <a:gd name="connsiteX40" fmla="*/ 690855 w 985025"/>
                      <a:gd name="connsiteY40" fmla="*/ 823135 h 976639"/>
                      <a:gd name="connsiteX41" fmla="*/ 701998 w 985025"/>
                      <a:gd name="connsiteY41" fmla="*/ 929921 h 976639"/>
                      <a:gd name="connsiteX42" fmla="*/ 697540 w 985025"/>
                      <a:gd name="connsiteY42" fmla="*/ 934370 h 976639"/>
                      <a:gd name="connsiteX43" fmla="*/ 612855 w 985025"/>
                      <a:gd name="connsiteY43" fmla="*/ 963291 h 976639"/>
                      <a:gd name="connsiteX44" fmla="*/ 608398 w 985025"/>
                      <a:gd name="connsiteY44" fmla="*/ 963291 h 976639"/>
                      <a:gd name="connsiteX45" fmla="*/ 548227 w 985025"/>
                      <a:gd name="connsiteY45" fmla="*/ 874303 h 976639"/>
                      <a:gd name="connsiteX46" fmla="*/ 543770 w 985025"/>
                      <a:gd name="connsiteY46" fmla="*/ 869854 h 976639"/>
                      <a:gd name="connsiteX47" fmla="*/ 501427 w 985025"/>
                      <a:gd name="connsiteY47" fmla="*/ 874303 h 976639"/>
                      <a:gd name="connsiteX48" fmla="*/ 494741 w 985025"/>
                      <a:gd name="connsiteY48" fmla="*/ 876528 h 976639"/>
                      <a:gd name="connsiteX49" fmla="*/ 450170 w 985025"/>
                      <a:gd name="connsiteY49" fmla="*/ 974414 h 976639"/>
                      <a:gd name="connsiteX50" fmla="*/ 445713 w 985025"/>
                      <a:gd name="connsiteY50" fmla="*/ 976639 h 976639"/>
                      <a:gd name="connsiteX51" fmla="*/ 356570 w 985025"/>
                      <a:gd name="connsiteY51" fmla="*/ 958842 h 976639"/>
                      <a:gd name="connsiteX52" fmla="*/ 352113 w 985025"/>
                      <a:gd name="connsiteY52" fmla="*/ 956617 h 976639"/>
                      <a:gd name="connsiteX53" fmla="*/ 347656 w 985025"/>
                      <a:gd name="connsiteY53" fmla="*/ 847607 h 976639"/>
                      <a:gd name="connsiteX54" fmla="*/ 340970 w 985025"/>
                      <a:gd name="connsiteY54" fmla="*/ 843158 h 976639"/>
                      <a:gd name="connsiteX55" fmla="*/ 305313 w 985025"/>
                      <a:gd name="connsiteY55" fmla="*/ 825360 h 976639"/>
                      <a:gd name="connsiteX56" fmla="*/ 296399 w 985025"/>
                      <a:gd name="connsiteY56" fmla="*/ 825360 h 976639"/>
                      <a:gd name="connsiteX57" fmla="*/ 211713 w 985025"/>
                      <a:gd name="connsiteY57" fmla="*/ 887652 h 976639"/>
                      <a:gd name="connsiteX58" fmla="*/ 205028 w 985025"/>
                      <a:gd name="connsiteY58" fmla="*/ 887652 h 976639"/>
                      <a:gd name="connsiteX59" fmla="*/ 138171 w 985025"/>
                      <a:gd name="connsiteY59" fmla="*/ 829810 h 976639"/>
                      <a:gd name="connsiteX60" fmla="*/ 135942 w 985025"/>
                      <a:gd name="connsiteY60" fmla="*/ 823135 h 976639"/>
                      <a:gd name="connsiteX61" fmla="*/ 182742 w 985025"/>
                      <a:gd name="connsiteY61" fmla="*/ 725249 h 976639"/>
                      <a:gd name="connsiteX62" fmla="*/ 182742 w 985025"/>
                      <a:gd name="connsiteY62" fmla="*/ 720800 h 976639"/>
                      <a:gd name="connsiteX63" fmla="*/ 160457 w 985025"/>
                      <a:gd name="connsiteY63" fmla="*/ 687429 h 976639"/>
                      <a:gd name="connsiteX64" fmla="*/ 153771 w 985025"/>
                      <a:gd name="connsiteY64" fmla="*/ 685205 h 976639"/>
                      <a:gd name="connsiteX65" fmla="*/ 49028 w 985025"/>
                      <a:gd name="connsiteY65" fmla="*/ 696328 h 976639"/>
                      <a:gd name="connsiteX66" fmla="*/ 42343 w 985025"/>
                      <a:gd name="connsiteY66" fmla="*/ 691879 h 976639"/>
                      <a:gd name="connsiteX67" fmla="*/ 11143 w 985025"/>
                      <a:gd name="connsiteY67" fmla="*/ 609565 h 976639"/>
                      <a:gd name="connsiteX68" fmla="*/ 15600 w 985025"/>
                      <a:gd name="connsiteY68" fmla="*/ 602891 h 976639"/>
                      <a:gd name="connsiteX69" fmla="*/ 104742 w 985025"/>
                      <a:gd name="connsiteY69" fmla="*/ 542824 h 976639"/>
                      <a:gd name="connsiteX70" fmla="*/ 106971 w 985025"/>
                      <a:gd name="connsiteY70" fmla="*/ 536150 h 976639"/>
                      <a:gd name="connsiteX71" fmla="*/ 104742 w 985025"/>
                      <a:gd name="connsiteY71" fmla="*/ 496106 h 976639"/>
                      <a:gd name="connsiteX72" fmla="*/ 102514 w 985025"/>
                      <a:gd name="connsiteY72" fmla="*/ 489432 h 976639"/>
                      <a:gd name="connsiteX73" fmla="*/ 4457 w 985025"/>
                      <a:gd name="connsiteY73" fmla="*/ 444938 h 976639"/>
                      <a:gd name="connsiteX74" fmla="*/ 0 w 985025"/>
                      <a:gd name="connsiteY74" fmla="*/ 440489 h 976639"/>
                      <a:gd name="connsiteX75" fmla="*/ 15600 w 985025"/>
                      <a:gd name="connsiteY75" fmla="*/ 353726 h 976639"/>
                      <a:gd name="connsiteX76" fmla="*/ 20057 w 985025"/>
                      <a:gd name="connsiteY76" fmla="*/ 351501 h 976639"/>
                      <a:gd name="connsiteX77" fmla="*/ 129257 w 985025"/>
                      <a:gd name="connsiteY77" fmla="*/ 342602 h 976639"/>
                      <a:gd name="connsiteX78" fmla="*/ 135942 w 985025"/>
                      <a:gd name="connsiteY78" fmla="*/ 340377 h 976639"/>
                      <a:gd name="connsiteX79" fmla="*/ 151542 w 985025"/>
                      <a:gd name="connsiteY79" fmla="*/ 302558 h 976639"/>
                      <a:gd name="connsiteX80" fmla="*/ 151542 w 985025"/>
                      <a:gd name="connsiteY80" fmla="*/ 295884 h 976639"/>
                      <a:gd name="connsiteX81" fmla="*/ 91371 w 985025"/>
                      <a:gd name="connsiteY81" fmla="*/ 209121 h 976639"/>
                      <a:gd name="connsiteX82" fmla="*/ 91371 w 985025"/>
                      <a:gd name="connsiteY82" fmla="*/ 200222 h 976639"/>
                      <a:gd name="connsiteX83" fmla="*/ 147085 w 985025"/>
                      <a:gd name="connsiteY83" fmla="*/ 133481 h 976639"/>
                      <a:gd name="connsiteX84" fmla="*/ 153771 w 985025"/>
                      <a:gd name="connsiteY84" fmla="*/ 133481 h 976639"/>
                      <a:gd name="connsiteX85" fmla="*/ 249599 w 985025"/>
                      <a:gd name="connsiteY85" fmla="*/ 180200 h 976639"/>
                      <a:gd name="connsiteX86" fmla="*/ 256285 w 985025"/>
                      <a:gd name="connsiteY86" fmla="*/ 180200 h 976639"/>
                      <a:gd name="connsiteX87" fmla="*/ 289713 w 985025"/>
                      <a:gd name="connsiteY87" fmla="*/ 157953 h 976639"/>
                      <a:gd name="connsiteX88" fmla="*/ 283027 w 985025"/>
                      <a:gd name="connsiteY88" fmla="*/ 44493 h 976639"/>
                      <a:gd name="connsiteX89" fmla="*/ 369942 w 985025"/>
                      <a:gd name="connsiteY89" fmla="*/ 11123 h 976639"/>
                      <a:gd name="connsiteX90" fmla="*/ 439027 w 985025"/>
                      <a:gd name="connsiteY90" fmla="*/ 106785 h 976639"/>
                      <a:gd name="connsiteX91" fmla="*/ 481370 w 985025"/>
                      <a:gd name="connsiteY91" fmla="*/ 102335 h 976639"/>
                      <a:gd name="connsiteX92" fmla="*/ 532627 w 985025"/>
                      <a:gd name="connsiteY92"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46854 w 985025"/>
                      <a:gd name="connsiteY11" fmla="*/ 151279 h 976639"/>
                      <a:gd name="connsiteX12" fmla="*/ 800054 w 985025"/>
                      <a:gd name="connsiteY12" fmla="*/ 246940 h 976639"/>
                      <a:gd name="connsiteX13" fmla="*/ 800054 w 985025"/>
                      <a:gd name="connsiteY13" fmla="*/ 253614 h 976639"/>
                      <a:gd name="connsiteX14" fmla="*/ 822340 w 985025"/>
                      <a:gd name="connsiteY14" fmla="*/ 286985 h 976639"/>
                      <a:gd name="connsiteX15" fmla="*/ 829026 w 985025"/>
                      <a:gd name="connsiteY15" fmla="*/ 289209 h 976639"/>
                      <a:gd name="connsiteX16" fmla="*/ 938225 w 985025"/>
                      <a:gd name="connsiteY16" fmla="*/ 278086 h 976639"/>
                      <a:gd name="connsiteX17" fmla="*/ 940454 w 985025"/>
                      <a:gd name="connsiteY17" fmla="*/ 284760 h 976639"/>
                      <a:gd name="connsiteX18" fmla="*/ 971654 w 985025"/>
                      <a:gd name="connsiteY18" fmla="*/ 367074 h 976639"/>
                      <a:gd name="connsiteX19" fmla="*/ 967197 w 985025"/>
                      <a:gd name="connsiteY19" fmla="*/ 373748 h 976639"/>
                      <a:gd name="connsiteX20" fmla="*/ 878054 w 985025"/>
                      <a:gd name="connsiteY20" fmla="*/ 431590 h 976639"/>
                      <a:gd name="connsiteX21" fmla="*/ 875825 w 985025"/>
                      <a:gd name="connsiteY21" fmla="*/ 436039 h 976639"/>
                      <a:gd name="connsiteX22" fmla="*/ 878054 w 985025"/>
                      <a:gd name="connsiteY22" fmla="*/ 478308 h 976639"/>
                      <a:gd name="connsiteX23" fmla="*/ 884740 w 985025"/>
                      <a:gd name="connsiteY23" fmla="*/ 484982 h 976639"/>
                      <a:gd name="connsiteX24" fmla="*/ 982797 w 985025"/>
                      <a:gd name="connsiteY24" fmla="*/ 529476 h 976639"/>
                      <a:gd name="connsiteX25" fmla="*/ 985025 w 985025"/>
                      <a:gd name="connsiteY25" fmla="*/ 533926 h 976639"/>
                      <a:gd name="connsiteX26" fmla="*/ 967197 w 985025"/>
                      <a:gd name="connsiteY26" fmla="*/ 620689 h 976639"/>
                      <a:gd name="connsiteX27" fmla="*/ 962739 w 985025"/>
                      <a:gd name="connsiteY27" fmla="*/ 625138 h 976639"/>
                      <a:gd name="connsiteX28" fmla="*/ 855768 w 985025"/>
                      <a:gd name="connsiteY28" fmla="*/ 631812 h 976639"/>
                      <a:gd name="connsiteX29" fmla="*/ 851311 w 985025"/>
                      <a:gd name="connsiteY29" fmla="*/ 634037 h 976639"/>
                      <a:gd name="connsiteX30" fmla="*/ 831254 w 985025"/>
                      <a:gd name="connsiteY30" fmla="*/ 674081 h 976639"/>
                      <a:gd name="connsiteX31" fmla="*/ 831254 w 985025"/>
                      <a:gd name="connsiteY31" fmla="*/ 678531 h 976639"/>
                      <a:gd name="connsiteX32" fmla="*/ 895883 w 985025"/>
                      <a:gd name="connsiteY32" fmla="*/ 767518 h 976639"/>
                      <a:gd name="connsiteX33" fmla="*/ 895883 w 985025"/>
                      <a:gd name="connsiteY33" fmla="*/ 774192 h 976639"/>
                      <a:gd name="connsiteX34" fmla="*/ 835711 w 985025"/>
                      <a:gd name="connsiteY34" fmla="*/ 840933 h 976639"/>
                      <a:gd name="connsiteX35" fmla="*/ 831254 w 985025"/>
                      <a:gd name="connsiteY35" fmla="*/ 840933 h 976639"/>
                      <a:gd name="connsiteX36" fmla="*/ 733197 w 985025"/>
                      <a:gd name="connsiteY36" fmla="*/ 791990 h 976639"/>
                      <a:gd name="connsiteX37" fmla="*/ 728740 w 985025"/>
                      <a:gd name="connsiteY37" fmla="*/ 791990 h 976639"/>
                      <a:gd name="connsiteX38" fmla="*/ 695312 w 985025"/>
                      <a:gd name="connsiteY38" fmla="*/ 814237 h 976639"/>
                      <a:gd name="connsiteX39" fmla="*/ 690855 w 985025"/>
                      <a:gd name="connsiteY39" fmla="*/ 823135 h 976639"/>
                      <a:gd name="connsiteX40" fmla="*/ 701998 w 985025"/>
                      <a:gd name="connsiteY40" fmla="*/ 929921 h 976639"/>
                      <a:gd name="connsiteX41" fmla="*/ 697540 w 985025"/>
                      <a:gd name="connsiteY41" fmla="*/ 934370 h 976639"/>
                      <a:gd name="connsiteX42" fmla="*/ 612855 w 985025"/>
                      <a:gd name="connsiteY42" fmla="*/ 963291 h 976639"/>
                      <a:gd name="connsiteX43" fmla="*/ 608398 w 985025"/>
                      <a:gd name="connsiteY43" fmla="*/ 963291 h 976639"/>
                      <a:gd name="connsiteX44" fmla="*/ 548227 w 985025"/>
                      <a:gd name="connsiteY44" fmla="*/ 874303 h 976639"/>
                      <a:gd name="connsiteX45" fmla="*/ 543770 w 985025"/>
                      <a:gd name="connsiteY45" fmla="*/ 869854 h 976639"/>
                      <a:gd name="connsiteX46" fmla="*/ 501427 w 985025"/>
                      <a:gd name="connsiteY46" fmla="*/ 874303 h 976639"/>
                      <a:gd name="connsiteX47" fmla="*/ 494741 w 985025"/>
                      <a:gd name="connsiteY47" fmla="*/ 876528 h 976639"/>
                      <a:gd name="connsiteX48" fmla="*/ 450170 w 985025"/>
                      <a:gd name="connsiteY48" fmla="*/ 974414 h 976639"/>
                      <a:gd name="connsiteX49" fmla="*/ 445713 w 985025"/>
                      <a:gd name="connsiteY49" fmla="*/ 976639 h 976639"/>
                      <a:gd name="connsiteX50" fmla="*/ 356570 w 985025"/>
                      <a:gd name="connsiteY50" fmla="*/ 958842 h 976639"/>
                      <a:gd name="connsiteX51" fmla="*/ 352113 w 985025"/>
                      <a:gd name="connsiteY51" fmla="*/ 956617 h 976639"/>
                      <a:gd name="connsiteX52" fmla="*/ 347656 w 985025"/>
                      <a:gd name="connsiteY52" fmla="*/ 847607 h 976639"/>
                      <a:gd name="connsiteX53" fmla="*/ 340970 w 985025"/>
                      <a:gd name="connsiteY53" fmla="*/ 843158 h 976639"/>
                      <a:gd name="connsiteX54" fmla="*/ 305313 w 985025"/>
                      <a:gd name="connsiteY54" fmla="*/ 825360 h 976639"/>
                      <a:gd name="connsiteX55" fmla="*/ 296399 w 985025"/>
                      <a:gd name="connsiteY55" fmla="*/ 825360 h 976639"/>
                      <a:gd name="connsiteX56" fmla="*/ 211713 w 985025"/>
                      <a:gd name="connsiteY56" fmla="*/ 887652 h 976639"/>
                      <a:gd name="connsiteX57" fmla="*/ 205028 w 985025"/>
                      <a:gd name="connsiteY57" fmla="*/ 887652 h 976639"/>
                      <a:gd name="connsiteX58" fmla="*/ 138171 w 985025"/>
                      <a:gd name="connsiteY58" fmla="*/ 829810 h 976639"/>
                      <a:gd name="connsiteX59" fmla="*/ 135942 w 985025"/>
                      <a:gd name="connsiteY59" fmla="*/ 823135 h 976639"/>
                      <a:gd name="connsiteX60" fmla="*/ 182742 w 985025"/>
                      <a:gd name="connsiteY60" fmla="*/ 725249 h 976639"/>
                      <a:gd name="connsiteX61" fmla="*/ 182742 w 985025"/>
                      <a:gd name="connsiteY61" fmla="*/ 720800 h 976639"/>
                      <a:gd name="connsiteX62" fmla="*/ 160457 w 985025"/>
                      <a:gd name="connsiteY62" fmla="*/ 687429 h 976639"/>
                      <a:gd name="connsiteX63" fmla="*/ 153771 w 985025"/>
                      <a:gd name="connsiteY63" fmla="*/ 685205 h 976639"/>
                      <a:gd name="connsiteX64" fmla="*/ 49028 w 985025"/>
                      <a:gd name="connsiteY64" fmla="*/ 696328 h 976639"/>
                      <a:gd name="connsiteX65" fmla="*/ 42343 w 985025"/>
                      <a:gd name="connsiteY65" fmla="*/ 691879 h 976639"/>
                      <a:gd name="connsiteX66" fmla="*/ 11143 w 985025"/>
                      <a:gd name="connsiteY66" fmla="*/ 609565 h 976639"/>
                      <a:gd name="connsiteX67" fmla="*/ 15600 w 985025"/>
                      <a:gd name="connsiteY67" fmla="*/ 602891 h 976639"/>
                      <a:gd name="connsiteX68" fmla="*/ 104742 w 985025"/>
                      <a:gd name="connsiteY68" fmla="*/ 542824 h 976639"/>
                      <a:gd name="connsiteX69" fmla="*/ 106971 w 985025"/>
                      <a:gd name="connsiteY69" fmla="*/ 536150 h 976639"/>
                      <a:gd name="connsiteX70" fmla="*/ 104742 w 985025"/>
                      <a:gd name="connsiteY70" fmla="*/ 496106 h 976639"/>
                      <a:gd name="connsiteX71" fmla="*/ 102514 w 985025"/>
                      <a:gd name="connsiteY71" fmla="*/ 489432 h 976639"/>
                      <a:gd name="connsiteX72" fmla="*/ 4457 w 985025"/>
                      <a:gd name="connsiteY72" fmla="*/ 444938 h 976639"/>
                      <a:gd name="connsiteX73" fmla="*/ 0 w 985025"/>
                      <a:gd name="connsiteY73" fmla="*/ 440489 h 976639"/>
                      <a:gd name="connsiteX74" fmla="*/ 15600 w 985025"/>
                      <a:gd name="connsiteY74" fmla="*/ 353726 h 976639"/>
                      <a:gd name="connsiteX75" fmla="*/ 20057 w 985025"/>
                      <a:gd name="connsiteY75" fmla="*/ 351501 h 976639"/>
                      <a:gd name="connsiteX76" fmla="*/ 129257 w 985025"/>
                      <a:gd name="connsiteY76" fmla="*/ 342602 h 976639"/>
                      <a:gd name="connsiteX77" fmla="*/ 135942 w 985025"/>
                      <a:gd name="connsiteY77" fmla="*/ 340377 h 976639"/>
                      <a:gd name="connsiteX78" fmla="*/ 151542 w 985025"/>
                      <a:gd name="connsiteY78" fmla="*/ 302558 h 976639"/>
                      <a:gd name="connsiteX79" fmla="*/ 151542 w 985025"/>
                      <a:gd name="connsiteY79" fmla="*/ 295884 h 976639"/>
                      <a:gd name="connsiteX80" fmla="*/ 91371 w 985025"/>
                      <a:gd name="connsiteY80" fmla="*/ 209121 h 976639"/>
                      <a:gd name="connsiteX81" fmla="*/ 91371 w 985025"/>
                      <a:gd name="connsiteY81" fmla="*/ 200222 h 976639"/>
                      <a:gd name="connsiteX82" fmla="*/ 147085 w 985025"/>
                      <a:gd name="connsiteY82" fmla="*/ 133481 h 976639"/>
                      <a:gd name="connsiteX83" fmla="*/ 153771 w 985025"/>
                      <a:gd name="connsiteY83" fmla="*/ 133481 h 976639"/>
                      <a:gd name="connsiteX84" fmla="*/ 249599 w 985025"/>
                      <a:gd name="connsiteY84" fmla="*/ 180200 h 976639"/>
                      <a:gd name="connsiteX85" fmla="*/ 256285 w 985025"/>
                      <a:gd name="connsiteY85" fmla="*/ 180200 h 976639"/>
                      <a:gd name="connsiteX86" fmla="*/ 289713 w 985025"/>
                      <a:gd name="connsiteY86" fmla="*/ 157953 h 976639"/>
                      <a:gd name="connsiteX87" fmla="*/ 283027 w 985025"/>
                      <a:gd name="connsiteY87" fmla="*/ 44493 h 976639"/>
                      <a:gd name="connsiteX88" fmla="*/ 369942 w 985025"/>
                      <a:gd name="connsiteY88" fmla="*/ 11123 h 976639"/>
                      <a:gd name="connsiteX89" fmla="*/ 439027 w 985025"/>
                      <a:gd name="connsiteY89" fmla="*/ 106785 h 976639"/>
                      <a:gd name="connsiteX90" fmla="*/ 481370 w 985025"/>
                      <a:gd name="connsiteY90" fmla="*/ 102335 h 976639"/>
                      <a:gd name="connsiteX91" fmla="*/ 532627 w 985025"/>
                      <a:gd name="connsiteY91"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46940 h 976639"/>
                      <a:gd name="connsiteX12" fmla="*/ 800054 w 985025"/>
                      <a:gd name="connsiteY12" fmla="*/ 253614 h 976639"/>
                      <a:gd name="connsiteX13" fmla="*/ 822340 w 985025"/>
                      <a:gd name="connsiteY13" fmla="*/ 286985 h 976639"/>
                      <a:gd name="connsiteX14" fmla="*/ 829026 w 985025"/>
                      <a:gd name="connsiteY14" fmla="*/ 289209 h 976639"/>
                      <a:gd name="connsiteX15" fmla="*/ 938225 w 985025"/>
                      <a:gd name="connsiteY15" fmla="*/ 278086 h 976639"/>
                      <a:gd name="connsiteX16" fmla="*/ 940454 w 985025"/>
                      <a:gd name="connsiteY16" fmla="*/ 284760 h 976639"/>
                      <a:gd name="connsiteX17" fmla="*/ 971654 w 985025"/>
                      <a:gd name="connsiteY17" fmla="*/ 367074 h 976639"/>
                      <a:gd name="connsiteX18" fmla="*/ 967197 w 985025"/>
                      <a:gd name="connsiteY18" fmla="*/ 373748 h 976639"/>
                      <a:gd name="connsiteX19" fmla="*/ 878054 w 985025"/>
                      <a:gd name="connsiteY19" fmla="*/ 431590 h 976639"/>
                      <a:gd name="connsiteX20" fmla="*/ 875825 w 985025"/>
                      <a:gd name="connsiteY20" fmla="*/ 436039 h 976639"/>
                      <a:gd name="connsiteX21" fmla="*/ 878054 w 985025"/>
                      <a:gd name="connsiteY21" fmla="*/ 478308 h 976639"/>
                      <a:gd name="connsiteX22" fmla="*/ 884740 w 985025"/>
                      <a:gd name="connsiteY22" fmla="*/ 484982 h 976639"/>
                      <a:gd name="connsiteX23" fmla="*/ 982797 w 985025"/>
                      <a:gd name="connsiteY23" fmla="*/ 529476 h 976639"/>
                      <a:gd name="connsiteX24" fmla="*/ 985025 w 985025"/>
                      <a:gd name="connsiteY24" fmla="*/ 533926 h 976639"/>
                      <a:gd name="connsiteX25" fmla="*/ 967197 w 985025"/>
                      <a:gd name="connsiteY25" fmla="*/ 620689 h 976639"/>
                      <a:gd name="connsiteX26" fmla="*/ 962739 w 985025"/>
                      <a:gd name="connsiteY26" fmla="*/ 625138 h 976639"/>
                      <a:gd name="connsiteX27" fmla="*/ 855768 w 985025"/>
                      <a:gd name="connsiteY27" fmla="*/ 631812 h 976639"/>
                      <a:gd name="connsiteX28" fmla="*/ 851311 w 985025"/>
                      <a:gd name="connsiteY28" fmla="*/ 634037 h 976639"/>
                      <a:gd name="connsiteX29" fmla="*/ 831254 w 985025"/>
                      <a:gd name="connsiteY29" fmla="*/ 674081 h 976639"/>
                      <a:gd name="connsiteX30" fmla="*/ 831254 w 985025"/>
                      <a:gd name="connsiteY30" fmla="*/ 678531 h 976639"/>
                      <a:gd name="connsiteX31" fmla="*/ 895883 w 985025"/>
                      <a:gd name="connsiteY31" fmla="*/ 767518 h 976639"/>
                      <a:gd name="connsiteX32" fmla="*/ 895883 w 985025"/>
                      <a:gd name="connsiteY32" fmla="*/ 774192 h 976639"/>
                      <a:gd name="connsiteX33" fmla="*/ 835711 w 985025"/>
                      <a:gd name="connsiteY33" fmla="*/ 840933 h 976639"/>
                      <a:gd name="connsiteX34" fmla="*/ 831254 w 985025"/>
                      <a:gd name="connsiteY34" fmla="*/ 840933 h 976639"/>
                      <a:gd name="connsiteX35" fmla="*/ 733197 w 985025"/>
                      <a:gd name="connsiteY35" fmla="*/ 791990 h 976639"/>
                      <a:gd name="connsiteX36" fmla="*/ 728740 w 985025"/>
                      <a:gd name="connsiteY36" fmla="*/ 791990 h 976639"/>
                      <a:gd name="connsiteX37" fmla="*/ 695312 w 985025"/>
                      <a:gd name="connsiteY37" fmla="*/ 814237 h 976639"/>
                      <a:gd name="connsiteX38" fmla="*/ 690855 w 985025"/>
                      <a:gd name="connsiteY38" fmla="*/ 823135 h 976639"/>
                      <a:gd name="connsiteX39" fmla="*/ 701998 w 985025"/>
                      <a:gd name="connsiteY39" fmla="*/ 929921 h 976639"/>
                      <a:gd name="connsiteX40" fmla="*/ 697540 w 985025"/>
                      <a:gd name="connsiteY40" fmla="*/ 934370 h 976639"/>
                      <a:gd name="connsiteX41" fmla="*/ 612855 w 985025"/>
                      <a:gd name="connsiteY41" fmla="*/ 963291 h 976639"/>
                      <a:gd name="connsiteX42" fmla="*/ 608398 w 985025"/>
                      <a:gd name="connsiteY42" fmla="*/ 963291 h 976639"/>
                      <a:gd name="connsiteX43" fmla="*/ 548227 w 985025"/>
                      <a:gd name="connsiteY43" fmla="*/ 874303 h 976639"/>
                      <a:gd name="connsiteX44" fmla="*/ 543770 w 985025"/>
                      <a:gd name="connsiteY44" fmla="*/ 869854 h 976639"/>
                      <a:gd name="connsiteX45" fmla="*/ 501427 w 985025"/>
                      <a:gd name="connsiteY45" fmla="*/ 874303 h 976639"/>
                      <a:gd name="connsiteX46" fmla="*/ 494741 w 985025"/>
                      <a:gd name="connsiteY46" fmla="*/ 876528 h 976639"/>
                      <a:gd name="connsiteX47" fmla="*/ 450170 w 985025"/>
                      <a:gd name="connsiteY47" fmla="*/ 974414 h 976639"/>
                      <a:gd name="connsiteX48" fmla="*/ 445713 w 985025"/>
                      <a:gd name="connsiteY48" fmla="*/ 976639 h 976639"/>
                      <a:gd name="connsiteX49" fmla="*/ 356570 w 985025"/>
                      <a:gd name="connsiteY49" fmla="*/ 958842 h 976639"/>
                      <a:gd name="connsiteX50" fmla="*/ 352113 w 985025"/>
                      <a:gd name="connsiteY50" fmla="*/ 956617 h 976639"/>
                      <a:gd name="connsiteX51" fmla="*/ 347656 w 985025"/>
                      <a:gd name="connsiteY51" fmla="*/ 847607 h 976639"/>
                      <a:gd name="connsiteX52" fmla="*/ 340970 w 985025"/>
                      <a:gd name="connsiteY52" fmla="*/ 843158 h 976639"/>
                      <a:gd name="connsiteX53" fmla="*/ 305313 w 985025"/>
                      <a:gd name="connsiteY53" fmla="*/ 825360 h 976639"/>
                      <a:gd name="connsiteX54" fmla="*/ 296399 w 985025"/>
                      <a:gd name="connsiteY54" fmla="*/ 825360 h 976639"/>
                      <a:gd name="connsiteX55" fmla="*/ 211713 w 985025"/>
                      <a:gd name="connsiteY55" fmla="*/ 887652 h 976639"/>
                      <a:gd name="connsiteX56" fmla="*/ 205028 w 985025"/>
                      <a:gd name="connsiteY56" fmla="*/ 887652 h 976639"/>
                      <a:gd name="connsiteX57" fmla="*/ 138171 w 985025"/>
                      <a:gd name="connsiteY57" fmla="*/ 829810 h 976639"/>
                      <a:gd name="connsiteX58" fmla="*/ 135942 w 985025"/>
                      <a:gd name="connsiteY58" fmla="*/ 823135 h 976639"/>
                      <a:gd name="connsiteX59" fmla="*/ 182742 w 985025"/>
                      <a:gd name="connsiteY59" fmla="*/ 725249 h 976639"/>
                      <a:gd name="connsiteX60" fmla="*/ 182742 w 985025"/>
                      <a:gd name="connsiteY60" fmla="*/ 720800 h 976639"/>
                      <a:gd name="connsiteX61" fmla="*/ 160457 w 985025"/>
                      <a:gd name="connsiteY61" fmla="*/ 687429 h 976639"/>
                      <a:gd name="connsiteX62" fmla="*/ 153771 w 985025"/>
                      <a:gd name="connsiteY62" fmla="*/ 685205 h 976639"/>
                      <a:gd name="connsiteX63" fmla="*/ 49028 w 985025"/>
                      <a:gd name="connsiteY63" fmla="*/ 696328 h 976639"/>
                      <a:gd name="connsiteX64" fmla="*/ 42343 w 985025"/>
                      <a:gd name="connsiteY64" fmla="*/ 691879 h 976639"/>
                      <a:gd name="connsiteX65" fmla="*/ 11143 w 985025"/>
                      <a:gd name="connsiteY65" fmla="*/ 609565 h 976639"/>
                      <a:gd name="connsiteX66" fmla="*/ 15600 w 985025"/>
                      <a:gd name="connsiteY66" fmla="*/ 602891 h 976639"/>
                      <a:gd name="connsiteX67" fmla="*/ 104742 w 985025"/>
                      <a:gd name="connsiteY67" fmla="*/ 542824 h 976639"/>
                      <a:gd name="connsiteX68" fmla="*/ 106971 w 985025"/>
                      <a:gd name="connsiteY68" fmla="*/ 536150 h 976639"/>
                      <a:gd name="connsiteX69" fmla="*/ 104742 w 985025"/>
                      <a:gd name="connsiteY69" fmla="*/ 496106 h 976639"/>
                      <a:gd name="connsiteX70" fmla="*/ 102514 w 985025"/>
                      <a:gd name="connsiteY70" fmla="*/ 489432 h 976639"/>
                      <a:gd name="connsiteX71" fmla="*/ 4457 w 985025"/>
                      <a:gd name="connsiteY71" fmla="*/ 444938 h 976639"/>
                      <a:gd name="connsiteX72" fmla="*/ 0 w 985025"/>
                      <a:gd name="connsiteY72" fmla="*/ 440489 h 976639"/>
                      <a:gd name="connsiteX73" fmla="*/ 15600 w 985025"/>
                      <a:gd name="connsiteY73" fmla="*/ 353726 h 976639"/>
                      <a:gd name="connsiteX74" fmla="*/ 20057 w 985025"/>
                      <a:gd name="connsiteY74" fmla="*/ 351501 h 976639"/>
                      <a:gd name="connsiteX75" fmla="*/ 129257 w 985025"/>
                      <a:gd name="connsiteY75" fmla="*/ 342602 h 976639"/>
                      <a:gd name="connsiteX76" fmla="*/ 135942 w 985025"/>
                      <a:gd name="connsiteY76" fmla="*/ 340377 h 976639"/>
                      <a:gd name="connsiteX77" fmla="*/ 151542 w 985025"/>
                      <a:gd name="connsiteY77" fmla="*/ 302558 h 976639"/>
                      <a:gd name="connsiteX78" fmla="*/ 151542 w 985025"/>
                      <a:gd name="connsiteY78" fmla="*/ 295884 h 976639"/>
                      <a:gd name="connsiteX79" fmla="*/ 91371 w 985025"/>
                      <a:gd name="connsiteY79" fmla="*/ 209121 h 976639"/>
                      <a:gd name="connsiteX80" fmla="*/ 91371 w 985025"/>
                      <a:gd name="connsiteY80" fmla="*/ 200222 h 976639"/>
                      <a:gd name="connsiteX81" fmla="*/ 147085 w 985025"/>
                      <a:gd name="connsiteY81" fmla="*/ 133481 h 976639"/>
                      <a:gd name="connsiteX82" fmla="*/ 153771 w 985025"/>
                      <a:gd name="connsiteY82" fmla="*/ 133481 h 976639"/>
                      <a:gd name="connsiteX83" fmla="*/ 249599 w 985025"/>
                      <a:gd name="connsiteY83" fmla="*/ 180200 h 976639"/>
                      <a:gd name="connsiteX84" fmla="*/ 256285 w 985025"/>
                      <a:gd name="connsiteY84" fmla="*/ 180200 h 976639"/>
                      <a:gd name="connsiteX85" fmla="*/ 289713 w 985025"/>
                      <a:gd name="connsiteY85" fmla="*/ 157953 h 976639"/>
                      <a:gd name="connsiteX86" fmla="*/ 283027 w 985025"/>
                      <a:gd name="connsiteY86" fmla="*/ 44493 h 976639"/>
                      <a:gd name="connsiteX87" fmla="*/ 369942 w 985025"/>
                      <a:gd name="connsiteY87" fmla="*/ 11123 h 976639"/>
                      <a:gd name="connsiteX88" fmla="*/ 439027 w 985025"/>
                      <a:gd name="connsiteY88" fmla="*/ 106785 h 976639"/>
                      <a:gd name="connsiteX89" fmla="*/ 481370 w 985025"/>
                      <a:gd name="connsiteY89" fmla="*/ 102335 h 976639"/>
                      <a:gd name="connsiteX90" fmla="*/ 532627 w 985025"/>
                      <a:gd name="connsiteY90"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829026 w 985025"/>
                      <a:gd name="connsiteY13" fmla="*/ 289209 h 976639"/>
                      <a:gd name="connsiteX14" fmla="*/ 938225 w 985025"/>
                      <a:gd name="connsiteY14" fmla="*/ 278086 h 976639"/>
                      <a:gd name="connsiteX15" fmla="*/ 940454 w 985025"/>
                      <a:gd name="connsiteY15" fmla="*/ 284760 h 976639"/>
                      <a:gd name="connsiteX16" fmla="*/ 971654 w 985025"/>
                      <a:gd name="connsiteY16" fmla="*/ 367074 h 976639"/>
                      <a:gd name="connsiteX17" fmla="*/ 967197 w 985025"/>
                      <a:gd name="connsiteY17" fmla="*/ 373748 h 976639"/>
                      <a:gd name="connsiteX18" fmla="*/ 878054 w 985025"/>
                      <a:gd name="connsiteY18" fmla="*/ 431590 h 976639"/>
                      <a:gd name="connsiteX19" fmla="*/ 875825 w 985025"/>
                      <a:gd name="connsiteY19" fmla="*/ 436039 h 976639"/>
                      <a:gd name="connsiteX20" fmla="*/ 878054 w 985025"/>
                      <a:gd name="connsiteY20" fmla="*/ 478308 h 976639"/>
                      <a:gd name="connsiteX21" fmla="*/ 884740 w 985025"/>
                      <a:gd name="connsiteY21" fmla="*/ 484982 h 976639"/>
                      <a:gd name="connsiteX22" fmla="*/ 982797 w 985025"/>
                      <a:gd name="connsiteY22" fmla="*/ 529476 h 976639"/>
                      <a:gd name="connsiteX23" fmla="*/ 985025 w 985025"/>
                      <a:gd name="connsiteY23" fmla="*/ 533926 h 976639"/>
                      <a:gd name="connsiteX24" fmla="*/ 967197 w 985025"/>
                      <a:gd name="connsiteY24" fmla="*/ 620689 h 976639"/>
                      <a:gd name="connsiteX25" fmla="*/ 962739 w 985025"/>
                      <a:gd name="connsiteY25" fmla="*/ 625138 h 976639"/>
                      <a:gd name="connsiteX26" fmla="*/ 855768 w 985025"/>
                      <a:gd name="connsiteY26" fmla="*/ 631812 h 976639"/>
                      <a:gd name="connsiteX27" fmla="*/ 851311 w 985025"/>
                      <a:gd name="connsiteY27" fmla="*/ 634037 h 976639"/>
                      <a:gd name="connsiteX28" fmla="*/ 831254 w 985025"/>
                      <a:gd name="connsiteY28" fmla="*/ 674081 h 976639"/>
                      <a:gd name="connsiteX29" fmla="*/ 831254 w 985025"/>
                      <a:gd name="connsiteY29" fmla="*/ 678531 h 976639"/>
                      <a:gd name="connsiteX30" fmla="*/ 895883 w 985025"/>
                      <a:gd name="connsiteY30" fmla="*/ 767518 h 976639"/>
                      <a:gd name="connsiteX31" fmla="*/ 895883 w 985025"/>
                      <a:gd name="connsiteY31" fmla="*/ 774192 h 976639"/>
                      <a:gd name="connsiteX32" fmla="*/ 835711 w 985025"/>
                      <a:gd name="connsiteY32" fmla="*/ 840933 h 976639"/>
                      <a:gd name="connsiteX33" fmla="*/ 831254 w 985025"/>
                      <a:gd name="connsiteY33" fmla="*/ 840933 h 976639"/>
                      <a:gd name="connsiteX34" fmla="*/ 733197 w 985025"/>
                      <a:gd name="connsiteY34" fmla="*/ 791990 h 976639"/>
                      <a:gd name="connsiteX35" fmla="*/ 728740 w 985025"/>
                      <a:gd name="connsiteY35" fmla="*/ 791990 h 976639"/>
                      <a:gd name="connsiteX36" fmla="*/ 695312 w 985025"/>
                      <a:gd name="connsiteY36" fmla="*/ 814237 h 976639"/>
                      <a:gd name="connsiteX37" fmla="*/ 690855 w 985025"/>
                      <a:gd name="connsiteY37" fmla="*/ 823135 h 976639"/>
                      <a:gd name="connsiteX38" fmla="*/ 701998 w 985025"/>
                      <a:gd name="connsiteY38" fmla="*/ 929921 h 976639"/>
                      <a:gd name="connsiteX39" fmla="*/ 697540 w 985025"/>
                      <a:gd name="connsiteY39" fmla="*/ 934370 h 976639"/>
                      <a:gd name="connsiteX40" fmla="*/ 612855 w 985025"/>
                      <a:gd name="connsiteY40" fmla="*/ 963291 h 976639"/>
                      <a:gd name="connsiteX41" fmla="*/ 608398 w 985025"/>
                      <a:gd name="connsiteY41" fmla="*/ 963291 h 976639"/>
                      <a:gd name="connsiteX42" fmla="*/ 548227 w 985025"/>
                      <a:gd name="connsiteY42" fmla="*/ 874303 h 976639"/>
                      <a:gd name="connsiteX43" fmla="*/ 543770 w 985025"/>
                      <a:gd name="connsiteY43" fmla="*/ 869854 h 976639"/>
                      <a:gd name="connsiteX44" fmla="*/ 501427 w 985025"/>
                      <a:gd name="connsiteY44" fmla="*/ 874303 h 976639"/>
                      <a:gd name="connsiteX45" fmla="*/ 494741 w 985025"/>
                      <a:gd name="connsiteY45" fmla="*/ 876528 h 976639"/>
                      <a:gd name="connsiteX46" fmla="*/ 450170 w 985025"/>
                      <a:gd name="connsiteY46" fmla="*/ 974414 h 976639"/>
                      <a:gd name="connsiteX47" fmla="*/ 445713 w 985025"/>
                      <a:gd name="connsiteY47" fmla="*/ 976639 h 976639"/>
                      <a:gd name="connsiteX48" fmla="*/ 356570 w 985025"/>
                      <a:gd name="connsiteY48" fmla="*/ 958842 h 976639"/>
                      <a:gd name="connsiteX49" fmla="*/ 352113 w 985025"/>
                      <a:gd name="connsiteY49" fmla="*/ 956617 h 976639"/>
                      <a:gd name="connsiteX50" fmla="*/ 347656 w 985025"/>
                      <a:gd name="connsiteY50" fmla="*/ 847607 h 976639"/>
                      <a:gd name="connsiteX51" fmla="*/ 340970 w 985025"/>
                      <a:gd name="connsiteY51" fmla="*/ 843158 h 976639"/>
                      <a:gd name="connsiteX52" fmla="*/ 305313 w 985025"/>
                      <a:gd name="connsiteY52" fmla="*/ 825360 h 976639"/>
                      <a:gd name="connsiteX53" fmla="*/ 296399 w 985025"/>
                      <a:gd name="connsiteY53" fmla="*/ 825360 h 976639"/>
                      <a:gd name="connsiteX54" fmla="*/ 211713 w 985025"/>
                      <a:gd name="connsiteY54" fmla="*/ 887652 h 976639"/>
                      <a:gd name="connsiteX55" fmla="*/ 205028 w 985025"/>
                      <a:gd name="connsiteY55" fmla="*/ 887652 h 976639"/>
                      <a:gd name="connsiteX56" fmla="*/ 138171 w 985025"/>
                      <a:gd name="connsiteY56" fmla="*/ 829810 h 976639"/>
                      <a:gd name="connsiteX57" fmla="*/ 135942 w 985025"/>
                      <a:gd name="connsiteY57" fmla="*/ 823135 h 976639"/>
                      <a:gd name="connsiteX58" fmla="*/ 182742 w 985025"/>
                      <a:gd name="connsiteY58" fmla="*/ 725249 h 976639"/>
                      <a:gd name="connsiteX59" fmla="*/ 182742 w 985025"/>
                      <a:gd name="connsiteY59" fmla="*/ 720800 h 976639"/>
                      <a:gd name="connsiteX60" fmla="*/ 160457 w 985025"/>
                      <a:gd name="connsiteY60" fmla="*/ 687429 h 976639"/>
                      <a:gd name="connsiteX61" fmla="*/ 153771 w 985025"/>
                      <a:gd name="connsiteY61" fmla="*/ 685205 h 976639"/>
                      <a:gd name="connsiteX62" fmla="*/ 49028 w 985025"/>
                      <a:gd name="connsiteY62" fmla="*/ 696328 h 976639"/>
                      <a:gd name="connsiteX63" fmla="*/ 42343 w 985025"/>
                      <a:gd name="connsiteY63" fmla="*/ 691879 h 976639"/>
                      <a:gd name="connsiteX64" fmla="*/ 11143 w 985025"/>
                      <a:gd name="connsiteY64" fmla="*/ 609565 h 976639"/>
                      <a:gd name="connsiteX65" fmla="*/ 15600 w 985025"/>
                      <a:gd name="connsiteY65" fmla="*/ 602891 h 976639"/>
                      <a:gd name="connsiteX66" fmla="*/ 104742 w 985025"/>
                      <a:gd name="connsiteY66" fmla="*/ 542824 h 976639"/>
                      <a:gd name="connsiteX67" fmla="*/ 106971 w 985025"/>
                      <a:gd name="connsiteY67" fmla="*/ 536150 h 976639"/>
                      <a:gd name="connsiteX68" fmla="*/ 104742 w 985025"/>
                      <a:gd name="connsiteY68" fmla="*/ 496106 h 976639"/>
                      <a:gd name="connsiteX69" fmla="*/ 102514 w 985025"/>
                      <a:gd name="connsiteY69" fmla="*/ 489432 h 976639"/>
                      <a:gd name="connsiteX70" fmla="*/ 4457 w 985025"/>
                      <a:gd name="connsiteY70" fmla="*/ 444938 h 976639"/>
                      <a:gd name="connsiteX71" fmla="*/ 0 w 985025"/>
                      <a:gd name="connsiteY71" fmla="*/ 440489 h 976639"/>
                      <a:gd name="connsiteX72" fmla="*/ 15600 w 985025"/>
                      <a:gd name="connsiteY72" fmla="*/ 353726 h 976639"/>
                      <a:gd name="connsiteX73" fmla="*/ 20057 w 985025"/>
                      <a:gd name="connsiteY73" fmla="*/ 351501 h 976639"/>
                      <a:gd name="connsiteX74" fmla="*/ 129257 w 985025"/>
                      <a:gd name="connsiteY74" fmla="*/ 342602 h 976639"/>
                      <a:gd name="connsiteX75" fmla="*/ 135942 w 985025"/>
                      <a:gd name="connsiteY75" fmla="*/ 340377 h 976639"/>
                      <a:gd name="connsiteX76" fmla="*/ 151542 w 985025"/>
                      <a:gd name="connsiteY76" fmla="*/ 302558 h 976639"/>
                      <a:gd name="connsiteX77" fmla="*/ 151542 w 985025"/>
                      <a:gd name="connsiteY77" fmla="*/ 295884 h 976639"/>
                      <a:gd name="connsiteX78" fmla="*/ 91371 w 985025"/>
                      <a:gd name="connsiteY78" fmla="*/ 209121 h 976639"/>
                      <a:gd name="connsiteX79" fmla="*/ 91371 w 985025"/>
                      <a:gd name="connsiteY79" fmla="*/ 200222 h 976639"/>
                      <a:gd name="connsiteX80" fmla="*/ 147085 w 985025"/>
                      <a:gd name="connsiteY80" fmla="*/ 133481 h 976639"/>
                      <a:gd name="connsiteX81" fmla="*/ 153771 w 985025"/>
                      <a:gd name="connsiteY81" fmla="*/ 133481 h 976639"/>
                      <a:gd name="connsiteX82" fmla="*/ 249599 w 985025"/>
                      <a:gd name="connsiteY82" fmla="*/ 180200 h 976639"/>
                      <a:gd name="connsiteX83" fmla="*/ 256285 w 985025"/>
                      <a:gd name="connsiteY83" fmla="*/ 180200 h 976639"/>
                      <a:gd name="connsiteX84" fmla="*/ 289713 w 985025"/>
                      <a:gd name="connsiteY84" fmla="*/ 157953 h 976639"/>
                      <a:gd name="connsiteX85" fmla="*/ 283027 w 985025"/>
                      <a:gd name="connsiteY85" fmla="*/ 44493 h 976639"/>
                      <a:gd name="connsiteX86" fmla="*/ 369942 w 985025"/>
                      <a:gd name="connsiteY86" fmla="*/ 11123 h 976639"/>
                      <a:gd name="connsiteX87" fmla="*/ 439027 w 985025"/>
                      <a:gd name="connsiteY87" fmla="*/ 106785 h 976639"/>
                      <a:gd name="connsiteX88" fmla="*/ 481370 w 985025"/>
                      <a:gd name="connsiteY88" fmla="*/ 102335 h 976639"/>
                      <a:gd name="connsiteX89" fmla="*/ 532627 w 985025"/>
                      <a:gd name="connsiteY89"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40454 w 985025"/>
                      <a:gd name="connsiteY14" fmla="*/ 284760 h 976639"/>
                      <a:gd name="connsiteX15" fmla="*/ 971654 w 985025"/>
                      <a:gd name="connsiteY15" fmla="*/ 367074 h 976639"/>
                      <a:gd name="connsiteX16" fmla="*/ 967197 w 985025"/>
                      <a:gd name="connsiteY16" fmla="*/ 373748 h 976639"/>
                      <a:gd name="connsiteX17" fmla="*/ 878054 w 985025"/>
                      <a:gd name="connsiteY17" fmla="*/ 431590 h 976639"/>
                      <a:gd name="connsiteX18" fmla="*/ 875825 w 985025"/>
                      <a:gd name="connsiteY18" fmla="*/ 436039 h 976639"/>
                      <a:gd name="connsiteX19" fmla="*/ 878054 w 985025"/>
                      <a:gd name="connsiteY19" fmla="*/ 478308 h 976639"/>
                      <a:gd name="connsiteX20" fmla="*/ 884740 w 985025"/>
                      <a:gd name="connsiteY20" fmla="*/ 484982 h 976639"/>
                      <a:gd name="connsiteX21" fmla="*/ 982797 w 985025"/>
                      <a:gd name="connsiteY21" fmla="*/ 529476 h 976639"/>
                      <a:gd name="connsiteX22" fmla="*/ 985025 w 985025"/>
                      <a:gd name="connsiteY22" fmla="*/ 533926 h 976639"/>
                      <a:gd name="connsiteX23" fmla="*/ 967197 w 985025"/>
                      <a:gd name="connsiteY23" fmla="*/ 620689 h 976639"/>
                      <a:gd name="connsiteX24" fmla="*/ 962739 w 985025"/>
                      <a:gd name="connsiteY24" fmla="*/ 625138 h 976639"/>
                      <a:gd name="connsiteX25" fmla="*/ 855768 w 985025"/>
                      <a:gd name="connsiteY25" fmla="*/ 631812 h 976639"/>
                      <a:gd name="connsiteX26" fmla="*/ 851311 w 985025"/>
                      <a:gd name="connsiteY26" fmla="*/ 634037 h 976639"/>
                      <a:gd name="connsiteX27" fmla="*/ 831254 w 985025"/>
                      <a:gd name="connsiteY27" fmla="*/ 674081 h 976639"/>
                      <a:gd name="connsiteX28" fmla="*/ 831254 w 985025"/>
                      <a:gd name="connsiteY28" fmla="*/ 678531 h 976639"/>
                      <a:gd name="connsiteX29" fmla="*/ 895883 w 985025"/>
                      <a:gd name="connsiteY29" fmla="*/ 767518 h 976639"/>
                      <a:gd name="connsiteX30" fmla="*/ 895883 w 985025"/>
                      <a:gd name="connsiteY30" fmla="*/ 774192 h 976639"/>
                      <a:gd name="connsiteX31" fmla="*/ 835711 w 985025"/>
                      <a:gd name="connsiteY31" fmla="*/ 840933 h 976639"/>
                      <a:gd name="connsiteX32" fmla="*/ 831254 w 985025"/>
                      <a:gd name="connsiteY32" fmla="*/ 840933 h 976639"/>
                      <a:gd name="connsiteX33" fmla="*/ 733197 w 985025"/>
                      <a:gd name="connsiteY33" fmla="*/ 791990 h 976639"/>
                      <a:gd name="connsiteX34" fmla="*/ 728740 w 985025"/>
                      <a:gd name="connsiteY34" fmla="*/ 791990 h 976639"/>
                      <a:gd name="connsiteX35" fmla="*/ 695312 w 985025"/>
                      <a:gd name="connsiteY35" fmla="*/ 814237 h 976639"/>
                      <a:gd name="connsiteX36" fmla="*/ 690855 w 985025"/>
                      <a:gd name="connsiteY36" fmla="*/ 823135 h 976639"/>
                      <a:gd name="connsiteX37" fmla="*/ 701998 w 985025"/>
                      <a:gd name="connsiteY37" fmla="*/ 929921 h 976639"/>
                      <a:gd name="connsiteX38" fmla="*/ 697540 w 985025"/>
                      <a:gd name="connsiteY38" fmla="*/ 934370 h 976639"/>
                      <a:gd name="connsiteX39" fmla="*/ 612855 w 985025"/>
                      <a:gd name="connsiteY39" fmla="*/ 963291 h 976639"/>
                      <a:gd name="connsiteX40" fmla="*/ 608398 w 985025"/>
                      <a:gd name="connsiteY40" fmla="*/ 963291 h 976639"/>
                      <a:gd name="connsiteX41" fmla="*/ 548227 w 985025"/>
                      <a:gd name="connsiteY41" fmla="*/ 874303 h 976639"/>
                      <a:gd name="connsiteX42" fmla="*/ 543770 w 985025"/>
                      <a:gd name="connsiteY42" fmla="*/ 869854 h 976639"/>
                      <a:gd name="connsiteX43" fmla="*/ 501427 w 985025"/>
                      <a:gd name="connsiteY43" fmla="*/ 874303 h 976639"/>
                      <a:gd name="connsiteX44" fmla="*/ 494741 w 985025"/>
                      <a:gd name="connsiteY44" fmla="*/ 876528 h 976639"/>
                      <a:gd name="connsiteX45" fmla="*/ 450170 w 985025"/>
                      <a:gd name="connsiteY45" fmla="*/ 974414 h 976639"/>
                      <a:gd name="connsiteX46" fmla="*/ 445713 w 985025"/>
                      <a:gd name="connsiteY46" fmla="*/ 976639 h 976639"/>
                      <a:gd name="connsiteX47" fmla="*/ 356570 w 985025"/>
                      <a:gd name="connsiteY47" fmla="*/ 958842 h 976639"/>
                      <a:gd name="connsiteX48" fmla="*/ 352113 w 985025"/>
                      <a:gd name="connsiteY48" fmla="*/ 956617 h 976639"/>
                      <a:gd name="connsiteX49" fmla="*/ 347656 w 985025"/>
                      <a:gd name="connsiteY49" fmla="*/ 847607 h 976639"/>
                      <a:gd name="connsiteX50" fmla="*/ 340970 w 985025"/>
                      <a:gd name="connsiteY50" fmla="*/ 843158 h 976639"/>
                      <a:gd name="connsiteX51" fmla="*/ 305313 w 985025"/>
                      <a:gd name="connsiteY51" fmla="*/ 825360 h 976639"/>
                      <a:gd name="connsiteX52" fmla="*/ 296399 w 985025"/>
                      <a:gd name="connsiteY52" fmla="*/ 825360 h 976639"/>
                      <a:gd name="connsiteX53" fmla="*/ 211713 w 985025"/>
                      <a:gd name="connsiteY53" fmla="*/ 887652 h 976639"/>
                      <a:gd name="connsiteX54" fmla="*/ 205028 w 985025"/>
                      <a:gd name="connsiteY54" fmla="*/ 887652 h 976639"/>
                      <a:gd name="connsiteX55" fmla="*/ 138171 w 985025"/>
                      <a:gd name="connsiteY55" fmla="*/ 829810 h 976639"/>
                      <a:gd name="connsiteX56" fmla="*/ 135942 w 985025"/>
                      <a:gd name="connsiteY56" fmla="*/ 823135 h 976639"/>
                      <a:gd name="connsiteX57" fmla="*/ 182742 w 985025"/>
                      <a:gd name="connsiteY57" fmla="*/ 725249 h 976639"/>
                      <a:gd name="connsiteX58" fmla="*/ 182742 w 985025"/>
                      <a:gd name="connsiteY58" fmla="*/ 720800 h 976639"/>
                      <a:gd name="connsiteX59" fmla="*/ 160457 w 985025"/>
                      <a:gd name="connsiteY59" fmla="*/ 687429 h 976639"/>
                      <a:gd name="connsiteX60" fmla="*/ 153771 w 985025"/>
                      <a:gd name="connsiteY60" fmla="*/ 685205 h 976639"/>
                      <a:gd name="connsiteX61" fmla="*/ 49028 w 985025"/>
                      <a:gd name="connsiteY61" fmla="*/ 696328 h 976639"/>
                      <a:gd name="connsiteX62" fmla="*/ 42343 w 985025"/>
                      <a:gd name="connsiteY62" fmla="*/ 691879 h 976639"/>
                      <a:gd name="connsiteX63" fmla="*/ 11143 w 985025"/>
                      <a:gd name="connsiteY63" fmla="*/ 609565 h 976639"/>
                      <a:gd name="connsiteX64" fmla="*/ 15600 w 985025"/>
                      <a:gd name="connsiteY64" fmla="*/ 602891 h 976639"/>
                      <a:gd name="connsiteX65" fmla="*/ 104742 w 985025"/>
                      <a:gd name="connsiteY65" fmla="*/ 542824 h 976639"/>
                      <a:gd name="connsiteX66" fmla="*/ 106971 w 985025"/>
                      <a:gd name="connsiteY66" fmla="*/ 536150 h 976639"/>
                      <a:gd name="connsiteX67" fmla="*/ 104742 w 985025"/>
                      <a:gd name="connsiteY67" fmla="*/ 496106 h 976639"/>
                      <a:gd name="connsiteX68" fmla="*/ 102514 w 985025"/>
                      <a:gd name="connsiteY68" fmla="*/ 489432 h 976639"/>
                      <a:gd name="connsiteX69" fmla="*/ 4457 w 985025"/>
                      <a:gd name="connsiteY69" fmla="*/ 444938 h 976639"/>
                      <a:gd name="connsiteX70" fmla="*/ 0 w 985025"/>
                      <a:gd name="connsiteY70" fmla="*/ 440489 h 976639"/>
                      <a:gd name="connsiteX71" fmla="*/ 15600 w 985025"/>
                      <a:gd name="connsiteY71" fmla="*/ 353726 h 976639"/>
                      <a:gd name="connsiteX72" fmla="*/ 20057 w 985025"/>
                      <a:gd name="connsiteY72" fmla="*/ 351501 h 976639"/>
                      <a:gd name="connsiteX73" fmla="*/ 129257 w 985025"/>
                      <a:gd name="connsiteY73" fmla="*/ 342602 h 976639"/>
                      <a:gd name="connsiteX74" fmla="*/ 135942 w 985025"/>
                      <a:gd name="connsiteY74" fmla="*/ 340377 h 976639"/>
                      <a:gd name="connsiteX75" fmla="*/ 151542 w 985025"/>
                      <a:gd name="connsiteY75" fmla="*/ 302558 h 976639"/>
                      <a:gd name="connsiteX76" fmla="*/ 151542 w 985025"/>
                      <a:gd name="connsiteY76" fmla="*/ 295884 h 976639"/>
                      <a:gd name="connsiteX77" fmla="*/ 91371 w 985025"/>
                      <a:gd name="connsiteY77" fmla="*/ 209121 h 976639"/>
                      <a:gd name="connsiteX78" fmla="*/ 91371 w 985025"/>
                      <a:gd name="connsiteY78" fmla="*/ 200222 h 976639"/>
                      <a:gd name="connsiteX79" fmla="*/ 147085 w 985025"/>
                      <a:gd name="connsiteY79" fmla="*/ 133481 h 976639"/>
                      <a:gd name="connsiteX80" fmla="*/ 153771 w 985025"/>
                      <a:gd name="connsiteY80" fmla="*/ 133481 h 976639"/>
                      <a:gd name="connsiteX81" fmla="*/ 249599 w 985025"/>
                      <a:gd name="connsiteY81" fmla="*/ 180200 h 976639"/>
                      <a:gd name="connsiteX82" fmla="*/ 256285 w 985025"/>
                      <a:gd name="connsiteY82" fmla="*/ 180200 h 976639"/>
                      <a:gd name="connsiteX83" fmla="*/ 289713 w 985025"/>
                      <a:gd name="connsiteY83" fmla="*/ 157953 h 976639"/>
                      <a:gd name="connsiteX84" fmla="*/ 283027 w 985025"/>
                      <a:gd name="connsiteY84" fmla="*/ 44493 h 976639"/>
                      <a:gd name="connsiteX85" fmla="*/ 369942 w 985025"/>
                      <a:gd name="connsiteY85" fmla="*/ 11123 h 976639"/>
                      <a:gd name="connsiteX86" fmla="*/ 439027 w 985025"/>
                      <a:gd name="connsiteY86" fmla="*/ 106785 h 976639"/>
                      <a:gd name="connsiteX87" fmla="*/ 481370 w 985025"/>
                      <a:gd name="connsiteY87" fmla="*/ 102335 h 976639"/>
                      <a:gd name="connsiteX88" fmla="*/ 532627 w 985025"/>
                      <a:gd name="connsiteY88"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967197 w 985025"/>
                      <a:gd name="connsiteY15" fmla="*/ 373748 h 976639"/>
                      <a:gd name="connsiteX16" fmla="*/ 878054 w 985025"/>
                      <a:gd name="connsiteY16" fmla="*/ 431590 h 976639"/>
                      <a:gd name="connsiteX17" fmla="*/ 875825 w 985025"/>
                      <a:gd name="connsiteY17" fmla="*/ 436039 h 976639"/>
                      <a:gd name="connsiteX18" fmla="*/ 878054 w 985025"/>
                      <a:gd name="connsiteY18" fmla="*/ 478308 h 976639"/>
                      <a:gd name="connsiteX19" fmla="*/ 884740 w 985025"/>
                      <a:gd name="connsiteY19" fmla="*/ 484982 h 976639"/>
                      <a:gd name="connsiteX20" fmla="*/ 982797 w 985025"/>
                      <a:gd name="connsiteY20" fmla="*/ 529476 h 976639"/>
                      <a:gd name="connsiteX21" fmla="*/ 985025 w 985025"/>
                      <a:gd name="connsiteY21" fmla="*/ 533926 h 976639"/>
                      <a:gd name="connsiteX22" fmla="*/ 967197 w 985025"/>
                      <a:gd name="connsiteY22" fmla="*/ 620689 h 976639"/>
                      <a:gd name="connsiteX23" fmla="*/ 962739 w 985025"/>
                      <a:gd name="connsiteY23" fmla="*/ 625138 h 976639"/>
                      <a:gd name="connsiteX24" fmla="*/ 855768 w 985025"/>
                      <a:gd name="connsiteY24" fmla="*/ 631812 h 976639"/>
                      <a:gd name="connsiteX25" fmla="*/ 851311 w 985025"/>
                      <a:gd name="connsiteY25" fmla="*/ 634037 h 976639"/>
                      <a:gd name="connsiteX26" fmla="*/ 831254 w 985025"/>
                      <a:gd name="connsiteY26" fmla="*/ 674081 h 976639"/>
                      <a:gd name="connsiteX27" fmla="*/ 831254 w 985025"/>
                      <a:gd name="connsiteY27" fmla="*/ 678531 h 976639"/>
                      <a:gd name="connsiteX28" fmla="*/ 895883 w 985025"/>
                      <a:gd name="connsiteY28" fmla="*/ 767518 h 976639"/>
                      <a:gd name="connsiteX29" fmla="*/ 895883 w 985025"/>
                      <a:gd name="connsiteY29" fmla="*/ 774192 h 976639"/>
                      <a:gd name="connsiteX30" fmla="*/ 835711 w 985025"/>
                      <a:gd name="connsiteY30" fmla="*/ 840933 h 976639"/>
                      <a:gd name="connsiteX31" fmla="*/ 831254 w 985025"/>
                      <a:gd name="connsiteY31" fmla="*/ 840933 h 976639"/>
                      <a:gd name="connsiteX32" fmla="*/ 733197 w 985025"/>
                      <a:gd name="connsiteY32" fmla="*/ 791990 h 976639"/>
                      <a:gd name="connsiteX33" fmla="*/ 728740 w 985025"/>
                      <a:gd name="connsiteY33" fmla="*/ 791990 h 976639"/>
                      <a:gd name="connsiteX34" fmla="*/ 695312 w 985025"/>
                      <a:gd name="connsiteY34" fmla="*/ 814237 h 976639"/>
                      <a:gd name="connsiteX35" fmla="*/ 690855 w 985025"/>
                      <a:gd name="connsiteY35" fmla="*/ 823135 h 976639"/>
                      <a:gd name="connsiteX36" fmla="*/ 701998 w 985025"/>
                      <a:gd name="connsiteY36" fmla="*/ 929921 h 976639"/>
                      <a:gd name="connsiteX37" fmla="*/ 697540 w 985025"/>
                      <a:gd name="connsiteY37" fmla="*/ 934370 h 976639"/>
                      <a:gd name="connsiteX38" fmla="*/ 612855 w 985025"/>
                      <a:gd name="connsiteY38" fmla="*/ 963291 h 976639"/>
                      <a:gd name="connsiteX39" fmla="*/ 608398 w 985025"/>
                      <a:gd name="connsiteY39" fmla="*/ 963291 h 976639"/>
                      <a:gd name="connsiteX40" fmla="*/ 548227 w 985025"/>
                      <a:gd name="connsiteY40" fmla="*/ 874303 h 976639"/>
                      <a:gd name="connsiteX41" fmla="*/ 543770 w 985025"/>
                      <a:gd name="connsiteY41" fmla="*/ 869854 h 976639"/>
                      <a:gd name="connsiteX42" fmla="*/ 501427 w 985025"/>
                      <a:gd name="connsiteY42" fmla="*/ 874303 h 976639"/>
                      <a:gd name="connsiteX43" fmla="*/ 494741 w 985025"/>
                      <a:gd name="connsiteY43" fmla="*/ 876528 h 976639"/>
                      <a:gd name="connsiteX44" fmla="*/ 450170 w 985025"/>
                      <a:gd name="connsiteY44" fmla="*/ 974414 h 976639"/>
                      <a:gd name="connsiteX45" fmla="*/ 445713 w 985025"/>
                      <a:gd name="connsiteY45" fmla="*/ 976639 h 976639"/>
                      <a:gd name="connsiteX46" fmla="*/ 356570 w 985025"/>
                      <a:gd name="connsiteY46" fmla="*/ 958842 h 976639"/>
                      <a:gd name="connsiteX47" fmla="*/ 352113 w 985025"/>
                      <a:gd name="connsiteY47" fmla="*/ 956617 h 976639"/>
                      <a:gd name="connsiteX48" fmla="*/ 347656 w 985025"/>
                      <a:gd name="connsiteY48" fmla="*/ 847607 h 976639"/>
                      <a:gd name="connsiteX49" fmla="*/ 340970 w 985025"/>
                      <a:gd name="connsiteY49" fmla="*/ 843158 h 976639"/>
                      <a:gd name="connsiteX50" fmla="*/ 305313 w 985025"/>
                      <a:gd name="connsiteY50" fmla="*/ 825360 h 976639"/>
                      <a:gd name="connsiteX51" fmla="*/ 296399 w 985025"/>
                      <a:gd name="connsiteY51" fmla="*/ 825360 h 976639"/>
                      <a:gd name="connsiteX52" fmla="*/ 211713 w 985025"/>
                      <a:gd name="connsiteY52" fmla="*/ 887652 h 976639"/>
                      <a:gd name="connsiteX53" fmla="*/ 205028 w 985025"/>
                      <a:gd name="connsiteY53" fmla="*/ 887652 h 976639"/>
                      <a:gd name="connsiteX54" fmla="*/ 138171 w 985025"/>
                      <a:gd name="connsiteY54" fmla="*/ 829810 h 976639"/>
                      <a:gd name="connsiteX55" fmla="*/ 135942 w 985025"/>
                      <a:gd name="connsiteY55" fmla="*/ 823135 h 976639"/>
                      <a:gd name="connsiteX56" fmla="*/ 182742 w 985025"/>
                      <a:gd name="connsiteY56" fmla="*/ 725249 h 976639"/>
                      <a:gd name="connsiteX57" fmla="*/ 182742 w 985025"/>
                      <a:gd name="connsiteY57" fmla="*/ 720800 h 976639"/>
                      <a:gd name="connsiteX58" fmla="*/ 160457 w 985025"/>
                      <a:gd name="connsiteY58" fmla="*/ 687429 h 976639"/>
                      <a:gd name="connsiteX59" fmla="*/ 153771 w 985025"/>
                      <a:gd name="connsiteY59" fmla="*/ 685205 h 976639"/>
                      <a:gd name="connsiteX60" fmla="*/ 49028 w 985025"/>
                      <a:gd name="connsiteY60" fmla="*/ 696328 h 976639"/>
                      <a:gd name="connsiteX61" fmla="*/ 42343 w 985025"/>
                      <a:gd name="connsiteY61" fmla="*/ 691879 h 976639"/>
                      <a:gd name="connsiteX62" fmla="*/ 11143 w 985025"/>
                      <a:gd name="connsiteY62" fmla="*/ 609565 h 976639"/>
                      <a:gd name="connsiteX63" fmla="*/ 15600 w 985025"/>
                      <a:gd name="connsiteY63" fmla="*/ 602891 h 976639"/>
                      <a:gd name="connsiteX64" fmla="*/ 104742 w 985025"/>
                      <a:gd name="connsiteY64" fmla="*/ 542824 h 976639"/>
                      <a:gd name="connsiteX65" fmla="*/ 106971 w 985025"/>
                      <a:gd name="connsiteY65" fmla="*/ 536150 h 976639"/>
                      <a:gd name="connsiteX66" fmla="*/ 104742 w 985025"/>
                      <a:gd name="connsiteY66" fmla="*/ 496106 h 976639"/>
                      <a:gd name="connsiteX67" fmla="*/ 102514 w 985025"/>
                      <a:gd name="connsiteY67" fmla="*/ 489432 h 976639"/>
                      <a:gd name="connsiteX68" fmla="*/ 4457 w 985025"/>
                      <a:gd name="connsiteY68" fmla="*/ 444938 h 976639"/>
                      <a:gd name="connsiteX69" fmla="*/ 0 w 985025"/>
                      <a:gd name="connsiteY69" fmla="*/ 440489 h 976639"/>
                      <a:gd name="connsiteX70" fmla="*/ 15600 w 985025"/>
                      <a:gd name="connsiteY70" fmla="*/ 353726 h 976639"/>
                      <a:gd name="connsiteX71" fmla="*/ 20057 w 985025"/>
                      <a:gd name="connsiteY71" fmla="*/ 351501 h 976639"/>
                      <a:gd name="connsiteX72" fmla="*/ 129257 w 985025"/>
                      <a:gd name="connsiteY72" fmla="*/ 342602 h 976639"/>
                      <a:gd name="connsiteX73" fmla="*/ 135942 w 985025"/>
                      <a:gd name="connsiteY73" fmla="*/ 340377 h 976639"/>
                      <a:gd name="connsiteX74" fmla="*/ 151542 w 985025"/>
                      <a:gd name="connsiteY74" fmla="*/ 302558 h 976639"/>
                      <a:gd name="connsiteX75" fmla="*/ 151542 w 985025"/>
                      <a:gd name="connsiteY75" fmla="*/ 295884 h 976639"/>
                      <a:gd name="connsiteX76" fmla="*/ 91371 w 985025"/>
                      <a:gd name="connsiteY76" fmla="*/ 209121 h 976639"/>
                      <a:gd name="connsiteX77" fmla="*/ 91371 w 985025"/>
                      <a:gd name="connsiteY77" fmla="*/ 200222 h 976639"/>
                      <a:gd name="connsiteX78" fmla="*/ 147085 w 985025"/>
                      <a:gd name="connsiteY78" fmla="*/ 133481 h 976639"/>
                      <a:gd name="connsiteX79" fmla="*/ 153771 w 985025"/>
                      <a:gd name="connsiteY79" fmla="*/ 133481 h 976639"/>
                      <a:gd name="connsiteX80" fmla="*/ 249599 w 985025"/>
                      <a:gd name="connsiteY80" fmla="*/ 180200 h 976639"/>
                      <a:gd name="connsiteX81" fmla="*/ 256285 w 985025"/>
                      <a:gd name="connsiteY81" fmla="*/ 180200 h 976639"/>
                      <a:gd name="connsiteX82" fmla="*/ 289713 w 985025"/>
                      <a:gd name="connsiteY82" fmla="*/ 157953 h 976639"/>
                      <a:gd name="connsiteX83" fmla="*/ 283027 w 985025"/>
                      <a:gd name="connsiteY83" fmla="*/ 44493 h 976639"/>
                      <a:gd name="connsiteX84" fmla="*/ 369942 w 985025"/>
                      <a:gd name="connsiteY84" fmla="*/ 11123 h 976639"/>
                      <a:gd name="connsiteX85" fmla="*/ 439027 w 985025"/>
                      <a:gd name="connsiteY85" fmla="*/ 106785 h 976639"/>
                      <a:gd name="connsiteX86" fmla="*/ 481370 w 985025"/>
                      <a:gd name="connsiteY86" fmla="*/ 102335 h 976639"/>
                      <a:gd name="connsiteX87" fmla="*/ 532627 w 985025"/>
                      <a:gd name="connsiteY87"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5825 w 985025"/>
                      <a:gd name="connsiteY16" fmla="*/ 436039 h 976639"/>
                      <a:gd name="connsiteX17" fmla="*/ 878054 w 985025"/>
                      <a:gd name="connsiteY17" fmla="*/ 478308 h 976639"/>
                      <a:gd name="connsiteX18" fmla="*/ 884740 w 985025"/>
                      <a:gd name="connsiteY18" fmla="*/ 484982 h 976639"/>
                      <a:gd name="connsiteX19" fmla="*/ 982797 w 985025"/>
                      <a:gd name="connsiteY19" fmla="*/ 529476 h 976639"/>
                      <a:gd name="connsiteX20" fmla="*/ 985025 w 985025"/>
                      <a:gd name="connsiteY20" fmla="*/ 533926 h 976639"/>
                      <a:gd name="connsiteX21" fmla="*/ 967197 w 985025"/>
                      <a:gd name="connsiteY21" fmla="*/ 620689 h 976639"/>
                      <a:gd name="connsiteX22" fmla="*/ 962739 w 985025"/>
                      <a:gd name="connsiteY22" fmla="*/ 625138 h 976639"/>
                      <a:gd name="connsiteX23" fmla="*/ 855768 w 985025"/>
                      <a:gd name="connsiteY23" fmla="*/ 631812 h 976639"/>
                      <a:gd name="connsiteX24" fmla="*/ 851311 w 985025"/>
                      <a:gd name="connsiteY24" fmla="*/ 634037 h 976639"/>
                      <a:gd name="connsiteX25" fmla="*/ 831254 w 985025"/>
                      <a:gd name="connsiteY25" fmla="*/ 674081 h 976639"/>
                      <a:gd name="connsiteX26" fmla="*/ 831254 w 985025"/>
                      <a:gd name="connsiteY26" fmla="*/ 678531 h 976639"/>
                      <a:gd name="connsiteX27" fmla="*/ 895883 w 985025"/>
                      <a:gd name="connsiteY27" fmla="*/ 767518 h 976639"/>
                      <a:gd name="connsiteX28" fmla="*/ 895883 w 985025"/>
                      <a:gd name="connsiteY28" fmla="*/ 774192 h 976639"/>
                      <a:gd name="connsiteX29" fmla="*/ 835711 w 985025"/>
                      <a:gd name="connsiteY29" fmla="*/ 840933 h 976639"/>
                      <a:gd name="connsiteX30" fmla="*/ 831254 w 985025"/>
                      <a:gd name="connsiteY30" fmla="*/ 840933 h 976639"/>
                      <a:gd name="connsiteX31" fmla="*/ 733197 w 985025"/>
                      <a:gd name="connsiteY31" fmla="*/ 791990 h 976639"/>
                      <a:gd name="connsiteX32" fmla="*/ 728740 w 985025"/>
                      <a:gd name="connsiteY32" fmla="*/ 791990 h 976639"/>
                      <a:gd name="connsiteX33" fmla="*/ 695312 w 985025"/>
                      <a:gd name="connsiteY33" fmla="*/ 814237 h 976639"/>
                      <a:gd name="connsiteX34" fmla="*/ 690855 w 985025"/>
                      <a:gd name="connsiteY34" fmla="*/ 823135 h 976639"/>
                      <a:gd name="connsiteX35" fmla="*/ 701998 w 985025"/>
                      <a:gd name="connsiteY35" fmla="*/ 929921 h 976639"/>
                      <a:gd name="connsiteX36" fmla="*/ 697540 w 985025"/>
                      <a:gd name="connsiteY36" fmla="*/ 934370 h 976639"/>
                      <a:gd name="connsiteX37" fmla="*/ 612855 w 985025"/>
                      <a:gd name="connsiteY37" fmla="*/ 963291 h 976639"/>
                      <a:gd name="connsiteX38" fmla="*/ 608398 w 985025"/>
                      <a:gd name="connsiteY38" fmla="*/ 963291 h 976639"/>
                      <a:gd name="connsiteX39" fmla="*/ 548227 w 985025"/>
                      <a:gd name="connsiteY39" fmla="*/ 874303 h 976639"/>
                      <a:gd name="connsiteX40" fmla="*/ 543770 w 985025"/>
                      <a:gd name="connsiteY40" fmla="*/ 869854 h 976639"/>
                      <a:gd name="connsiteX41" fmla="*/ 501427 w 985025"/>
                      <a:gd name="connsiteY41" fmla="*/ 874303 h 976639"/>
                      <a:gd name="connsiteX42" fmla="*/ 494741 w 985025"/>
                      <a:gd name="connsiteY42" fmla="*/ 876528 h 976639"/>
                      <a:gd name="connsiteX43" fmla="*/ 450170 w 985025"/>
                      <a:gd name="connsiteY43" fmla="*/ 974414 h 976639"/>
                      <a:gd name="connsiteX44" fmla="*/ 445713 w 985025"/>
                      <a:gd name="connsiteY44" fmla="*/ 976639 h 976639"/>
                      <a:gd name="connsiteX45" fmla="*/ 356570 w 985025"/>
                      <a:gd name="connsiteY45" fmla="*/ 958842 h 976639"/>
                      <a:gd name="connsiteX46" fmla="*/ 352113 w 985025"/>
                      <a:gd name="connsiteY46" fmla="*/ 956617 h 976639"/>
                      <a:gd name="connsiteX47" fmla="*/ 347656 w 985025"/>
                      <a:gd name="connsiteY47" fmla="*/ 847607 h 976639"/>
                      <a:gd name="connsiteX48" fmla="*/ 340970 w 985025"/>
                      <a:gd name="connsiteY48" fmla="*/ 843158 h 976639"/>
                      <a:gd name="connsiteX49" fmla="*/ 305313 w 985025"/>
                      <a:gd name="connsiteY49" fmla="*/ 825360 h 976639"/>
                      <a:gd name="connsiteX50" fmla="*/ 296399 w 985025"/>
                      <a:gd name="connsiteY50" fmla="*/ 825360 h 976639"/>
                      <a:gd name="connsiteX51" fmla="*/ 211713 w 985025"/>
                      <a:gd name="connsiteY51" fmla="*/ 887652 h 976639"/>
                      <a:gd name="connsiteX52" fmla="*/ 205028 w 985025"/>
                      <a:gd name="connsiteY52" fmla="*/ 887652 h 976639"/>
                      <a:gd name="connsiteX53" fmla="*/ 138171 w 985025"/>
                      <a:gd name="connsiteY53" fmla="*/ 829810 h 976639"/>
                      <a:gd name="connsiteX54" fmla="*/ 135942 w 985025"/>
                      <a:gd name="connsiteY54" fmla="*/ 823135 h 976639"/>
                      <a:gd name="connsiteX55" fmla="*/ 182742 w 985025"/>
                      <a:gd name="connsiteY55" fmla="*/ 725249 h 976639"/>
                      <a:gd name="connsiteX56" fmla="*/ 182742 w 985025"/>
                      <a:gd name="connsiteY56" fmla="*/ 720800 h 976639"/>
                      <a:gd name="connsiteX57" fmla="*/ 160457 w 985025"/>
                      <a:gd name="connsiteY57" fmla="*/ 687429 h 976639"/>
                      <a:gd name="connsiteX58" fmla="*/ 153771 w 985025"/>
                      <a:gd name="connsiteY58" fmla="*/ 685205 h 976639"/>
                      <a:gd name="connsiteX59" fmla="*/ 49028 w 985025"/>
                      <a:gd name="connsiteY59" fmla="*/ 696328 h 976639"/>
                      <a:gd name="connsiteX60" fmla="*/ 42343 w 985025"/>
                      <a:gd name="connsiteY60" fmla="*/ 691879 h 976639"/>
                      <a:gd name="connsiteX61" fmla="*/ 11143 w 985025"/>
                      <a:gd name="connsiteY61" fmla="*/ 609565 h 976639"/>
                      <a:gd name="connsiteX62" fmla="*/ 15600 w 985025"/>
                      <a:gd name="connsiteY62" fmla="*/ 602891 h 976639"/>
                      <a:gd name="connsiteX63" fmla="*/ 104742 w 985025"/>
                      <a:gd name="connsiteY63" fmla="*/ 542824 h 976639"/>
                      <a:gd name="connsiteX64" fmla="*/ 106971 w 985025"/>
                      <a:gd name="connsiteY64" fmla="*/ 536150 h 976639"/>
                      <a:gd name="connsiteX65" fmla="*/ 104742 w 985025"/>
                      <a:gd name="connsiteY65" fmla="*/ 496106 h 976639"/>
                      <a:gd name="connsiteX66" fmla="*/ 102514 w 985025"/>
                      <a:gd name="connsiteY66" fmla="*/ 489432 h 976639"/>
                      <a:gd name="connsiteX67" fmla="*/ 4457 w 985025"/>
                      <a:gd name="connsiteY67" fmla="*/ 444938 h 976639"/>
                      <a:gd name="connsiteX68" fmla="*/ 0 w 985025"/>
                      <a:gd name="connsiteY68" fmla="*/ 440489 h 976639"/>
                      <a:gd name="connsiteX69" fmla="*/ 15600 w 985025"/>
                      <a:gd name="connsiteY69" fmla="*/ 353726 h 976639"/>
                      <a:gd name="connsiteX70" fmla="*/ 20057 w 985025"/>
                      <a:gd name="connsiteY70" fmla="*/ 351501 h 976639"/>
                      <a:gd name="connsiteX71" fmla="*/ 129257 w 985025"/>
                      <a:gd name="connsiteY71" fmla="*/ 342602 h 976639"/>
                      <a:gd name="connsiteX72" fmla="*/ 135942 w 985025"/>
                      <a:gd name="connsiteY72" fmla="*/ 340377 h 976639"/>
                      <a:gd name="connsiteX73" fmla="*/ 151542 w 985025"/>
                      <a:gd name="connsiteY73" fmla="*/ 302558 h 976639"/>
                      <a:gd name="connsiteX74" fmla="*/ 151542 w 985025"/>
                      <a:gd name="connsiteY74" fmla="*/ 295884 h 976639"/>
                      <a:gd name="connsiteX75" fmla="*/ 91371 w 985025"/>
                      <a:gd name="connsiteY75" fmla="*/ 209121 h 976639"/>
                      <a:gd name="connsiteX76" fmla="*/ 91371 w 985025"/>
                      <a:gd name="connsiteY76" fmla="*/ 200222 h 976639"/>
                      <a:gd name="connsiteX77" fmla="*/ 147085 w 985025"/>
                      <a:gd name="connsiteY77" fmla="*/ 133481 h 976639"/>
                      <a:gd name="connsiteX78" fmla="*/ 153771 w 985025"/>
                      <a:gd name="connsiteY78" fmla="*/ 133481 h 976639"/>
                      <a:gd name="connsiteX79" fmla="*/ 249599 w 985025"/>
                      <a:gd name="connsiteY79" fmla="*/ 180200 h 976639"/>
                      <a:gd name="connsiteX80" fmla="*/ 256285 w 985025"/>
                      <a:gd name="connsiteY80" fmla="*/ 180200 h 976639"/>
                      <a:gd name="connsiteX81" fmla="*/ 289713 w 985025"/>
                      <a:gd name="connsiteY81" fmla="*/ 157953 h 976639"/>
                      <a:gd name="connsiteX82" fmla="*/ 283027 w 985025"/>
                      <a:gd name="connsiteY82" fmla="*/ 44493 h 976639"/>
                      <a:gd name="connsiteX83" fmla="*/ 369942 w 985025"/>
                      <a:gd name="connsiteY83" fmla="*/ 11123 h 976639"/>
                      <a:gd name="connsiteX84" fmla="*/ 439027 w 985025"/>
                      <a:gd name="connsiteY84" fmla="*/ 106785 h 976639"/>
                      <a:gd name="connsiteX85" fmla="*/ 481370 w 985025"/>
                      <a:gd name="connsiteY85" fmla="*/ 102335 h 976639"/>
                      <a:gd name="connsiteX86" fmla="*/ 532627 w 985025"/>
                      <a:gd name="connsiteY86"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884740 w 985025"/>
                      <a:gd name="connsiteY17" fmla="*/ 484982 h 976639"/>
                      <a:gd name="connsiteX18" fmla="*/ 982797 w 985025"/>
                      <a:gd name="connsiteY18" fmla="*/ 529476 h 976639"/>
                      <a:gd name="connsiteX19" fmla="*/ 985025 w 985025"/>
                      <a:gd name="connsiteY19" fmla="*/ 533926 h 976639"/>
                      <a:gd name="connsiteX20" fmla="*/ 967197 w 985025"/>
                      <a:gd name="connsiteY20" fmla="*/ 620689 h 976639"/>
                      <a:gd name="connsiteX21" fmla="*/ 962739 w 985025"/>
                      <a:gd name="connsiteY21" fmla="*/ 625138 h 976639"/>
                      <a:gd name="connsiteX22" fmla="*/ 855768 w 985025"/>
                      <a:gd name="connsiteY22" fmla="*/ 631812 h 976639"/>
                      <a:gd name="connsiteX23" fmla="*/ 851311 w 985025"/>
                      <a:gd name="connsiteY23" fmla="*/ 634037 h 976639"/>
                      <a:gd name="connsiteX24" fmla="*/ 831254 w 985025"/>
                      <a:gd name="connsiteY24" fmla="*/ 674081 h 976639"/>
                      <a:gd name="connsiteX25" fmla="*/ 831254 w 985025"/>
                      <a:gd name="connsiteY25" fmla="*/ 678531 h 976639"/>
                      <a:gd name="connsiteX26" fmla="*/ 895883 w 985025"/>
                      <a:gd name="connsiteY26" fmla="*/ 767518 h 976639"/>
                      <a:gd name="connsiteX27" fmla="*/ 895883 w 985025"/>
                      <a:gd name="connsiteY27" fmla="*/ 774192 h 976639"/>
                      <a:gd name="connsiteX28" fmla="*/ 835711 w 985025"/>
                      <a:gd name="connsiteY28" fmla="*/ 840933 h 976639"/>
                      <a:gd name="connsiteX29" fmla="*/ 831254 w 985025"/>
                      <a:gd name="connsiteY29" fmla="*/ 840933 h 976639"/>
                      <a:gd name="connsiteX30" fmla="*/ 733197 w 985025"/>
                      <a:gd name="connsiteY30" fmla="*/ 791990 h 976639"/>
                      <a:gd name="connsiteX31" fmla="*/ 728740 w 985025"/>
                      <a:gd name="connsiteY31" fmla="*/ 791990 h 976639"/>
                      <a:gd name="connsiteX32" fmla="*/ 695312 w 985025"/>
                      <a:gd name="connsiteY32" fmla="*/ 814237 h 976639"/>
                      <a:gd name="connsiteX33" fmla="*/ 690855 w 985025"/>
                      <a:gd name="connsiteY33" fmla="*/ 823135 h 976639"/>
                      <a:gd name="connsiteX34" fmla="*/ 701998 w 985025"/>
                      <a:gd name="connsiteY34" fmla="*/ 929921 h 976639"/>
                      <a:gd name="connsiteX35" fmla="*/ 697540 w 985025"/>
                      <a:gd name="connsiteY35" fmla="*/ 934370 h 976639"/>
                      <a:gd name="connsiteX36" fmla="*/ 612855 w 985025"/>
                      <a:gd name="connsiteY36" fmla="*/ 963291 h 976639"/>
                      <a:gd name="connsiteX37" fmla="*/ 608398 w 985025"/>
                      <a:gd name="connsiteY37" fmla="*/ 963291 h 976639"/>
                      <a:gd name="connsiteX38" fmla="*/ 548227 w 985025"/>
                      <a:gd name="connsiteY38" fmla="*/ 874303 h 976639"/>
                      <a:gd name="connsiteX39" fmla="*/ 543770 w 985025"/>
                      <a:gd name="connsiteY39" fmla="*/ 869854 h 976639"/>
                      <a:gd name="connsiteX40" fmla="*/ 501427 w 985025"/>
                      <a:gd name="connsiteY40" fmla="*/ 874303 h 976639"/>
                      <a:gd name="connsiteX41" fmla="*/ 494741 w 985025"/>
                      <a:gd name="connsiteY41" fmla="*/ 876528 h 976639"/>
                      <a:gd name="connsiteX42" fmla="*/ 450170 w 985025"/>
                      <a:gd name="connsiteY42" fmla="*/ 974414 h 976639"/>
                      <a:gd name="connsiteX43" fmla="*/ 445713 w 985025"/>
                      <a:gd name="connsiteY43" fmla="*/ 976639 h 976639"/>
                      <a:gd name="connsiteX44" fmla="*/ 356570 w 985025"/>
                      <a:gd name="connsiteY44" fmla="*/ 958842 h 976639"/>
                      <a:gd name="connsiteX45" fmla="*/ 352113 w 985025"/>
                      <a:gd name="connsiteY45" fmla="*/ 956617 h 976639"/>
                      <a:gd name="connsiteX46" fmla="*/ 347656 w 985025"/>
                      <a:gd name="connsiteY46" fmla="*/ 847607 h 976639"/>
                      <a:gd name="connsiteX47" fmla="*/ 340970 w 985025"/>
                      <a:gd name="connsiteY47" fmla="*/ 843158 h 976639"/>
                      <a:gd name="connsiteX48" fmla="*/ 305313 w 985025"/>
                      <a:gd name="connsiteY48" fmla="*/ 825360 h 976639"/>
                      <a:gd name="connsiteX49" fmla="*/ 296399 w 985025"/>
                      <a:gd name="connsiteY49" fmla="*/ 825360 h 976639"/>
                      <a:gd name="connsiteX50" fmla="*/ 211713 w 985025"/>
                      <a:gd name="connsiteY50" fmla="*/ 887652 h 976639"/>
                      <a:gd name="connsiteX51" fmla="*/ 205028 w 985025"/>
                      <a:gd name="connsiteY51" fmla="*/ 887652 h 976639"/>
                      <a:gd name="connsiteX52" fmla="*/ 138171 w 985025"/>
                      <a:gd name="connsiteY52" fmla="*/ 829810 h 976639"/>
                      <a:gd name="connsiteX53" fmla="*/ 135942 w 985025"/>
                      <a:gd name="connsiteY53" fmla="*/ 823135 h 976639"/>
                      <a:gd name="connsiteX54" fmla="*/ 182742 w 985025"/>
                      <a:gd name="connsiteY54" fmla="*/ 725249 h 976639"/>
                      <a:gd name="connsiteX55" fmla="*/ 182742 w 985025"/>
                      <a:gd name="connsiteY55" fmla="*/ 720800 h 976639"/>
                      <a:gd name="connsiteX56" fmla="*/ 160457 w 985025"/>
                      <a:gd name="connsiteY56" fmla="*/ 687429 h 976639"/>
                      <a:gd name="connsiteX57" fmla="*/ 153771 w 985025"/>
                      <a:gd name="connsiteY57" fmla="*/ 685205 h 976639"/>
                      <a:gd name="connsiteX58" fmla="*/ 49028 w 985025"/>
                      <a:gd name="connsiteY58" fmla="*/ 696328 h 976639"/>
                      <a:gd name="connsiteX59" fmla="*/ 42343 w 985025"/>
                      <a:gd name="connsiteY59" fmla="*/ 691879 h 976639"/>
                      <a:gd name="connsiteX60" fmla="*/ 11143 w 985025"/>
                      <a:gd name="connsiteY60" fmla="*/ 609565 h 976639"/>
                      <a:gd name="connsiteX61" fmla="*/ 15600 w 985025"/>
                      <a:gd name="connsiteY61" fmla="*/ 602891 h 976639"/>
                      <a:gd name="connsiteX62" fmla="*/ 104742 w 985025"/>
                      <a:gd name="connsiteY62" fmla="*/ 542824 h 976639"/>
                      <a:gd name="connsiteX63" fmla="*/ 106971 w 985025"/>
                      <a:gd name="connsiteY63" fmla="*/ 536150 h 976639"/>
                      <a:gd name="connsiteX64" fmla="*/ 104742 w 985025"/>
                      <a:gd name="connsiteY64" fmla="*/ 496106 h 976639"/>
                      <a:gd name="connsiteX65" fmla="*/ 102514 w 985025"/>
                      <a:gd name="connsiteY65" fmla="*/ 489432 h 976639"/>
                      <a:gd name="connsiteX66" fmla="*/ 4457 w 985025"/>
                      <a:gd name="connsiteY66" fmla="*/ 444938 h 976639"/>
                      <a:gd name="connsiteX67" fmla="*/ 0 w 985025"/>
                      <a:gd name="connsiteY67" fmla="*/ 440489 h 976639"/>
                      <a:gd name="connsiteX68" fmla="*/ 15600 w 985025"/>
                      <a:gd name="connsiteY68" fmla="*/ 353726 h 976639"/>
                      <a:gd name="connsiteX69" fmla="*/ 20057 w 985025"/>
                      <a:gd name="connsiteY69" fmla="*/ 351501 h 976639"/>
                      <a:gd name="connsiteX70" fmla="*/ 129257 w 985025"/>
                      <a:gd name="connsiteY70" fmla="*/ 342602 h 976639"/>
                      <a:gd name="connsiteX71" fmla="*/ 135942 w 985025"/>
                      <a:gd name="connsiteY71" fmla="*/ 340377 h 976639"/>
                      <a:gd name="connsiteX72" fmla="*/ 151542 w 985025"/>
                      <a:gd name="connsiteY72" fmla="*/ 302558 h 976639"/>
                      <a:gd name="connsiteX73" fmla="*/ 151542 w 985025"/>
                      <a:gd name="connsiteY73" fmla="*/ 295884 h 976639"/>
                      <a:gd name="connsiteX74" fmla="*/ 91371 w 985025"/>
                      <a:gd name="connsiteY74" fmla="*/ 209121 h 976639"/>
                      <a:gd name="connsiteX75" fmla="*/ 91371 w 985025"/>
                      <a:gd name="connsiteY75" fmla="*/ 200222 h 976639"/>
                      <a:gd name="connsiteX76" fmla="*/ 147085 w 985025"/>
                      <a:gd name="connsiteY76" fmla="*/ 133481 h 976639"/>
                      <a:gd name="connsiteX77" fmla="*/ 153771 w 985025"/>
                      <a:gd name="connsiteY77" fmla="*/ 133481 h 976639"/>
                      <a:gd name="connsiteX78" fmla="*/ 249599 w 985025"/>
                      <a:gd name="connsiteY78" fmla="*/ 180200 h 976639"/>
                      <a:gd name="connsiteX79" fmla="*/ 256285 w 985025"/>
                      <a:gd name="connsiteY79" fmla="*/ 180200 h 976639"/>
                      <a:gd name="connsiteX80" fmla="*/ 289713 w 985025"/>
                      <a:gd name="connsiteY80" fmla="*/ 157953 h 976639"/>
                      <a:gd name="connsiteX81" fmla="*/ 283027 w 985025"/>
                      <a:gd name="connsiteY81" fmla="*/ 44493 h 976639"/>
                      <a:gd name="connsiteX82" fmla="*/ 369942 w 985025"/>
                      <a:gd name="connsiteY82" fmla="*/ 11123 h 976639"/>
                      <a:gd name="connsiteX83" fmla="*/ 439027 w 985025"/>
                      <a:gd name="connsiteY83" fmla="*/ 106785 h 976639"/>
                      <a:gd name="connsiteX84" fmla="*/ 481370 w 985025"/>
                      <a:gd name="connsiteY84" fmla="*/ 102335 h 976639"/>
                      <a:gd name="connsiteX85" fmla="*/ 532627 w 985025"/>
                      <a:gd name="connsiteY85" fmla="*/ 0 h 976639"/>
                      <a:gd name="connsiteX0" fmla="*/ 492512 w 985025"/>
                      <a:gd name="connsiteY0" fmla="*/ 299009 h 976639"/>
                      <a:gd name="connsiteX1" fmla="*/ 303330 w 985025"/>
                      <a:gd name="connsiteY1" fmla="*/ 487207 h 976639"/>
                      <a:gd name="connsiteX2" fmla="*/ 492512 w 985025"/>
                      <a:gd name="connsiteY2" fmla="*/ 675405 h 976639"/>
                      <a:gd name="connsiteX3" fmla="*/ 681694 w 985025"/>
                      <a:gd name="connsiteY3" fmla="*/ 487207 h 976639"/>
                      <a:gd name="connsiteX4" fmla="*/ 492512 w 985025"/>
                      <a:gd name="connsiteY4" fmla="*/ 299009 h 976639"/>
                      <a:gd name="connsiteX5" fmla="*/ 532627 w 985025"/>
                      <a:gd name="connsiteY5" fmla="*/ 0 h 976639"/>
                      <a:gd name="connsiteX6" fmla="*/ 626226 w 985025"/>
                      <a:gd name="connsiteY6" fmla="*/ 13348 h 976639"/>
                      <a:gd name="connsiteX7" fmla="*/ 641826 w 985025"/>
                      <a:gd name="connsiteY7" fmla="*/ 131256 h 976639"/>
                      <a:gd name="connsiteX8" fmla="*/ 677483 w 985025"/>
                      <a:gd name="connsiteY8" fmla="*/ 151279 h 976639"/>
                      <a:gd name="connsiteX9" fmla="*/ 779997 w 985025"/>
                      <a:gd name="connsiteY9" fmla="*/ 86763 h 976639"/>
                      <a:gd name="connsiteX10" fmla="*/ 846854 w 985025"/>
                      <a:gd name="connsiteY10" fmla="*/ 144605 h 976639"/>
                      <a:gd name="connsiteX11" fmla="*/ 800054 w 985025"/>
                      <a:gd name="connsiteY11" fmla="*/ 253614 h 976639"/>
                      <a:gd name="connsiteX12" fmla="*/ 822340 w 985025"/>
                      <a:gd name="connsiteY12" fmla="*/ 286985 h 976639"/>
                      <a:gd name="connsiteX13" fmla="*/ 938225 w 985025"/>
                      <a:gd name="connsiteY13" fmla="*/ 278086 h 976639"/>
                      <a:gd name="connsiteX14" fmla="*/ 971654 w 985025"/>
                      <a:gd name="connsiteY14" fmla="*/ 367074 h 976639"/>
                      <a:gd name="connsiteX15" fmla="*/ 878054 w 985025"/>
                      <a:gd name="connsiteY15" fmla="*/ 431590 h 976639"/>
                      <a:gd name="connsiteX16" fmla="*/ 878054 w 985025"/>
                      <a:gd name="connsiteY16" fmla="*/ 478308 h 976639"/>
                      <a:gd name="connsiteX17" fmla="*/ 982797 w 985025"/>
                      <a:gd name="connsiteY17" fmla="*/ 529476 h 976639"/>
                      <a:gd name="connsiteX18" fmla="*/ 985025 w 985025"/>
                      <a:gd name="connsiteY18" fmla="*/ 533926 h 976639"/>
                      <a:gd name="connsiteX19" fmla="*/ 967197 w 985025"/>
                      <a:gd name="connsiteY19" fmla="*/ 620689 h 976639"/>
                      <a:gd name="connsiteX20" fmla="*/ 962739 w 985025"/>
                      <a:gd name="connsiteY20" fmla="*/ 625138 h 976639"/>
                      <a:gd name="connsiteX21" fmla="*/ 855768 w 985025"/>
                      <a:gd name="connsiteY21" fmla="*/ 631812 h 976639"/>
                      <a:gd name="connsiteX22" fmla="*/ 851311 w 985025"/>
                      <a:gd name="connsiteY22" fmla="*/ 634037 h 976639"/>
                      <a:gd name="connsiteX23" fmla="*/ 831254 w 985025"/>
                      <a:gd name="connsiteY23" fmla="*/ 674081 h 976639"/>
                      <a:gd name="connsiteX24" fmla="*/ 831254 w 985025"/>
                      <a:gd name="connsiteY24" fmla="*/ 678531 h 976639"/>
                      <a:gd name="connsiteX25" fmla="*/ 895883 w 985025"/>
                      <a:gd name="connsiteY25" fmla="*/ 767518 h 976639"/>
                      <a:gd name="connsiteX26" fmla="*/ 895883 w 985025"/>
                      <a:gd name="connsiteY26" fmla="*/ 774192 h 976639"/>
                      <a:gd name="connsiteX27" fmla="*/ 835711 w 985025"/>
                      <a:gd name="connsiteY27" fmla="*/ 840933 h 976639"/>
                      <a:gd name="connsiteX28" fmla="*/ 831254 w 985025"/>
                      <a:gd name="connsiteY28" fmla="*/ 840933 h 976639"/>
                      <a:gd name="connsiteX29" fmla="*/ 733197 w 985025"/>
                      <a:gd name="connsiteY29" fmla="*/ 791990 h 976639"/>
                      <a:gd name="connsiteX30" fmla="*/ 728740 w 985025"/>
                      <a:gd name="connsiteY30" fmla="*/ 791990 h 976639"/>
                      <a:gd name="connsiteX31" fmla="*/ 695312 w 985025"/>
                      <a:gd name="connsiteY31" fmla="*/ 814237 h 976639"/>
                      <a:gd name="connsiteX32" fmla="*/ 690855 w 985025"/>
                      <a:gd name="connsiteY32" fmla="*/ 823135 h 976639"/>
                      <a:gd name="connsiteX33" fmla="*/ 701998 w 985025"/>
                      <a:gd name="connsiteY33" fmla="*/ 929921 h 976639"/>
                      <a:gd name="connsiteX34" fmla="*/ 697540 w 985025"/>
                      <a:gd name="connsiteY34" fmla="*/ 934370 h 976639"/>
                      <a:gd name="connsiteX35" fmla="*/ 612855 w 985025"/>
                      <a:gd name="connsiteY35" fmla="*/ 963291 h 976639"/>
                      <a:gd name="connsiteX36" fmla="*/ 608398 w 985025"/>
                      <a:gd name="connsiteY36" fmla="*/ 963291 h 976639"/>
                      <a:gd name="connsiteX37" fmla="*/ 548227 w 985025"/>
                      <a:gd name="connsiteY37" fmla="*/ 874303 h 976639"/>
                      <a:gd name="connsiteX38" fmla="*/ 543770 w 985025"/>
                      <a:gd name="connsiteY38" fmla="*/ 869854 h 976639"/>
                      <a:gd name="connsiteX39" fmla="*/ 501427 w 985025"/>
                      <a:gd name="connsiteY39" fmla="*/ 874303 h 976639"/>
                      <a:gd name="connsiteX40" fmla="*/ 494741 w 985025"/>
                      <a:gd name="connsiteY40" fmla="*/ 876528 h 976639"/>
                      <a:gd name="connsiteX41" fmla="*/ 450170 w 985025"/>
                      <a:gd name="connsiteY41" fmla="*/ 974414 h 976639"/>
                      <a:gd name="connsiteX42" fmla="*/ 445713 w 985025"/>
                      <a:gd name="connsiteY42" fmla="*/ 976639 h 976639"/>
                      <a:gd name="connsiteX43" fmla="*/ 356570 w 985025"/>
                      <a:gd name="connsiteY43" fmla="*/ 958842 h 976639"/>
                      <a:gd name="connsiteX44" fmla="*/ 352113 w 985025"/>
                      <a:gd name="connsiteY44" fmla="*/ 956617 h 976639"/>
                      <a:gd name="connsiteX45" fmla="*/ 347656 w 985025"/>
                      <a:gd name="connsiteY45" fmla="*/ 847607 h 976639"/>
                      <a:gd name="connsiteX46" fmla="*/ 340970 w 985025"/>
                      <a:gd name="connsiteY46" fmla="*/ 843158 h 976639"/>
                      <a:gd name="connsiteX47" fmla="*/ 305313 w 985025"/>
                      <a:gd name="connsiteY47" fmla="*/ 825360 h 976639"/>
                      <a:gd name="connsiteX48" fmla="*/ 296399 w 985025"/>
                      <a:gd name="connsiteY48" fmla="*/ 825360 h 976639"/>
                      <a:gd name="connsiteX49" fmla="*/ 211713 w 985025"/>
                      <a:gd name="connsiteY49" fmla="*/ 887652 h 976639"/>
                      <a:gd name="connsiteX50" fmla="*/ 205028 w 985025"/>
                      <a:gd name="connsiteY50" fmla="*/ 887652 h 976639"/>
                      <a:gd name="connsiteX51" fmla="*/ 138171 w 985025"/>
                      <a:gd name="connsiteY51" fmla="*/ 829810 h 976639"/>
                      <a:gd name="connsiteX52" fmla="*/ 135942 w 985025"/>
                      <a:gd name="connsiteY52" fmla="*/ 823135 h 976639"/>
                      <a:gd name="connsiteX53" fmla="*/ 182742 w 985025"/>
                      <a:gd name="connsiteY53" fmla="*/ 725249 h 976639"/>
                      <a:gd name="connsiteX54" fmla="*/ 182742 w 985025"/>
                      <a:gd name="connsiteY54" fmla="*/ 720800 h 976639"/>
                      <a:gd name="connsiteX55" fmla="*/ 160457 w 985025"/>
                      <a:gd name="connsiteY55" fmla="*/ 687429 h 976639"/>
                      <a:gd name="connsiteX56" fmla="*/ 153771 w 985025"/>
                      <a:gd name="connsiteY56" fmla="*/ 685205 h 976639"/>
                      <a:gd name="connsiteX57" fmla="*/ 49028 w 985025"/>
                      <a:gd name="connsiteY57" fmla="*/ 696328 h 976639"/>
                      <a:gd name="connsiteX58" fmla="*/ 42343 w 985025"/>
                      <a:gd name="connsiteY58" fmla="*/ 691879 h 976639"/>
                      <a:gd name="connsiteX59" fmla="*/ 11143 w 985025"/>
                      <a:gd name="connsiteY59" fmla="*/ 609565 h 976639"/>
                      <a:gd name="connsiteX60" fmla="*/ 15600 w 985025"/>
                      <a:gd name="connsiteY60" fmla="*/ 602891 h 976639"/>
                      <a:gd name="connsiteX61" fmla="*/ 104742 w 985025"/>
                      <a:gd name="connsiteY61" fmla="*/ 542824 h 976639"/>
                      <a:gd name="connsiteX62" fmla="*/ 106971 w 985025"/>
                      <a:gd name="connsiteY62" fmla="*/ 536150 h 976639"/>
                      <a:gd name="connsiteX63" fmla="*/ 104742 w 985025"/>
                      <a:gd name="connsiteY63" fmla="*/ 496106 h 976639"/>
                      <a:gd name="connsiteX64" fmla="*/ 102514 w 985025"/>
                      <a:gd name="connsiteY64" fmla="*/ 489432 h 976639"/>
                      <a:gd name="connsiteX65" fmla="*/ 4457 w 985025"/>
                      <a:gd name="connsiteY65" fmla="*/ 444938 h 976639"/>
                      <a:gd name="connsiteX66" fmla="*/ 0 w 985025"/>
                      <a:gd name="connsiteY66" fmla="*/ 440489 h 976639"/>
                      <a:gd name="connsiteX67" fmla="*/ 15600 w 985025"/>
                      <a:gd name="connsiteY67" fmla="*/ 353726 h 976639"/>
                      <a:gd name="connsiteX68" fmla="*/ 20057 w 985025"/>
                      <a:gd name="connsiteY68" fmla="*/ 351501 h 976639"/>
                      <a:gd name="connsiteX69" fmla="*/ 129257 w 985025"/>
                      <a:gd name="connsiteY69" fmla="*/ 342602 h 976639"/>
                      <a:gd name="connsiteX70" fmla="*/ 135942 w 985025"/>
                      <a:gd name="connsiteY70" fmla="*/ 340377 h 976639"/>
                      <a:gd name="connsiteX71" fmla="*/ 151542 w 985025"/>
                      <a:gd name="connsiteY71" fmla="*/ 302558 h 976639"/>
                      <a:gd name="connsiteX72" fmla="*/ 151542 w 985025"/>
                      <a:gd name="connsiteY72" fmla="*/ 295884 h 976639"/>
                      <a:gd name="connsiteX73" fmla="*/ 91371 w 985025"/>
                      <a:gd name="connsiteY73" fmla="*/ 209121 h 976639"/>
                      <a:gd name="connsiteX74" fmla="*/ 91371 w 985025"/>
                      <a:gd name="connsiteY74" fmla="*/ 200222 h 976639"/>
                      <a:gd name="connsiteX75" fmla="*/ 147085 w 985025"/>
                      <a:gd name="connsiteY75" fmla="*/ 133481 h 976639"/>
                      <a:gd name="connsiteX76" fmla="*/ 153771 w 985025"/>
                      <a:gd name="connsiteY76" fmla="*/ 133481 h 976639"/>
                      <a:gd name="connsiteX77" fmla="*/ 249599 w 985025"/>
                      <a:gd name="connsiteY77" fmla="*/ 180200 h 976639"/>
                      <a:gd name="connsiteX78" fmla="*/ 256285 w 985025"/>
                      <a:gd name="connsiteY78" fmla="*/ 180200 h 976639"/>
                      <a:gd name="connsiteX79" fmla="*/ 289713 w 985025"/>
                      <a:gd name="connsiteY79" fmla="*/ 157953 h 976639"/>
                      <a:gd name="connsiteX80" fmla="*/ 283027 w 985025"/>
                      <a:gd name="connsiteY80" fmla="*/ 44493 h 976639"/>
                      <a:gd name="connsiteX81" fmla="*/ 369942 w 985025"/>
                      <a:gd name="connsiteY81" fmla="*/ 11123 h 976639"/>
                      <a:gd name="connsiteX82" fmla="*/ 439027 w 985025"/>
                      <a:gd name="connsiteY82" fmla="*/ 106785 h 976639"/>
                      <a:gd name="connsiteX83" fmla="*/ 481370 w 985025"/>
                      <a:gd name="connsiteY83" fmla="*/ 102335 h 976639"/>
                      <a:gd name="connsiteX84" fmla="*/ 532627 w 985025"/>
                      <a:gd name="connsiteY8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962739 w 982797"/>
                      <a:gd name="connsiteY19" fmla="*/ 625138 h 976639"/>
                      <a:gd name="connsiteX20" fmla="*/ 855768 w 982797"/>
                      <a:gd name="connsiteY20" fmla="*/ 631812 h 976639"/>
                      <a:gd name="connsiteX21" fmla="*/ 851311 w 982797"/>
                      <a:gd name="connsiteY21" fmla="*/ 634037 h 976639"/>
                      <a:gd name="connsiteX22" fmla="*/ 831254 w 982797"/>
                      <a:gd name="connsiteY22" fmla="*/ 674081 h 976639"/>
                      <a:gd name="connsiteX23" fmla="*/ 831254 w 982797"/>
                      <a:gd name="connsiteY23" fmla="*/ 678531 h 976639"/>
                      <a:gd name="connsiteX24" fmla="*/ 895883 w 982797"/>
                      <a:gd name="connsiteY24" fmla="*/ 767518 h 976639"/>
                      <a:gd name="connsiteX25" fmla="*/ 895883 w 982797"/>
                      <a:gd name="connsiteY25" fmla="*/ 774192 h 976639"/>
                      <a:gd name="connsiteX26" fmla="*/ 835711 w 982797"/>
                      <a:gd name="connsiteY26" fmla="*/ 840933 h 976639"/>
                      <a:gd name="connsiteX27" fmla="*/ 831254 w 982797"/>
                      <a:gd name="connsiteY27" fmla="*/ 840933 h 976639"/>
                      <a:gd name="connsiteX28" fmla="*/ 733197 w 982797"/>
                      <a:gd name="connsiteY28" fmla="*/ 791990 h 976639"/>
                      <a:gd name="connsiteX29" fmla="*/ 728740 w 982797"/>
                      <a:gd name="connsiteY29" fmla="*/ 791990 h 976639"/>
                      <a:gd name="connsiteX30" fmla="*/ 695312 w 982797"/>
                      <a:gd name="connsiteY30" fmla="*/ 814237 h 976639"/>
                      <a:gd name="connsiteX31" fmla="*/ 690855 w 982797"/>
                      <a:gd name="connsiteY31" fmla="*/ 823135 h 976639"/>
                      <a:gd name="connsiteX32" fmla="*/ 701998 w 982797"/>
                      <a:gd name="connsiteY32" fmla="*/ 929921 h 976639"/>
                      <a:gd name="connsiteX33" fmla="*/ 697540 w 982797"/>
                      <a:gd name="connsiteY33" fmla="*/ 934370 h 976639"/>
                      <a:gd name="connsiteX34" fmla="*/ 612855 w 982797"/>
                      <a:gd name="connsiteY34" fmla="*/ 963291 h 976639"/>
                      <a:gd name="connsiteX35" fmla="*/ 608398 w 982797"/>
                      <a:gd name="connsiteY35" fmla="*/ 963291 h 976639"/>
                      <a:gd name="connsiteX36" fmla="*/ 548227 w 982797"/>
                      <a:gd name="connsiteY36" fmla="*/ 874303 h 976639"/>
                      <a:gd name="connsiteX37" fmla="*/ 543770 w 982797"/>
                      <a:gd name="connsiteY37" fmla="*/ 869854 h 976639"/>
                      <a:gd name="connsiteX38" fmla="*/ 501427 w 982797"/>
                      <a:gd name="connsiteY38" fmla="*/ 874303 h 976639"/>
                      <a:gd name="connsiteX39" fmla="*/ 494741 w 982797"/>
                      <a:gd name="connsiteY39" fmla="*/ 876528 h 976639"/>
                      <a:gd name="connsiteX40" fmla="*/ 450170 w 982797"/>
                      <a:gd name="connsiteY40" fmla="*/ 974414 h 976639"/>
                      <a:gd name="connsiteX41" fmla="*/ 445713 w 982797"/>
                      <a:gd name="connsiteY41" fmla="*/ 976639 h 976639"/>
                      <a:gd name="connsiteX42" fmla="*/ 356570 w 982797"/>
                      <a:gd name="connsiteY42" fmla="*/ 958842 h 976639"/>
                      <a:gd name="connsiteX43" fmla="*/ 352113 w 982797"/>
                      <a:gd name="connsiteY43" fmla="*/ 956617 h 976639"/>
                      <a:gd name="connsiteX44" fmla="*/ 347656 w 982797"/>
                      <a:gd name="connsiteY44" fmla="*/ 847607 h 976639"/>
                      <a:gd name="connsiteX45" fmla="*/ 340970 w 982797"/>
                      <a:gd name="connsiteY45" fmla="*/ 843158 h 976639"/>
                      <a:gd name="connsiteX46" fmla="*/ 305313 w 982797"/>
                      <a:gd name="connsiteY46" fmla="*/ 825360 h 976639"/>
                      <a:gd name="connsiteX47" fmla="*/ 296399 w 982797"/>
                      <a:gd name="connsiteY47" fmla="*/ 825360 h 976639"/>
                      <a:gd name="connsiteX48" fmla="*/ 211713 w 982797"/>
                      <a:gd name="connsiteY48" fmla="*/ 887652 h 976639"/>
                      <a:gd name="connsiteX49" fmla="*/ 205028 w 982797"/>
                      <a:gd name="connsiteY49" fmla="*/ 887652 h 976639"/>
                      <a:gd name="connsiteX50" fmla="*/ 138171 w 982797"/>
                      <a:gd name="connsiteY50" fmla="*/ 829810 h 976639"/>
                      <a:gd name="connsiteX51" fmla="*/ 135942 w 982797"/>
                      <a:gd name="connsiteY51" fmla="*/ 823135 h 976639"/>
                      <a:gd name="connsiteX52" fmla="*/ 182742 w 982797"/>
                      <a:gd name="connsiteY52" fmla="*/ 725249 h 976639"/>
                      <a:gd name="connsiteX53" fmla="*/ 182742 w 982797"/>
                      <a:gd name="connsiteY53" fmla="*/ 720800 h 976639"/>
                      <a:gd name="connsiteX54" fmla="*/ 160457 w 982797"/>
                      <a:gd name="connsiteY54" fmla="*/ 687429 h 976639"/>
                      <a:gd name="connsiteX55" fmla="*/ 153771 w 982797"/>
                      <a:gd name="connsiteY55" fmla="*/ 685205 h 976639"/>
                      <a:gd name="connsiteX56" fmla="*/ 49028 w 982797"/>
                      <a:gd name="connsiteY56" fmla="*/ 696328 h 976639"/>
                      <a:gd name="connsiteX57" fmla="*/ 42343 w 982797"/>
                      <a:gd name="connsiteY57" fmla="*/ 691879 h 976639"/>
                      <a:gd name="connsiteX58" fmla="*/ 11143 w 982797"/>
                      <a:gd name="connsiteY58" fmla="*/ 609565 h 976639"/>
                      <a:gd name="connsiteX59" fmla="*/ 15600 w 982797"/>
                      <a:gd name="connsiteY59" fmla="*/ 602891 h 976639"/>
                      <a:gd name="connsiteX60" fmla="*/ 104742 w 982797"/>
                      <a:gd name="connsiteY60" fmla="*/ 542824 h 976639"/>
                      <a:gd name="connsiteX61" fmla="*/ 106971 w 982797"/>
                      <a:gd name="connsiteY61" fmla="*/ 536150 h 976639"/>
                      <a:gd name="connsiteX62" fmla="*/ 104742 w 982797"/>
                      <a:gd name="connsiteY62" fmla="*/ 496106 h 976639"/>
                      <a:gd name="connsiteX63" fmla="*/ 102514 w 982797"/>
                      <a:gd name="connsiteY63" fmla="*/ 489432 h 976639"/>
                      <a:gd name="connsiteX64" fmla="*/ 4457 w 982797"/>
                      <a:gd name="connsiteY64" fmla="*/ 444938 h 976639"/>
                      <a:gd name="connsiteX65" fmla="*/ 0 w 982797"/>
                      <a:gd name="connsiteY65" fmla="*/ 440489 h 976639"/>
                      <a:gd name="connsiteX66" fmla="*/ 15600 w 982797"/>
                      <a:gd name="connsiteY66" fmla="*/ 353726 h 976639"/>
                      <a:gd name="connsiteX67" fmla="*/ 20057 w 982797"/>
                      <a:gd name="connsiteY67" fmla="*/ 351501 h 976639"/>
                      <a:gd name="connsiteX68" fmla="*/ 129257 w 982797"/>
                      <a:gd name="connsiteY68" fmla="*/ 342602 h 976639"/>
                      <a:gd name="connsiteX69" fmla="*/ 135942 w 982797"/>
                      <a:gd name="connsiteY69" fmla="*/ 340377 h 976639"/>
                      <a:gd name="connsiteX70" fmla="*/ 151542 w 982797"/>
                      <a:gd name="connsiteY70" fmla="*/ 302558 h 976639"/>
                      <a:gd name="connsiteX71" fmla="*/ 151542 w 982797"/>
                      <a:gd name="connsiteY71" fmla="*/ 295884 h 976639"/>
                      <a:gd name="connsiteX72" fmla="*/ 91371 w 982797"/>
                      <a:gd name="connsiteY72" fmla="*/ 209121 h 976639"/>
                      <a:gd name="connsiteX73" fmla="*/ 91371 w 982797"/>
                      <a:gd name="connsiteY73" fmla="*/ 200222 h 976639"/>
                      <a:gd name="connsiteX74" fmla="*/ 147085 w 982797"/>
                      <a:gd name="connsiteY74" fmla="*/ 133481 h 976639"/>
                      <a:gd name="connsiteX75" fmla="*/ 153771 w 982797"/>
                      <a:gd name="connsiteY75" fmla="*/ 133481 h 976639"/>
                      <a:gd name="connsiteX76" fmla="*/ 249599 w 982797"/>
                      <a:gd name="connsiteY76" fmla="*/ 180200 h 976639"/>
                      <a:gd name="connsiteX77" fmla="*/ 256285 w 982797"/>
                      <a:gd name="connsiteY77" fmla="*/ 180200 h 976639"/>
                      <a:gd name="connsiteX78" fmla="*/ 289713 w 982797"/>
                      <a:gd name="connsiteY78" fmla="*/ 157953 h 976639"/>
                      <a:gd name="connsiteX79" fmla="*/ 283027 w 982797"/>
                      <a:gd name="connsiteY79" fmla="*/ 44493 h 976639"/>
                      <a:gd name="connsiteX80" fmla="*/ 369942 w 982797"/>
                      <a:gd name="connsiteY80" fmla="*/ 11123 h 976639"/>
                      <a:gd name="connsiteX81" fmla="*/ 439027 w 982797"/>
                      <a:gd name="connsiteY81" fmla="*/ 106785 h 976639"/>
                      <a:gd name="connsiteX82" fmla="*/ 481370 w 982797"/>
                      <a:gd name="connsiteY82" fmla="*/ 102335 h 976639"/>
                      <a:gd name="connsiteX83" fmla="*/ 532627 w 982797"/>
                      <a:gd name="connsiteY8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5768 w 982797"/>
                      <a:gd name="connsiteY19" fmla="*/ 631812 h 976639"/>
                      <a:gd name="connsiteX20" fmla="*/ 851311 w 982797"/>
                      <a:gd name="connsiteY20" fmla="*/ 634037 h 976639"/>
                      <a:gd name="connsiteX21" fmla="*/ 831254 w 982797"/>
                      <a:gd name="connsiteY21" fmla="*/ 674081 h 976639"/>
                      <a:gd name="connsiteX22" fmla="*/ 831254 w 982797"/>
                      <a:gd name="connsiteY22" fmla="*/ 678531 h 976639"/>
                      <a:gd name="connsiteX23" fmla="*/ 895883 w 982797"/>
                      <a:gd name="connsiteY23" fmla="*/ 767518 h 976639"/>
                      <a:gd name="connsiteX24" fmla="*/ 895883 w 982797"/>
                      <a:gd name="connsiteY24" fmla="*/ 774192 h 976639"/>
                      <a:gd name="connsiteX25" fmla="*/ 835711 w 982797"/>
                      <a:gd name="connsiteY25" fmla="*/ 840933 h 976639"/>
                      <a:gd name="connsiteX26" fmla="*/ 831254 w 982797"/>
                      <a:gd name="connsiteY26" fmla="*/ 840933 h 976639"/>
                      <a:gd name="connsiteX27" fmla="*/ 733197 w 982797"/>
                      <a:gd name="connsiteY27" fmla="*/ 791990 h 976639"/>
                      <a:gd name="connsiteX28" fmla="*/ 728740 w 982797"/>
                      <a:gd name="connsiteY28" fmla="*/ 791990 h 976639"/>
                      <a:gd name="connsiteX29" fmla="*/ 695312 w 982797"/>
                      <a:gd name="connsiteY29" fmla="*/ 814237 h 976639"/>
                      <a:gd name="connsiteX30" fmla="*/ 690855 w 982797"/>
                      <a:gd name="connsiteY30" fmla="*/ 823135 h 976639"/>
                      <a:gd name="connsiteX31" fmla="*/ 701998 w 982797"/>
                      <a:gd name="connsiteY31" fmla="*/ 929921 h 976639"/>
                      <a:gd name="connsiteX32" fmla="*/ 697540 w 982797"/>
                      <a:gd name="connsiteY32" fmla="*/ 934370 h 976639"/>
                      <a:gd name="connsiteX33" fmla="*/ 612855 w 982797"/>
                      <a:gd name="connsiteY33" fmla="*/ 963291 h 976639"/>
                      <a:gd name="connsiteX34" fmla="*/ 608398 w 982797"/>
                      <a:gd name="connsiteY34" fmla="*/ 963291 h 976639"/>
                      <a:gd name="connsiteX35" fmla="*/ 548227 w 982797"/>
                      <a:gd name="connsiteY35" fmla="*/ 874303 h 976639"/>
                      <a:gd name="connsiteX36" fmla="*/ 543770 w 982797"/>
                      <a:gd name="connsiteY36" fmla="*/ 869854 h 976639"/>
                      <a:gd name="connsiteX37" fmla="*/ 501427 w 982797"/>
                      <a:gd name="connsiteY37" fmla="*/ 874303 h 976639"/>
                      <a:gd name="connsiteX38" fmla="*/ 494741 w 982797"/>
                      <a:gd name="connsiteY38" fmla="*/ 876528 h 976639"/>
                      <a:gd name="connsiteX39" fmla="*/ 450170 w 982797"/>
                      <a:gd name="connsiteY39" fmla="*/ 974414 h 976639"/>
                      <a:gd name="connsiteX40" fmla="*/ 445713 w 982797"/>
                      <a:gd name="connsiteY40" fmla="*/ 976639 h 976639"/>
                      <a:gd name="connsiteX41" fmla="*/ 356570 w 982797"/>
                      <a:gd name="connsiteY41" fmla="*/ 958842 h 976639"/>
                      <a:gd name="connsiteX42" fmla="*/ 352113 w 982797"/>
                      <a:gd name="connsiteY42" fmla="*/ 956617 h 976639"/>
                      <a:gd name="connsiteX43" fmla="*/ 347656 w 982797"/>
                      <a:gd name="connsiteY43" fmla="*/ 847607 h 976639"/>
                      <a:gd name="connsiteX44" fmla="*/ 340970 w 982797"/>
                      <a:gd name="connsiteY44" fmla="*/ 843158 h 976639"/>
                      <a:gd name="connsiteX45" fmla="*/ 305313 w 982797"/>
                      <a:gd name="connsiteY45" fmla="*/ 825360 h 976639"/>
                      <a:gd name="connsiteX46" fmla="*/ 296399 w 982797"/>
                      <a:gd name="connsiteY46" fmla="*/ 825360 h 976639"/>
                      <a:gd name="connsiteX47" fmla="*/ 211713 w 982797"/>
                      <a:gd name="connsiteY47" fmla="*/ 887652 h 976639"/>
                      <a:gd name="connsiteX48" fmla="*/ 205028 w 982797"/>
                      <a:gd name="connsiteY48" fmla="*/ 887652 h 976639"/>
                      <a:gd name="connsiteX49" fmla="*/ 138171 w 982797"/>
                      <a:gd name="connsiteY49" fmla="*/ 829810 h 976639"/>
                      <a:gd name="connsiteX50" fmla="*/ 135942 w 982797"/>
                      <a:gd name="connsiteY50" fmla="*/ 823135 h 976639"/>
                      <a:gd name="connsiteX51" fmla="*/ 182742 w 982797"/>
                      <a:gd name="connsiteY51" fmla="*/ 725249 h 976639"/>
                      <a:gd name="connsiteX52" fmla="*/ 182742 w 982797"/>
                      <a:gd name="connsiteY52" fmla="*/ 720800 h 976639"/>
                      <a:gd name="connsiteX53" fmla="*/ 160457 w 982797"/>
                      <a:gd name="connsiteY53" fmla="*/ 687429 h 976639"/>
                      <a:gd name="connsiteX54" fmla="*/ 153771 w 982797"/>
                      <a:gd name="connsiteY54" fmla="*/ 685205 h 976639"/>
                      <a:gd name="connsiteX55" fmla="*/ 49028 w 982797"/>
                      <a:gd name="connsiteY55" fmla="*/ 696328 h 976639"/>
                      <a:gd name="connsiteX56" fmla="*/ 42343 w 982797"/>
                      <a:gd name="connsiteY56" fmla="*/ 691879 h 976639"/>
                      <a:gd name="connsiteX57" fmla="*/ 11143 w 982797"/>
                      <a:gd name="connsiteY57" fmla="*/ 609565 h 976639"/>
                      <a:gd name="connsiteX58" fmla="*/ 15600 w 982797"/>
                      <a:gd name="connsiteY58" fmla="*/ 602891 h 976639"/>
                      <a:gd name="connsiteX59" fmla="*/ 104742 w 982797"/>
                      <a:gd name="connsiteY59" fmla="*/ 542824 h 976639"/>
                      <a:gd name="connsiteX60" fmla="*/ 106971 w 982797"/>
                      <a:gd name="connsiteY60" fmla="*/ 536150 h 976639"/>
                      <a:gd name="connsiteX61" fmla="*/ 104742 w 982797"/>
                      <a:gd name="connsiteY61" fmla="*/ 496106 h 976639"/>
                      <a:gd name="connsiteX62" fmla="*/ 102514 w 982797"/>
                      <a:gd name="connsiteY62" fmla="*/ 489432 h 976639"/>
                      <a:gd name="connsiteX63" fmla="*/ 4457 w 982797"/>
                      <a:gd name="connsiteY63" fmla="*/ 444938 h 976639"/>
                      <a:gd name="connsiteX64" fmla="*/ 0 w 982797"/>
                      <a:gd name="connsiteY64" fmla="*/ 440489 h 976639"/>
                      <a:gd name="connsiteX65" fmla="*/ 15600 w 982797"/>
                      <a:gd name="connsiteY65" fmla="*/ 353726 h 976639"/>
                      <a:gd name="connsiteX66" fmla="*/ 20057 w 982797"/>
                      <a:gd name="connsiteY66" fmla="*/ 351501 h 976639"/>
                      <a:gd name="connsiteX67" fmla="*/ 129257 w 982797"/>
                      <a:gd name="connsiteY67" fmla="*/ 342602 h 976639"/>
                      <a:gd name="connsiteX68" fmla="*/ 135942 w 982797"/>
                      <a:gd name="connsiteY68" fmla="*/ 340377 h 976639"/>
                      <a:gd name="connsiteX69" fmla="*/ 151542 w 982797"/>
                      <a:gd name="connsiteY69" fmla="*/ 302558 h 976639"/>
                      <a:gd name="connsiteX70" fmla="*/ 151542 w 982797"/>
                      <a:gd name="connsiteY70" fmla="*/ 295884 h 976639"/>
                      <a:gd name="connsiteX71" fmla="*/ 91371 w 982797"/>
                      <a:gd name="connsiteY71" fmla="*/ 209121 h 976639"/>
                      <a:gd name="connsiteX72" fmla="*/ 91371 w 982797"/>
                      <a:gd name="connsiteY72" fmla="*/ 200222 h 976639"/>
                      <a:gd name="connsiteX73" fmla="*/ 147085 w 982797"/>
                      <a:gd name="connsiteY73" fmla="*/ 133481 h 976639"/>
                      <a:gd name="connsiteX74" fmla="*/ 153771 w 982797"/>
                      <a:gd name="connsiteY74" fmla="*/ 133481 h 976639"/>
                      <a:gd name="connsiteX75" fmla="*/ 249599 w 982797"/>
                      <a:gd name="connsiteY75" fmla="*/ 180200 h 976639"/>
                      <a:gd name="connsiteX76" fmla="*/ 256285 w 982797"/>
                      <a:gd name="connsiteY76" fmla="*/ 180200 h 976639"/>
                      <a:gd name="connsiteX77" fmla="*/ 289713 w 982797"/>
                      <a:gd name="connsiteY77" fmla="*/ 157953 h 976639"/>
                      <a:gd name="connsiteX78" fmla="*/ 283027 w 982797"/>
                      <a:gd name="connsiteY78" fmla="*/ 44493 h 976639"/>
                      <a:gd name="connsiteX79" fmla="*/ 369942 w 982797"/>
                      <a:gd name="connsiteY79" fmla="*/ 11123 h 976639"/>
                      <a:gd name="connsiteX80" fmla="*/ 439027 w 982797"/>
                      <a:gd name="connsiteY80" fmla="*/ 106785 h 976639"/>
                      <a:gd name="connsiteX81" fmla="*/ 481370 w 982797"/>
                      <a:gd name="connsiteY81" fmla="*/ 102335 h 976639"/>
                      <a:gd name="connsiteX82" fmla="*/ 532627 w 982797"/>
                      <a:gd name="connsiteY8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31254 w 982797"/>
                      <a:gd name="connsiteY21" fmla="*/ 678531 h 976639"/>
                      <a:gd name="connsiteX22" fmla="*/ 895883 w 982797"/>
                      <a:gd name="connsiteY22" fmla="*/ 767518 h 976639"/>
                      <a:gd name="connsiteX23" fmla="*/ 895883 w 982797"/>
                      <a:gd name="connsiteY23" fmla="*/ 774192 h 976639"/>
                      <a:gd name="connsiteX24" fmla="*/ 835711 w 982797"/>
                      <a:gd name="connsiteY24" fmla="*/ 840933 h 976639"/>
                      <a:gd name="connsiteX25" fmla="*/ 831254 w 982797"/>
                      <a:gd name="connsiteY25" fmla="*/ 840933 h 976639"/>
                      <a:gd name="connsiteX26" fmla="*/ 733197 w 982797"/>
                      <a:gd name="connsiteY26" fmla="*/ 791990 h 976639"/>
                      <a:gd name="connsiteX27" fmla="*/ 728740 w 982797"/>
                      <a:gd name="connsiteY27" fmla="*/ 791990 h 976639"/>
                      <a:gd name="connsiteX28" fmla="*/ 695312 w 982797"/>
                      <a:gd name="connsiteY28" fmla="*/ 814237 h 976639"/>
                      <a:gd name="connsiteX29" fmla="*/ 690855 w 982797"/>
                      <a:gd name="connsiteY29" fmla="*/ 823135 h 976639"/>
                      <a:gd name="connsiteX30" fmla="*/ 701998 w 982797"/>
                      <a:gd name="connsiteY30" fmla="*/ 929921 h 976639"/>
                      <a:gd name="connsiteX31" fmla="*/ 697540 w 982797"/>
                      <a:gd name="connsiteY31" fmla="*/ 934370 h 976639"/>
                      <a:gd name="connsiteX32" fmla="*/ 612855 w 982797"/>
                      <a:gd name="connsiteY32" fmla="*/ 963291 h 976639"/>
                      <a:gd name="connsiteX33" fmla="*/ 608398 w 982797"/>
                      <a:gd name="connsiteY33" fmla="*/ 963291 h 976639"/>
                      <a:gd name="connsiteX34" fmla="*/ 548227 w 982797"/>
                      <a:gd name="connsiteY34" fmla="*/ 874303 h 976639"/>
                      <a:gd name="connsiteX35" fmla="*/ 543770 w 982797"/>
                      <a:gd name="connsiteY35" fmla="*/ 869854 h 976639"/>
                      <a:gd name="connsiteX36" fmla="*/ 501427 w 982797"/>
                      <a:gd name="connsiteY36" fmla="*/ 874303 h 976639"/>
                      <a:gd name="connsiteX37" fmla="*/ 494741 w 982797"/>
                      <a:gd name="connsiteY37" fmla="*/ 876528 h 976639"/>
                      <a:gd name="connsiteX38" fmla="*/ 450170 w 982797"/>
                      <a:gd name="connsiteY38" fmla="*/ 974414 h 976639"/>
                      <a:gd name="connsiteX39" fmla="*/ 445713 w 982797"/>
                      <a:gd name="connsiteY39" fmla="*/ 976639 h 976639"/>
                      <a:gd name="connsiteX40" fmla="*/ 356570 w 982797"/>
                      <a:gd name="connsiteY40" fmla="*/ 958842 h 976639"/>
                      <a:gd name="connsiteX41" fmla="*/ 352113 w 982797"/>
                      <a:gd name="connsiteY41" fmla="*/ 956617 h 976639"/>
                      <a:gd name="connsiteX42" fmla="*/ 347656 w 982797"/>
                      <a:gd name="connsiteY42" fmla="*/ 847607 h 976639"/>
                      <a:gd name="connsiteX43" fmla="*/ 340970 w 982797"/>
                      <a:gd name="connsiteY43" fmla="*/ 843158 h 976639"/>
                      <a:gd name="connsiteX44" fmla="*/ 305313 w 982797"/>
                      <a:gd name="connsiteY44" fmla="*/ 825360 h 976639"/>
                      <a:gd name="connsiteX45" fmla="*/ 296399 w 982797"/>
                      <a:gd name="connsiteY45" fmla="*/ 825360 h 976639"/>
                      <a:gd name="connsiteX46" fmla="*/ 211713 w 982797"/>
                      <a:gd name="connsiteY46" fmla="*/ 887652 h 976639"/>
                      <a:gd name="connsiteX47" fmla="*/ 205028 w 982797"/>
                      <a:gd name="connsiteY47" fmla="*/ 887652 h 976639"/>
                      <a:gd name="connsiteX48" fmla="*/ 138171 w 982797"/>
                      <a:gd name="connsiteY48" fmla="*/ 829810 h 976639"/>
                      <a:gd name="connsiteX49" fmla="*/ 135942 w 982797"/>
                      <a:gd name="connsiteY49" fmla="*/ 823135 h 976639"/>
                      <a:gd name="connsiteX50" fmla="*/ 182742 w 982797"/>
                      <a:gd name="connsiteY50" fmla="*/ 725249 h 976639"/>
                      <a:gd name="connsiteX51" fmla="*/ 182742 w 982797"/>
                      <a:gd name="connsiteY51" fmla="*/ 720800 h 976639"/>
                      <a:gd name="connsiteX52" fmla="*/ 160457 w 982797"/>
                      <a:gd name="connsiteY52" fmla="*/ 687429 h 976639"/>
                      <a:gd name="connsiteX53" fmla="*/ 153771 w 982797"/>
                      <a:gd name="connsiteY53" fmla="*/ 685205 h 976639"/>
                      <a:gd name="connsiteX54" fmla="*/ 49028 w 982797"/>
                      <a:gd name="connsiteY54" fmla="*/ 696328 h 976639"/>
                      <a:gd name="connsiteX55" fmla="*/ 42343 w 982797"/>
                      <a:gd name="connsiteY55" fmla="*/ 691879 h 976639"/>
                      <a:gd name="connsiteX56" fmla="*/ 11143 w 982797"/>
                      <a:gd name="connsiteY56" fmla="*/ 609565 h 976639"/>
                      <a:gd name="connsiteX57" fmla="*/ 15600 w 982797"/>
                      <a:gd name="connsiteY57" fmla="*/ 602891 h 976639"/>
                      <a:gd name="connsiteX58" fmla="*/ 104742 w 982797"/>
                      <a:gd name="connsiteY58" fmla="*/ 542824 h 976639"/>
                      <a:gd name="connsiteX59" fmla="*/ 106971 w 982797"/>
                      <a:gd name="connsiteY59" fmla="*/ 536150 h 976639"/>
                      <a:gd name="connsiteX60" fmla="*/ 104742 w 982797"/>
                      <a:gd name="connsiteY60" fmla="*/ 496106 h 976639"/>
                      <a:gd name="connsiteX61" fmla="*/ 102514 w 982797"/>
                      <a:gd name="connsiteY61" fmla="*/ 489432 h 976639"/>
                      <a:gd name="connsiteX62" fmla="*/ 4457 w 982797"/>
                      <a:gd name="connsiteY62" fmla="*/ 444938 h 976639"/>
                      <a:gd name="connsiteX63" fmla="*/ 0 w 982797"/>
                      <a:gd name="connsiteY63" fmla="*/ 440489 h 976639"/>
                      <a:gd name="connsiteX64" fmla="*/ 15600 w 982797"/>
                      <a:gd name="connsiteY64" fmla="*/ 353726 h 976639"/>
                      <a:gd name="connsiteX65" fmla="*/ 20057 w 982797"/>
                      <a:gd name="connsiteY65" fmla="*/ 351501 h 976639"/>
                      <a:gd name="connsiteX66" fmla="*/ 129257 w 982797"/>
                      <a:gd name="connsiteY66" fmla="*/ 342602 h 976639"/>
                      <a:gd name="connsiteX67" fmla="*/ 135942 w 982797"/>
                      <a:gd name="connsiteY67" fmla="*/ 340377 h 976639"/>
                      <a:gd name="connsiteX68" fmla="*/ 151542 w 982797"/>
                      <a:gd name="connsiteY68" fmla="*/ 302558 h 976639"/>
                      <a:gd name="connsiteX69" fmla="*/ 151542 w 982797"/>
                      <a:gd name="connsiteY69" fmla="*/ 295884 h 976639"/>
                      <a:gd name="connsiteX70" fmla="*/ 91371 w 982797"/>
                      <a:gd name="connsiteY70" fmla="*/ 209121 h 976639"/>
                      <a:gd name="connsiteX71" fmla="*/ 91371 w 982797"/>
                      <a:gd name="connsiteY71" fmla="*/ 200222 h 976639"/>
                      <a:gd name="connsiteX72" fmla="*/ 147085 w 982797"/>
                      <a:gd name="connsiteY72" fmla="*/ 133481 h 976639"/>
                      <a:gd name="connsiteX73" fmla="*/ 153771 w 982797"/>
                      <a:gd name="connsiteY73" fmla="*/ 133481 h 976639"/>
                      <a:gd name="connsiteX74" fmla="*/ 249599 w 982797"/>
                      <a:gd name="connsiteY74" fmla="*/ 180200 h 976639"/>
                      <a:gd name="connsiteX75" fmla="*/ 256285 w 982797"/>
                      <a:gd name="connsiteY75" fmla="*/ 180200 h 976639"/>
                      <a:gd name="connsiteX76" fmla="*/ 289713 w 982797"/>
                      <a:gd name="connsiteY76" fmla="*/ 157953 h 976639"/>
                      <a:gd name="connsiteX77" fmla="*/ 283027 w 982797"/>
                      <a:gd name="connsiteY77" fmla="*/ 44493 h 976639"/>
                      <a:gd name="connsiteX78" fmla="*/ 369942 w 982797"/>
                      <a:gd name="connsiteY78" fmla="*/ 11123 h 976639"/>
                      <a:gd name="connsiteX79" fmla="*/ 439027 w 982797"/>
                      <a:gd name="connsiteY79" fmla="*/ 106785 h 976639"/>
                      <a:gd name="connsiteX80" fmla="*/ 481370 w 982797"/>
                      <a:gd name="connsiteY80" fmla="*/ 102335 h 976639"/>
                      <a:gd name="connsiteX81" fmla="*/ 532627 w 982797"/>
                      <a:gd name="connsiteY8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67518 h 976639"/>
                      <a:gd name="connsiteX22" fmla="*/ 895883 w 982797"/>
                      <a:gd name="connsiteY22" fmla="*/ 774192 h 976639"/>
                      <a:gd name="connsiteX23" fmla="*/ 835711 w 982797"/>
                      <a:gd name="connsiteY23" fmla="*/ 840933 h 976639"/>
                      <a:gd name="connsiteX24" fmla="*/ 831254 w 982797"/>
                      <a:gd name="connsiteY24" fmla="*/ 840933 h 976639"/>
                      <a:gd name="connsiteX25" fmla="*/ 733197 w 982797"/>
                      <a:gd name="connsiteY25" fmla="*/ 791990 h 976639"/>
                      <a:gd name="connsiteX26" fmla="*/ 728740 w 982797"/>
                      <a:gd name="connsiteY26" fmla="*/ 791990 h 976639"/>
                      <a:gd name="connsiteX27" fmla="*/ 695312 w 982797"/>
                      <a:gd name="connsiteY27" fmla="*/ 814237 h 976639"/>
                      <a:gd name="connsiteX28" fmla="*/ 690855 w 982797"/>
                      <a:gd name="connsiteY28" fmla="*/ 823135 h 976639"/>
                      <a:gd name="connsiteX29" fmla="*/ 701998 w 982797"/>
                      <a:gd name="connsiteY29" fmla="*/ 929921 h 976639"/>
                      <a:gd name="connsiteX30" fmla="*/ 697540 w 982797"/>
                      <a:gd name="connsiteY30" fmla="*/ 934370 h 976639"/>
                      <a:gd name="connsiteX31" fmla="*/ 612855 w 982797"/>
                      <a:gd name="connsiteY31" fmla="*/ 963291 h 976639"/>
                      <a:gd name="connsiteX32" fmla="*/ 608398 w 982797"/>
                      <a:gd name="connsiteY32" fmla="*/ 963291 h 976639"/>
                      <a:gd name="connsiteX33" fmla="*/ 548227 w 982797"/>
                      <a:gd name="connsiteY33" fmla="*/ 874303 h 976639"/>
                      <a:gd name="connsiteX34" fmla="*/ 543770 w 982797"/>
                      <a:gd name="connsiteY34" fmla="*/ 869854 h 976639"/>
                      <a:gd name="connsiteX35" fmla="*/ 501427 w 982797"/>
                      <a:gd name="connsiteY35" fmla="*/ 874303 h 976639"/>
                      <a:gd name="connsiteX36" fmla="*/ 494741 w 982797"/>
                      <a:gd name="connsiteY36" fmla="*/ 876528 h 976639"/>
                      <a:gd name="connsiteX37" fmla="*/ 450170 w 982797"/>
                      <a:gd name="connsiteY37" fmla="*/ 974414 h 976639"/>
                      <a:gd name="connsiteX38" fmla="*/ 445713 w 982797"/>
                      <a:gd name="connsiteY38" fmla="*/ 976639 h 976639"/>
                      <a:gd name="connsiteX39" fmla="*/ 356570 w 982797"/>
                      <a:gd name="connsiteY39" fmla="*/ 958842 h 976639"/>
                      <a:gd name="connsiteX40" fmla="*/ 352113 w 982797"/>
                      <a:gd name="connsiteY40" fmla="*/ 956617 h 976639"/>
                      <a:gd name="connsiteX41" fmla="*/ 347656 w 982797"/>
                      <a:gd name="connsiteY41" fmla="*/ 847607 h 976639"/>
                      <a:gd name="connsiteX42" fmla="*/ 340970 w 982797"/>
                      <a:gd name="connsiteY42" fmla="*/ 843158 h 976639"/>
                      <a:gd name="connsiteX43" fmla="*/ 305313 w 982797"/>
                      <a:gd name="connsiteY43" fmla="*/ 825360 h 976639"/>
                      <a:gd name="connsiteX44" fmla="*/ 296399 w 982797"/>
                      <a:gd name="connsiteY44" fmla="*/ 825360 h 976639"/>
                      <a:gd name="connsiteX45" fmla="*/ 211713 w 982797"/>
                      <a:gd name="connsiteY45" fmla="*/ 887652 h 976639"/>
                      <a:gd name="connsiteX46" fmla="*/ 205028 w 982797"/>
                      <a:gd name="connsiteY46" fmla="*/ 887652 h 976639"/>
                      <a:gd name="connsiteX47" fmla="*/ 138171 w 982797"/>
                      <a:gd name="connsiteY47" fmla="*/ 829810 h 976639"/>
                      <a:gd name="connsiteX48" fmla="*/ 135942 w 982797"/>
                      <a:gd name="connsiteY48" fmla="*/ 823135 h 976639"/>
                      <a:gd name="connsiteX49" fmla="*/ 182742 w 982797"/>
                      <a:gd name="connsiteY49" fmla="*/ 725249 h 976639"/>
                      <a:gd name="connsiteX50" fmla="*/ 182742 w 982797"/>
                      <a:gd name="connsiteY50" fmla="*/ 720800 h 976639"/>
                      <a:gd name="connsiteX51" fmla="*/ 160457 w 982797"/>
                      <a:gd name="connsiteY51" fmla="*/ 687429 h 976639"/>
                      <a:gd name="connsiteX52" fmla="*/ 153771 w 982797"/>
                      <a:gd name="connsiteY52" fmla="*/ 685205 h 976639"/>
                      <a:gd name="connsiteX53" fmla="*/ 49028 w 982797"/>
                      <a:gd name="connsiteY53" fmla="*/ 696328 h 976639"/>
                      <a:gd name="connsiteX54" fmla="*/ 42343 w 982797"/>
                      <a:gd name="connsiteY54" fmla="*/ 691879 h 976639"/>
                      <a:gd name="connsiteX55" fmla="*/ 11143 w 982797"/>
                      <a:gd name="connsiteY55" fmla="*/ 609565 h 976639"/>
                      <a:gd name="connsiteX56" fmla="*/ 15600 w 982797"/>
                      <a:gd name="connsiteY56" fmla="*/ 602891 h 976639"/>
                      <a:gd name="connsiteX57" fmla="*/ 104742 w 982797"/>
                      <a:gd name="connsiteY57" fmla="*/ 542824 h 976639"/>
                      <a:gd name="connsiteX58" fmla="*/ 106971 w 982797"/>
                      <a:gd name="connsiteY58" fmla="*/ 536150 h 976639"/>
                      <a:gd name="connsiteX59" fmla="*/ 104742 w 982797"/>
                      <a:gd name="connsiteY59" fmla="*/ 496106 h 976639"/>
                      <a:gd name="connsiteX60" fmla="*/ 102514 w 982797"/>
                      <a:gd name="connsiteY60" fmla="*/ 489432 h 976639"/>
                      <a:gd name="connsiteX61" fmla="*/ 4457 w 982797"/>
                      <a:gd name="connsiteY61" fmla="*/ 444938 h 976639"/>
                      <a:gd name="connsiteX62" fmla="*/ 0 w 982797"/>
                      <a:gd name="connsiteY62" fmla="*/ 440489 h 976639"/>
                      <a:gd name="connsiteX63" fmla="*/ 15600 w 982797"/>
                      <a:gd name="connsiteY63" fmla="*/ 353726 h 976639"/>
                      <a:gd name="connsiteX64" fmla="*/ 20057 w 982797"/>
                      <a:gd name="connsiteY64" fmla="*/ 351501 h 976639"/>
                      <a:gd name="connsiteX65" fmla="*/ 129257 w 982797"/>
                      <a:gd name="connsiteY65" fmla="*/ 342602 h 976639"/>
                      <a:gd name="connsiteX66" fmla="*/ 135942 w 982797"/>
                      <a:gd name="connsiteY66" fmla="*/ 340377 h 976639"/>
                      <a:gd name="connsiteX67" fmla="*/ 151542 w 982797"/>
                      <a:gd name="connsiteY67" fmla="*/ 302558 h 976639"/>
                      <a:gd name="connsiteX68" fmla="*/ 151542 w 982797"/>
                      <a:gd name="connsiteY68" fmla="*/ 295884 h 976639"/>
                      <a:gd name="connsiteX69" fmla="*/ 91371 w 982797"/>
                      <a:gd name="connsiteY69" fmla="*/ 209121 h 976639"/>
                      <a:gd name="connsiteX70" fmla="*/ 91371 w 982797"/>
                      <a:gd name="connsiteY70" fmla="*/ 200222 h 976639"/>
                      <a:gd name="connsiteX71" fmla="*/ 147085 w 982797"/>
                      <a:gd name="connsiteY71" fmla="*/ 133481 h 976639"/>
                      <a:gd name="connsiteX72" fmla="*/ 153771 w 982797"/>
                      <a:gd name="connsiteY72" fmla="*/ 133481 h 976639"/>
                      <a:gd name="connsiteX73" fmla="*/ 249599 w 982797"/>
                      <a:gd name="connsiteY73" fmla="*/ 180200 h 976639"/>
                      <a:gd name="connsiteX74" fmla="*/ 256285 w 982797"/>
                      <a:gd name="connsiteY74" fmla="*/ 180200 h 976639"/>
                      <a:gd name="connsiteX75" fmla="*/ 289713 w 982797"/>
                      <a:gd name="connsiteY75" fmla="*/ 157953 h 976639"/>
                      <a:gd name="connsiteX76" fmla="*/ 283027 w 982797"/>
                      <a:gd name="connsiteY76" fmla="*/ 44493 h 976639"/>
                      <a:gd name="connsiteX77" fmla="*/ 369942 w 982797"/>
                      <a:gd name="connsiteY77" fmla="*/ 11123 h 976639"/>
                      <a:gd name="connsiteX78" fmla="*/ 439027 w 982797"/>
                      <a:gd name="connsiteY78" fmla="*/ 106785 h 976639"/>
                      <a:gd name="connsiteX79" fmla="*/ 481370 w 982797"/>
                      <a:gd name="connsiteY79" fmla="*/ 102335 h 976639"/>
                      <a:gd name="connsiteX80" fmla="*/ 532627 w 982797"/>
                      <a:gd name="connsiteY80"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831254 w 982797"/>
                      <a:gd name="connsiteY23" fmla="*/ 840933 h 976639"/>
                      <a:gd name="connsiteX24" fmla="*/ 733197 w 982797"/>
                      <a:gd name="connsiteY24" fmla="*/ 791990 h 976639"/>
                      <a:gd name="connsiteX25" fmla="*/ 728740 w 982797"/>
                      <a:gd name="connsiteY25" fmla="*/ 791990 h 976639"/>
                      <a:gd name="connsiteX26" fmla="*/ 695312 w 982797"/>
                      <a:gd name="connsiteY26" fmla="*/ 814237 h 976639"/>
                      <a:gd name="connsiteX27" fmla="*/ 690855 w 982797"/>
                      <a:gd name="connsiteY27" fmla="*/ 823135 h 976639"/>
                      <a:gd name="connsiteX28" fmla="*/ 701998 w 982797"/>
                      <a:gd name="connsiteY28" fmla="*/ 929921 h 976639"/>
                      <a:gd name="connsiteX29" fmla="*/ 697540 w 982797"/>
                      <a:gd name="connsiteY29" fmla="*/ 934370 h 976639"/>
                      <a:gd name="connsiteX30" fmla="*/ 612855 w 982797"/>
                      <a:gd name="connsiteY30" fmla="*/ 963291 h 976639"/>
                      <a:gd name="connsiteX31" fmla="*/ 608398 w 982797"/>
                      <a:gd name="connsiteY31" fmla="*/ 963291 h 976639"/>
                      <a:gd name="connsiteX32" fmla="*/ 548227 w 982797"/>
                      <a:gd name="connsiteY32" fmla="*/ 874303 h 976639"/>
                      <a:gd name="connsiteX33" fmla="*/ 543770 w 982797"/>
                      <a:gd name="connsiteY33" fmla="*/ 869854 h 976639"/>
                      <a:gd name="connsiteX34" fmla="*/ 501427 w 982797"/>
                      <a:gd name="connsiteY34" fmla="*/ 874303 h 976639"/>
                      <a:gd name="connsiteX35" fmla="*/ 494741 w 982797"/>
                      <a:gd name="connsiteY35" fmla="*/ 876528 h 976639"/>
                      <a:gd name="connsiteX36" fmla="*/ 450170 w 982797"/>
                      <a:gd name="connsiteY36" fmla="*/ 974414 h 976639"/>
                      <a:gd name="connsiteX37" fmla="*/ 445713 w 982797"/>
                      <a:gd name="connsiteY37" fmla="*/ 976639 h 976639"/>
                      <a:gd name="connsiteX38" fmla="*/ 356570 w 982797"/>
                      <a:gd name="connsiteY38" fmla="*/ 958842 h 976639"/>
                      <a:gd name="connsiteX39" fmla="*/ 352113 w 982797"/>
                      <a:gd name="connsiteY39" fmla="*/ 956617 h 976639"/>
                      <a:gd name="connsiteX40" fmla="*/ 347656 w 982797"/>
                      <a:gd name="connsiteY40" fmla="*/ 847607 h 976639"/>
                      <a:gd name="connsiteX41" fmla="*/ 340970 w 982797"/>
                      <a:gd name="connsiteY41" fmla="*/ 843158 h 976639"/>
                      <a:gd name="connsiteX42" fmla="*/ 305313 w 982797"/>
                      <a:gd name="connsiteY42" fmla="*/ 825360 h 976639"/>
                      <a:gd name="connsiteX43" fmla="*/ 296399 w 982797"/>
                      <a:gd name="connsiteY43" fmla="*/ 825360 h 976639"/>
                      <a:gd name="connsiteX44" fmla="*/ 211713 w 982797"/>
                      <a:gd name="connsiteY44" fmla="*/ 887652 h 976639"/>
                      <a:gd name="connsiteX45" fmla="*/ 205028 w 982797"/>
                      <a:gd name="connsiteY45" fmla="*/ 887652 h 976639"/>
                      <a:gd name="connsiteX46" fmla="*/ 138171 w 982797"/>
                      <a:gd name="connsiteY46" fmla="*/ 829810 h 976639"/>
                      <a:gd name="connsiteX47" fmla="*/ 135942 w 982797"/>
                      <a:gd name="connsiteY47" fmla="*/ 823135 h 976639"/>
                      <a:gd name="connsiteX48" fmla="*/ 182742 w 982797"/>
                      <a:gd name="connsiteY48" fmla="*/ 725249 h 976639"/>
                      <a:gd name="connsiteX49" fmla="*/ 182742 w 982797"/>
                      <a:gd name="connsiteY49" fmla="*/ 720800 h 976639"/>
                      <a:gd name="connsiteX50" fmla="*/ 160457 w 982797"/>
                      <a:gd name="connsiteY50" fmla="*/ 687429 h 976639"/>
                      <a:gd name="connsiteX51" fmla="*/ 153771 w 982797"/>
                      <a:gd name="connsiteY51" fmla="*/ 685205 h 976639"/>
                      <a:gd name="connsiteX52" fmla="*/ 49028 w 982797"/>
                      <a:gd name="connsiteY52" fmla="*/ 696328 h 976639"/>
                      <a:gd name="connsiteX53" fmla="*/ 42343 w 982797"/>
                      <a:gd name="connsiteY53" fmla="*/ 691879 h 976639"/>
                      <a:gd name="connsiteX54" fmla="*/ 11143 w 982797"/>
                      <a:gd name="connsiteY54" fmla="*/ 609565 h 976639"/>
                      <a:gd name="connsiteX55" fmla="*/ 15600 w 982797"/>
                      <a:gd name="connsiteY55" fmla="*/ 602891 h 976639"/>
                      <a:gd name="connsiteX56" fmla="*/ 104742 w 982797"/>
                      <a:gd name="connsiteY56" fmla="*/ 542824 h 976639"/>
                      <a:gd name="connsiteX57" fmla="*/ 106971 w 982797"/>
                      <a:gd name="connsiteY57" fmla="*/ 536150 h 976639"/>
                      <a:gd name="connsiteX58" fmla="*/ 104742 w 982797"/>
                      <a:gd name="connsiteY58" fmla="*/ 496106 h 976639"/>
                      <a:gd name="connsiteX59" fmla="*/ 102514 w 982797"/>
                      <a:gd name="connsiteY59" fmla="*/ 489432 h 976639"/>
                      <a:gd name="connsiteX60" fmla="*/ 4457 w 982797"/>
                      <a:gd name="connsiteY60" fmla="*/ 444938 h 976639"/>
                      <a:gd name="connsiteX61" fmla="*/ 0 w 982797"/>
                      <a:gd name="connsiteY61" fmla="*/ 440489 h 976639"/>
                      <a:gd name="connsiteX62" fmla="*/ 15600 w 982797"/>
                      <a:gd name="connsiteY62" fmla="*/ 353726 h 976639"/>
                      <a:gd name="connsiteX63" fmla="*/ 20057 w 982797"/>
                      <a:gd name="connsiteY63" fmla="*/ 351501 h 976639"/>
                      <a:gd name="connsiteX64" fmla="*/ 129257 w 982797"/>
                      <a:gd name="connsiteY64" fmla="*/ 342602 h 976639"/>
                      <a:gd name="connsiteX65" fmla="*/ 135942 w 982797"/>
                      <a:gd name="connsiteY65" fmla="*/ 340377 h 976639"/>
                      <a:gd name="connsiteX66" fmla="*/ 151542 w 982797"/>
                      <a:gd name="connsiteY66" fmla="*/ 302558 h 976639"/>
                      <a:gd name="connsiteX67" fmla="*/ 151542 w 982797"/>
                      <a:gd name="connsiteY67" fmla="*/ 295884 h 976639"/>
                      <a:gd name="connsiteX68" fmla="*/ 91371 w 982797"/>
                      <a:gd name="connsiteY68" fmla="*/ 209121 h 976639"/>
                      <a:gd name="connsiteX69" fmla="*/ 91371 w 982797"/>
                      <a:gd name="connsiteY69" fmla="*/ 200222 h 976639"/>
                      <a:gd name="connsiteX70" fmla="*/ 147085 w 982797"/>
                      <a:gd name="connsiteY70" fmla="*/ 133481 h 976639"/>
                      <a:gd name="connsiteX71" fmla="*/ 153771 w 982797"/>
                      <a:gd name="connsiteY71" fmla="*/ 133481 h 976639"/>
                      <a:gd name="connsiteX72" fmla="*/ 249599 w 982797"/>
                      <a:gd name="connsiteY72" fmla="*/ 180200 h 976639"/>
                      <a:gd name="connsiteX73" fmla="*/ 256285 w 982797"/>
                      <a:gd name="connsiteY73" fmla="*/ 180200 h 976639"/>
                      <a:gd name="connsiteX74" fmla="*/ 289713 w 982797"/>
                      <a:gd name="connsiteY74" fmla="*/ 157953 h 976639"/>
                      <a:gd name="connsiteX75" fmla="*/ 283027 w 982797"/>
                      <a:gd name="connsiteY75" fmla="*/ 44493 h 976639"/>
                      <a:gd name="connsiteX76" fmla="*/ 369942 w 982797"/>
                      <a:gd name="connsiteY76" fmla="*/ 11123 h 976639"/>
                      <a:gd name="connsiteX77" fmla="*/ 439027 w 982797"/>
                      <a:gd name="connsiteY77" fmla="*/ 106785 h 976639"/>
                      <a:gd name="connsiteX78" fmla="*/ 481370 w 982797"/>
                      <a:gd name="connsiteY78" fmla="*/ 102335 h 976639"/>
                      <a:gd name="connsiteX79" fmla="*/ 532627 w 982797"/>
                      <a:gd name="connsiteY79"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33197 w 982797"/>
                      <a:gd name="connsiteY23" fmla="*/ 791990 h 976639"/>
                      <a:gd name="connsiteX24" fmla="*/ 728740 w 982797"/>
                      <a:gd name="connsiteY24" fmla="*/ 791990 h 976639"/>
                      <a:gd name="connsiteX25" fmla="*/ 695312 w 982797"/>
                      <a:gd name="connsiteY25" fmla="*/ 814237 h 976639"/>
                      <a:gd name="connsiteX26" fmla="*/ 690855 w 982797"/>
                      <a:gd name="connsiteY26" fmla="*/ 823135 h 976639"/>
                      <a:gd name="connsiteX27" fmla="*/ 701998 w 982797"/>
                      <a:gd name="connsiteY27" fmla="*/ 929921 h 976639"/>
                      <a:gd name="connsiteX28" fmla="*/ 697540 w 982797"/>
                      <a:gd name="connsiteY28" fmla="*/ 934370 h 976639"/>
                      <a:gd name="connsiteX29" fmla="*/ 612855 w 982797"/>
                      <a:gd name="connsiteY29" fmla="*/ 963291 h 976639"/>
                      <a:gd name="connsiteX30" fmla="*/ 608398 w 982797"/>
                      <a:gd name="connsiteY30" fmla="*/ 963291 h 976639"/>
                      <a:gd name="connsiteX31" fmla="*/ 548227 w 982797"/>
                      <a:gd name="connsiteY31" fmla="*/ 874303 h 976639"/>
                      <a:gd name="connsiteX32" fmla="*/ 543770 w 982797"/>
                      <a:gd name="connsiteY32" fmla="*/ 869854 h 976639"/>
                      <a:gd name="connsiteX33" fmla="*/ 501427 w 982797"/>
                      <a:gd name="connsiteY33" fmla="*/ 874303 h 976639"/>
                      <a:gd name="connsiteX34" fmla="*/ 494741 w 982797"/>
                      <a:gd name="connsiteY34" fmla="*/ 876528 h 976639"/>
                      <a:gd name="connsiteX35" fmla="*/ 450170 w 982797"/>
                      <a:gd name="connsiteY35" fmla="*/ 974414 h 976639"/>
                      <a:gd name="connsiteX36" fmla="*/ 445713 w 982797"/>
                      <a:gd name="connsiteY36" fmla="*/ 976639 h 976639"/>
                      <a:gd name="connsiteX37" fmla="*/ 356570 w 982797"/>
                      <a:gd name="connsiteY37" fmla="*/ 958842 h 976639"/>
                      <a:gd name="connsiteX38" fmla="*/ 352113 w 982797"/>
                      <a:gd name="connsiteY38" fmla="*/ 956617 h 976639"/>
                      <a:gd name="connsiteX39" fmla="*/ 347656 w 982797"/>
                      <a:gd name="connsiteY39" fmla="*/ 847607 h 976639"/>
                      <a:gd name="connsiteX40" fmla="*/ 340970 w 982797"/>
                      <a:gd name="connsiteY40" fmla="*/ 843158 h 976639"/>
                      <a:gd name="connsiteX41" fmla="*/ 305313 w 982797"/>
                      <a:gd name="connsiteY41" fmla="*/ 825360 h 976639"/>
                      <a:gd name="connsiteX42" fmla="*/ 296399 w 982797"/>
                      <a:gd name="connsiteY42" fmla="*/ 825360 h 976639"/>
                      <a:gd name="connsiteX43" fmla="*/ 211713 w 982797"/>
                      <a:gd name="connsiteY43" fmla="*/ 887652 h 976639"/>
                      <a:gd name="connsiteX44" fmla="*/ 205028 w 982797"/>
                      <a:gd name="connsiteY44" fmla="*/ 887652 h 976639"/>
                      <a:gd name="connsiteX45" fmla="*/ 138171 w 982797"/>
                      <a:gd name="connsiteY45" fmla="*/ 829810 h 976639"/>
                      <a:gd name="connsiteX46" fmla="*/ 135942 w 982797"/>
                      <a:gd name="connsiteY46" fmla="*/ 823135 h 976639"/>
                      <a:gd name="connsiteX47" fmla="*/ 182742 w 982797"/>
                      <a:gd name="connsiteY47" fmla="*/ 725249 h 976639"/>
                      <a:gd name="connsiteX48" fmla="*/ 182742 w 982797"/>
                      <a:gd name="connsiteY48" fmla="*/ 720800 h 976639"/>
                      <a:gd name="connsiteX49" fmla="*/ 160457 w 982797"/>
                      <a:gd name="connsiteY49" fmla="*/ 687429 h 976639"/>
                      <a:gd name="connsiteX50" fmla="*/ 153771 w 982797"/>
                      <a:gd name="connsiteY50" fmla="*/ 685205 h 976639"/>
                      <a:gd name="connsiteX51" fmla="*/ 49028 w 982797"/>
                      <a:gd name="connsiteY51" fmla="*/ 696328 h 976639"/>
                      <a:gd name="connsiteX52" fmla="*/ 42343 w 982797"/>
                      <a:gd name="connsiteY52" fmla="*/ 691879 h 976639"/>
                      <a:gd name="connsiteX53" fmla="*/ 11143 w 982797"/>
                      <a:gd name="connsiteY53" fmla="*/ 609565 h 976639"/>
                      <a:gd name="connsiteX54" fmla="*/ 15600 w 982797"/>
                      <a:gd name="connsiteY54" fmla="*/ 602891 h 976639"/>
                      <a:gd name="connsiteX55" fmla="*/ 104742 w 982797"/>
                      <a:gd name="connsiteY55" fmla="*/ 542824 h 976639"/>
                      <a:gd name="connsiteX56" fmla="*/ 106971 w 982797"/>
                      <a:gd name="connsiteY56" fmla="*/ 536150 h 976639"/>
                      <a:gd name="connsiteX57" fmla="*/ 104742 w 982797"/>
                      <a:gd name="connsiteY57" fmla="*/ 496106 h 976639"/>
                      <a:gd name="connsiteX58" fmla="*/ 102514 w 982797"/>
                      <a:gd name="connsiteY58" fmla="*/ 489432 h 976639"/>
                      <a:gd name="connsiteX59" fmla="*/ 4457 w 982797"/>
                      <a:gd name="connsiteY59" fmla="*/ 444938 h 976639"/>
                      <a:gd name="connsiteX60" fmla="*/ 0 w 982797"/>
                      <a:gd name="connsiteY60" fmla="*/ 440489 h 976639"/>
                      <a:gd name="connsiteX61" fmla="*/ 15600 w 982797"/>
                      <a:gd name="connsiteY61" fmla="*/ 353726 h 976639"/>
                      <a:gd name="connsiteX62" fmla="*/ 20057 w 982797"/>
                      <a:gd name="connsiteY62" fmla="*/ 351501 h 976639"/>
                      <a:gd name="connsiteX63" fmla="*/ 129257 w 982797"/>
                      <a:gd name="connsiteY63" fmla="*/ 342602 h 976639"/>
                      <a:gd name="connsiteX64" fmla="*/ 135942 w 982797"/>
                      <a:gd name="connsiteY64" fmla="*/ 340377 h 976639"/>
                      <a:gd name="connsiteX65" fmla="*/ 151542 w 982797"/>
                      <a:gd name="connsiteY65" fmla="*/ 302558 h 976639"/>
                      <a:gd name="connsiteX66" fmla="*/ 151542 w 982797"/>
                      <a:gd name="connsiteY66" fmla="*/ 295884 h 976639"/>
                      <a:gd name="connsiteX67" fmla="*/ 91371 w 982797"/>
                      <a:gd name="connsiteY67" fmla="*/ 209121 h 976639"/>
                      <a:gd name="connsiteX68" fmla="*/ 91371 w 982797"/>
                      <a:gd name="connsiteY68" fmla="*/ 200222 h 976639"/>
                      <a:gd name="connsiteX69" fmla="*/ 147085 w 982797"/>
                      <a:gd name="connsiteY69" fmla="*/ 133481 h 976639"/>
                      <a:gd name="connsiteX70" fmla="*/ 153771 w 982797"/>
                      <a:gd name="connsiteY70" fmla="*/ 133481 h 976639"/>
                      <a:gd name="connsiteX71" fmla="*/ 249599 w 982797"/>
                      <a:gd name="connsiteY71" fmla="*/ 180200 h 976639"/>
                      <a:gd name="connsiteX72" fmla="*/ 256285 w 982797"/>
                      <a:gd name="connsiteY72" fmla="*/ 180200 h 976639"/>
                      <a:gd name="connsiteX73" fmla="*/ 289713 w 982797"/>
                      <a:gd name="connsiteY73" fmla="*/ 157953 h 976639"/>
                      <a:gd name="connsiteX74" fmla="*/ 283027 w 982797"/>
                      <a:gd name="connsiteY74" fmla="*/ 44493 h 976639"/>
                      <a:gd name="connsiteX75" fmla="*/ 369942 w 982797"/>
                      <a:gd name="connsiteY75" fmla="*/ 11123 h 976639"/>
                      <a:gd name="connsiteX76" fmla="*/ 439027 w 982797"/>
                      <a:gd name="connsiteY76" fmla="*/ 106785 h 976639"/>
                      <a:gd name="connsiteX77" fmla="*/ 481370 w 982797"/>
                      <a:gd name="connsiteY77" fmla="*/ 102335 h 976639"/>
                      <a:gd name="connsiteX78" fmla="*/ 532627 w 982797"/>
                      <a:gd name="connsiteY78"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5312 w 982797"/>
                      <a:gd name="connsiteY24" fmla="*/ 814237 h 976639"/>
                      <a:gd name="connsiteX25" fmla="*/ 690855 w 982797"/>
                      <a:gd name="connsiteY25" fmla="*/ 823135 h 976639"/>
                      <a:gd name="connsiteX26" fmla="*/ 701998 w 982797"/>
                      <a:gd name="connsiteY26" fmla="*/ 929921 h 976639"/>
                      <a:gd name="connsiteX27" fmla="*/ 697540 w 982797"/>
                      <a:gd name="connsiteY27" fmla="*/ 934370 h 976639"/>
                      <a:gd name="connsiteX28" fmla="*/ 612855 w 982797"/>
                      <a:gd name="connsiteY28" fmla="*/ 963291 h 976639"/>
                      <a:gd name="connsiteX29" fmla="*/ 608398 w 982797"/>
                      <a:gd name="connsiteY29" fmla="*/ 963291 h 976639"/>
                      <a:gd name="connsiteX30" fmla="*/ 548227 w 982797"/>
                      <a:gd name="connsiteY30" fmla="*/ 874303 h 976639"/>
                      <a:gd name="connsiteX31" fmla="*/ 543770 w 982797"/>
                      <a:gd name="connsiteY31" fmla="*/ 869854 h 976639"/>
                      <a:gd name="connsiteX32" fmla="*/ 501427 w 982797"/>
                      <a:gd name="connsiteY32" fmla="*/ 874303 h 976639"/>
                      <a:gd name="connsiteX33" fmla="*/ 494741 w 982797"/>
                      <a:gd name="connsiteY33" fmla="*/ 876528 h 976639"/>
                      <a:gd name="connsiteX34" fmla="*/ 450170 w 982797"/>
                      <a:gd name="connsiteY34" fmla="*/ 974414 h 976639"/>
                      <a:gd name="connsiteX35" fmla="*/ 445713 w 982797"/>
                      <a:gd name="connsiteY35" fmla="*/ 976639 h 976639"/>
                      <a:gd name="connsiteX36" fmla="*/ 356570 w 982797"/>
                      <a:gd name="connsiteY36" fmla="*/ 958842 h 976639"/>
                      <a:gd name="connsiteX37" fmla="*/ 352113 w 982797"/>
                      <a:gd name="connsiteY37" fmla="*/ 956617 h 976639"/>
                      <a:gd name="connsiteX38" fmla="*/ 347656 w 982797"/>
                      <a:gd name="connsiteY38" fmla="*/ 847607 h 976639"/>
                      <a:gd name="connsiteX39" fmla="*/ 340970 w 982797"/>
                      <a:gd name="connsiteY39" fmla="*/ 843158 h 976639"/>
                      <a:gd name="connsiteX40" fmla="*/ 305313 w 982797"/>
                      <a:gd name="connsiteY40" fmla="*/ 825360 h 976639"/>
                      <a:gd name="connsiteX41" fmla="*/ 296399 w 982797"/>
                      <a:gd name="connsiteY41" fmla="*/ 825360 h 976639"/>
                      <a:gd name="connsiteX42" fmla="*/ 211713 w 982797"/>
                      <a:gd name="connsiteY42" fmla="*/ 887652 h 976639"/>
                      <a:gd name="connsiteX43" fmla="*/ 205028 w 982797"/>
                      <a:gd name="connsiteY43" fmla="*/ 887652 h 976639"/>
                      <a:gd name="connsiteX44" fmla="*/ 138171 w 982797"/>
                      <a:gd name="connsiteY44" fmla="*/ 829810 h 976639"/>
                      <a:gd name="connsiteX45" fmla="*/ 135942 w 982797"/>
                      <a:gd name="connsiteY45" fmla="*/ 823135 h 976639"/>
                      <a:gd name="connsiteX46" fmla="*/ 182742 w 982797"/>
                      <a:gd name="connsiteY46" fmla="*/ 725249 h 976639"/>
                      <a:gd name="connsiteX47" fmla="*/ 182742 w 982797"/>
                      <a:gd name="connsiteY47" fmla="*/ 720800 h 976639"/>
                      <a:gd name="connsiteX48" fmla="*/ 160457 w 982797"/>
                      <a:gd name="connsiteY48" fmla="*/ 687429 h 976639"/>
                      <a:gd name="connsiteX49" fmla="*/ 153771 w 982797"/>
                      <a:gd name="connsiteY49" fmla="*/ 685205 h 976639"/>
                      <a:gd name="connsiteX50" fmla="*/ 49028 w 982797"/>
                      <a:gd name="connsiteY50" fmla="*/ 696328 h 976639"/>
                      <a:gd name="connsiteX51" fmla="*/ 42343 w 982797"/>
                      <a:gd name="connsiteY51" fmla="*/ 691879 h 976639"/>
                      <a:gd name="connsiteX52" fmla="*/ 11143 w 982797"/>
                      <a:gd name="connsiteY52" fmla="*/ 609565 h 976639"/>
                      <a:gd name="connsiteX53" fmla="*/ 15600 w 982797"/>
                      <a:gd name="connsiteY53" fmla="*/ 602891 h 976639"/>
                      <a:gd name="connsiteX54" fmla="*/ 104742 w 982797"/>
                      <a:gd name="connsiteY54" fmla="*/ 542824 h 976639"/>
                      <a:gd name="connsiteX55" fmla="*/ 106971 w 982797"/>
                      <a:gd name="connsiteY55" fmla="*/ 536150 h 976639"/>
                      <a:gd name="connsiteX56" fmla="*/ 104742 w 982797"/>
                      <a:gd name="connsiteY56" fmla="*/ 496106 h 976639"/>
                      <a:gd name="connsiteX57" fmla="*/ 102514 w 982797"/>
                      <a:gd name="connsiteY57" fmla="*/ 489432 h 976639"/>
                      <a:gd name="connsiteX58" fmla="*/ 4457 w 982797"/>
                      <a:gd name="connsiteY58" fmla="*/ 444938 h 976639"/>
                      <a:gd name="connsiteX59" fmla="*/ 0 w 982797"/>
                      <a:gd name="connsiteY59" fmla="*/ 440489 h 976639"/>
                      <a:gd name="connsiteX60" fmla="*/ 15600 w 982797"/>
                      <a:gd name="connsiteY60" fmla="*/ 353726 h 976639"/>
                      <a:gd name="connsiteX61" fmla="*/ 20057 w 982797"/>
                      <a:gd name="connsiteY61" fmla="*/ 351501 h 976639"/>
                      <a:gd name="connsiteX62" fmla="*/ 129257 w 982797"/>
                      <a:gd name="connsiteY62" fmla="*/ 342602 h 976639"/>
                      <a:gd name="connsiteX63" fmla="*/ 135942 w 982797"/>
                      <a:gd name="connsiteY63" fmla="*/ 340377 h 976639"/>
                      <a:gd name="connsiteX64" fmla="*/ 151542 w 982797"/>
                      <a:gd name="connsiteY64" fmla="*/ 302558 h 976639"/>
                      <a:gd name="connsiteX65" fmla="*/ 151542 w 982797"/>
                      <a:gd name="connsiteY65" fmla="*/ 295884 h 976639"/>
                      <a:gd name="connsiteX66" fmla="*/ 91371 w 982797"/>
                      <a:gd name="connsiteY66" fmla="*/ 209121 h 976639"/>
                      <a:gd name="connsiteX67" fmla="*/ 91371 w 982797"/>
                      <a:gd name="connsiteY67" fmla="*/ 200222 h 976639"/>
                      <a:gd name="connsiteX68" fmla="*/ 147085 w 982797"/>
                      <a:gd name="connsiteY68" fmla="*/ 133481 h 976639"/>
                      <a:gd name="connsiteX69" fmla="*/ 153771 w 982797"/>
                      <a:gd name="connsiteY69" fmla="*/ 133481 h 976639"/>
                      <a:gd name="connsiteX70" fmla="*/ 249599 w 982797"/>
                      <a:gd name="connsiteY70" fmla="*/ 180200 h 976639"/>
                      <a:gd name="connsiteX71" fmla="*/ 256285 w 982797"/>
                      <a:gd name="connsiteY71" fmla="*/ 180200 h 976639"/>
                      <a:gd name="connsiteX72" fmla="*/ 289713 w 982797"/>
                      <a:gd name="connsiteY72" fmla="*/ 157953 h 976639"/>
                      <a:gd name="connsiteX73" fmla="*/ 283027 w 982797"/>
                      <a:gd name="connsiteY73" fmla="*/ 44493 h 976639"/>
                      <a:gd name="connsiteX74" fmla="*/ 369942 w 982797"/>
                      <a:gd name="connsiteY74" fmla="*/ 11123 h 976639"/>
                      <a:gd name="connsiteX75" fmla="*/ 439027 w 982797"/>
                      <a:gd name="connsiteY75" fmla="*/ 106785 h 976639"/>
                      <a:gd name="connsiteX76" fmla="*/ 481370 w 982797"/>
                      <a:gd name="connsiteY76" fmla="*/ 102335 h 976639"/>
                      <a:gd name="connsiteX77" fmla="*/ 532627 w 982797"/>
                      <a:gd name="connsiteY77"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97540 w 982797"/>
                      <a:gd name="connsiteY26" fmla="*/ 934370 h 976639"/>
                      <a:gd name="connsiteX27" fmla="*/ 612855 w 982797"/>
                      <a:gd name="connsiteY27" fmla="*/ 963291 h 976639"/>
                      <a:gd name="connsiteX28" fmla="*/ 608398 w 982797"/>
                      <a:gd name="connsiteY28" fmla="*/ 963291 h 976639"/>
                      <a:gd name="connsiteX29" fmla="*/ 548227 w 982797"/>
                      <a:gd name="connsiteY29" fmla="*/ 874303 h 976639"/>
                      <a:gd name="connsiteX30" fmla="*/ 543770 w 982797"/>
                      <a:gd name="connsiteY30" fmla="*/ 869854 h 976639"/>
                      <a:gd name="connsiteX31" fmla="*/ 501427 w 982797"/>
                      <a:gd name="connsiteY31" fmla="*/ 874303 h 976639"/>
                      <a:gd name="connsiteX32" fmla="*/ 494741 w 982797"/>
                      <a:gd name="connsiteY32" fmla="*/ 876528 h 976639"/>
                      <a:gd name="connsiteX33" fmla="*/ 450170 w 982797"/>
                      <a:gd name="connsiteY33" fmla="*/ 974414 h 976639"/>
                      <a:gd name="connsiteX34" fmla="*/ 445713 w 982797"/>
                      <a:gd name="connsiteY34" fmla="*/ 976639 h 976639"/>
                      <a:gd name="connsiteX35" fmla="*/ 356570 w 982797"/>
                      <a:gd name="connsiteY35" fmla="*/ 958842 h 976639"/>
                      <a:gd name="connsiteX36" fmla="*/ 352113 w 982797"/>
                      <a:gd name="connsiteY36" fmla="*/ 956617 h 976639"/>
                      <a:gd name="connsiteX37" fmla="*/ 347656 w 982797"/>
                      <a:gd name="connsiteY37" fmla="*/ 847607 h 976639"/>
                      <a:gd name="connsiteX38" fmla="*/ 340970 w 982797"/>
                      <a:gd name="connsiteY38" fmla="*/ 843158 h 976639"/>
                      <a:gd name="connsiteX39" fmla="*/ 305313 w 982797"/>
                      <a:gd name="connsiteY39" fmla="*/ 825360 h 976639"/>
                      <a:gd name="connsiteX40" fmla="*/ 296399 w 982797"/>
                      <a:gd name="connsiteY40" fmla="*/ 825360 h 976639"/>
                      <a:gd name="connsiteX41" fmla="*/ 211713 w 982797"/>
                      <a:gd name="connsiteY41" fmla="*/ 887652 h 976639"/>
                      <a:gd name="connsiteX42" fmla="*/ 205028 w 982797"/>
                      <a:gd name="connsiteY42" fmla="*/ 887652 h 976639"/>
                      <a:gd name="connsiteX43" fmla="*/ 138171 w 982797"/>
                      <a:gd name="connsiteY43" fmla="*/ 829810 h 976639"/>
                      <a:gd name="connsiteX44" fmla="*/ 135942 w 982797"/>
                      <a:gd name="connsiteY44" fmla="*/ 823135 h 976639"/>
                      <a:gd name="connsiteX45" fmla="*/ 182742 w 982797"/>
                      <a:gd name="connsiteY45" fmla="*/ 725249 h 976639"/>
                      <a:gd name="connsiteX46" fmla="*/ 182742 w 982797"/>
                      <a:gd name="connsiteY46" fmla="*/ 720800 h 976639"/>
                      <a:gd name="connsiteX47" fmla="*/ 160457 w 982797"/>
                      <a:gd name="connsiteY47" fmla="*/ 687429 h 976639"/>
                      <a:gd name="connsiteX48" fmla="*/ 153771 w 982797"/>
                      <a:gd name="connsiteY48" fmla="*/ 685205 h 976639"/>
                      <a:gd name="connsiteX49" fmla="*/ 49028 w 982797"/>
                      <a:gd name="connsiteY49" fmla="*/ 696328 h 976639"/>
                      <a:gd name="connsiteX50" fmla="*/ 42343 w 982797"/>
                      <a:gd name="connsiteY50" fmla="*/ 691879 h 976639"/>
                      <a:gd name="connsiteX51" fmla="*/ 11143 w 982797"/>
                      <a:gd name="connsiteY51" fmla="*/ 609565 h 976639"/>
                      <a:gd name="connsiteX52" fmla="*/ 15600 w 982797"/>
                      <a:gd name="connsiteY52" fmla="*/ 602891 h 976639"/>
                      <a:gd name="connsiteX53" fmla="*/ 104742 w 982797"/>
                      <a:gd name="connsiteY53" fmla="*/ 542824 h 976639"/>
                      <a:gd name="connsiteX54" fmla="*/ 106971 w 982797"/>
                      <a:gd name="connsiteY54" fmla="*/ 536150 h 976639"/>
                      <a:gd name="connsiteX55" fmla="*/ 104742 w 982797"/>
                      <a:gd name="connsiteY55" fmla="*/ 496106 h 976639"/>
                      <a:gd name="connsiteX56" fmla="*/ 102514 w 982797"/>
                      <a:gd name="connsiteY56" fmla="*/ 489432 h 976639"/>
                      <a:gd name="connsiteX57" fmla="*/ 4457 w 982797"/>
                      <a:gd name="connsiteY57" fmla="*/ 444938 h 976639"/>
                      <a:gd name="connsiteX58" fmla="*/ 0 w 982797"/>
                      <a:gd name="connsiteY58" fmla="*/ 440489 h 976639"/>
                      <a:gd name="connsiteX59" fmla="*/ 15600 w 982797"/>
                      <a:gd name="connsiteY59" fmla="*/ 353726 h 976639"/>
                      <a:gd name="connsiteX60" fmla="*/ 20057 w 982797"/>
                      <a:gd name="connsiteY60" fmla="*/ 351501 h 976639"/>
                      <a:gd name="connsiteX61" fmla="*/ 129257 w 982797"/>
                      <a:gd name="connsiteY61" fmla="*/ 342602 h 976639"/>
                      <a:gd name="connsiteX62" fmla="*/ 135942 w 982797"/>
                      <a:gd name="connsiteY62" fmla="*/ 340377 h 976639"/>
                      <a:gd name="connsiteX63" fmla="*/ 151542 w 982797"/>
                      <a:gd name="connsiteY63" fmla="*/ 302558 h 976639"/>
                      <a:gd name="connsiteX64" fmla="*/ 151542 w 982797"/>
                      <a:gd name="connsiteY64" fmla="*/ 295884 h 976639"/>
                      <a:gd name="connsiteX65" fmla="*/ 91371 w 982797"/>
                      <a:gd name="connsiteY65" fmla="*/ 209121 h 976639"/>
                      <a:gd name="connsiteX66" fmla="*/ 91371 w 982797"/>
                      <a:gd name="connsiteY66" fmla="*/ 200222 h 976639"/>
                      <a:gd name="connsiteX67" fmla="*/ 147085 w 982797"/>
                      <a:gd name="connsiteY67" fmla="*/ 133481 h 976639"/>
                      <a:gd name="connsiteX68" fmla="*/ 153771 w 982797"/>
                      <a:gd name="connsiteY68" fmla="*/ 133481 h 976639"/>
                      <a:gd name="connsiteX69" fmla="*/ 249599 w 982797"/>
                      <a:gd name="connsiteY69" fmla="*/ 180200 h 976639"/>
                      <a:gd name="connsiteX70" fmla="*/ 256285 w 982797"/>
                      <a:gd name="connsiteY70" fmla="*/ 180200 h 976639"/>
                      <a:gd name="connsiteX71" fmla="*/ 289713 w 982797"/>
                      <a:gd name="connsiteY71" fmla="*/ 157953 h 976639"/>
                      <a:gd name="connsiteX72" fmla="*/ 283027 w 982797"/>
                      <a:gd name="connsiteY72" fmla="*/ 44493 h 976639"/>
                      <a:gd name="connsiteX73" fmla="*/ 369942 w 982797"/>
                      <a:gd name="connsiteY73" fmla="*/ 11123 h 976639"/>
                      <a:gd name="connsiteX74" fmla="*/ 439027 w 982797"/>
                      <a:gd name="connsiteY74" fmla="*/ 106785 h 976639"/>
                      <a:gd name="connsiteX75" fmla="*/ 481370 w 982797"/>
                      <a:gd name="connsiteY75" fmla="*/ 102335 h 976639"/>
                      <a:gd name="connsiteX76" fmla="*/ 532627 w 982797"/>
                      <a:gd name="connsiteY76"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12855 w 982797"/>
                      <a:gd name="connsiteY26" fmla="*/ 963291 h 976639"/>
                      <a:gd name="connsiteX27" fmla="*/ 608398 w 982797"/>
                      <a:gd name="connsiteY27" fmla="*/ 963291 h 976639"/>
                      <a:gd name="connsiteX28" fmla="*/ 548227 w 982797"/>
                      <a:gd name="connsiteY28" fmla="*/ 874303 h 976639"/>
                      <a:gd name="connsiteX29" fmla="*/ 543770 w 982797"/>
                      <a:gd name="connsiteY29" fmla="*/ 869854 h 976639"/>
                      <a:gd name="connsiteX30" fmla="*/ 501427 w 982797"/>
                      <a:gd name="connsiteY30" fmla="*/ 874303 h 976639"/>
                      <a:gd name="connsiteX31" fmla="*/ 494741 w 982797"/>
                      <a:gd name="connsiteY31" fmla="*/ 876528 h 976639"/>
                      <a:gd name="connsiteX32" fmla="*/ 450170 w 982797"/>
                      <a:gd name="connsiteY32" fmla="*/ 974414 h 976639"/>
                      <a:gd name="connsiteX33" fmla="*/ 445713 w 982797"/>
                      <a:gd name="connsiteY33" fmla="*/ 976639 h 976639"/>
                      <a:gd name="connsiteX34" fmla="*/ 356570 w 982797"/>
                      <a:gd name="connsiteY34" fmla="*/ 958842 h 976639"/>
                      <a:gd name="connsiteX35" fmla="*/ 352113 w 982797"/>
                      <a:gd name="connsiteY35" fmla="*/ 956617 h 976639"/>
                      <a:gd name="connsiteX36" fmla="*/ 347656 w 982797"/>
                      <a:gd name="connsiteY36" fmla="*/ 847607 h 976639"/>
                      <a:gd name="connsiteX37" fmla="*/ 340970 w 982797"/>
                      <a:gd name="connsiteY37" fmla="*/ 843158 h 976639"/>
                      <a:gd name="connsiteX38" fmla="*/ 305313 w 982797"/>
                      <a:gd name="connsiteY38" fmla="*/ 825360 h 976639"/>
                      <a:gd name="connsiteX39" fmla="*/ 296399 w 982797"/>
                      <a:gd name="connsiteY39" fmla="*/ 825360 h 976639"/>
                      <a:gd name="connsiteX40" fmla="*/ 211713 w 982797"/>
                      <a:gd name="connsiteY40" fmla="*/ 887652 h 976639"/>
                      <a:gd name="connsiteX41" fmla="*/ 205028 w 982797"/>
                      <a:gd name="connsiteY41" fmla="*/ 887652 h 976639"/>
                      <a:gd name="connsiteX42" fmla="*/ 138171 w 982797"/>
                      <a:gd name="connsiteY42" fmla="*/ 829810 h 976639"/>
                      <a:gd name="connsiteX43" fmla="*/ 135942 w 982797"/>
                      <a:gd name="connsiteY43" fmla="*/ 823135 h 976639"/>
                      <a:gd name="connsiteX44" fmla="*/ 182742 w 982797"/>
                      <a:gd name="connsiteY44" fmla="*/ 725249 h 976639"/>
                      <a:gd name="connsiteX45" fmla="*/ 182742 w 982797"/>
                      <a:gd name="connsiteY45" fmla="*/ 720800 h 976639"/>
                      <a:gd name="connsiteX46" fmla="*/ 160457 w 982797"/>
                      <a:gd name="connsiteY46" fmla="*/ 687429 h 976639"/>
                      <a:gd name="connsiteX47" fmla="*/ 153771 w 982797"/>
                      <a:gd name="connsiteY47" fmla="*/ 685205 h 976639"/>
                      <a:gd name="connsiteX48" fmla="*/ 49028 w 982797"/>
                      <a:gd name="connsiteY48" fmla="*/ 696328 h 976639"/>
                      <a:gd name="connsiteX49" fmla="*/ 42343 w 982797"/>
                      <a:gd name="connsiteY49" fmla="*/ 691879 h 976639"/>
                      <a:gd name="connsiteX50" fmla="*/ 11143 w 982797"/>
                      <a:gd name="connsiteY50" fmla="*/ 609565 h 976639"/>
                      <a:gd name="connsiteX51" fmla="*/ 15600 w 982797"/>
                      <a:gd name="connsiteY51" fmla="*/ 602891 h 976639"/>
                      <a:gd name="connsiteX52" fmla="*/ 104742 w 982797"/>
                      <a:gd name="connsiteY52" fmla="*/ 542824 h 976639"/>
                      <a:gd name="connsiteX53" fmla="*/ 106971 w 982797"/>
                      <a:gd name="connsiteY53" fmla="*/ 536150 h 976639"/>
                      <a:gd name="connsiteX54" fmla="*/ 104742 w 982797"/>
                      <a:gd name="connsiteY54" fmla="*/ 496106 h 976639"/>
                      <a:gd name="connsiteX55" fmla="*/ 102514 w 982797"/>
                      <a:gd name="connsiteY55" fmla="*/ 489432 h 976639"/>
                      <a:gd name="connsiteX56" fmla="*/ 4457 w 982797"/>
                      <a:gd name="connsiteY56" fmla="*/ 444938 h 976639"/>
                      <a:gd name="connsiteX57" fmla="*/ 0 w 982797"/>
                      <a:gd name="connsiteY57" fmla="*/ 440489 h 976639"/>
                      <a:gd name="connsiteX58" fmla="*/ 15600 w 982797"/>
                      <a:gd name="connsiteY58" fmla="*/ 353726 h 976639"/>
                      <a:gd name="connsiteX59" fmla="*/ 20057 w 982797"/>
                      <a:gd name="connsiteY59" fmla="*/ 351501 h 976639"/>
                      <a:gd name="connsiteX60" fmla="*/ 129257 w 982797"/>
                      <a:gd name="connsiteY60" fmla="*/ 342602 h 976639"/>
                      <a:gd name="connsiteX61" fmla="*/ 135942 w 982797"/>
                      <a:gd name="connsiteY61" fmla="*/ 340377 h 976639"/>
                      <a:gd name="connsiteX62" fmla="*/ 151542 w 982797"/>
                      <a:gd name="connsiteY62" fmla="*/ 302558 h 976639"/>
                      <a:gd name="connsiteX63" fmla="*/ 151542 w 982797"/>
                      <a:gd name="connsiteY63" fmla="*/ 295884 h 976639"/>
                      <a:gd name="connsiteX64" fmla="*/ 91371 w 982797"/>
                      <a:gd name="connsiteY64" fmla="*/ 209121 h 976639"/>
                      <a:gd name="connsiteX65" fmla="*/ 91371 w 982797"/>
                      <a:gd name="connsiteY65" fmla="*/ 200222 h 976639"/>
                      <a:gd name="connsiteX66" fmla="*/ 147085 w 982797"/>
                      <a:gd name="connsiteY66" fmla="*/ 133481 h 976639"/>
                      <a:gd name="connsiteX67" fmla="*/ 153771 w 982797"/>
                      <a:gd name="connsiteY67" fmla="*/ 133481 h 976639"/>
                      <a:gd name="connsiteX68" fmla="*/ 249599 w 982797"/>
                      <a:gd name="connsiteY68" fmla="*/ 180200 h 976639"/>
                      <a:gd name="connsiteX69" fmla="*/ 256285 w 982797"/>
                      <a:gd name="connsiteY69" fmla="*/ 180200 h 976639"/>
                      <a:gd name="connsiteX70" fmla="*/ 289713 w 982797"/>
                      <a:gd name="connsiteY70" fmla="*/ 157953 h 976639"/>
                      <a:gd name="connsiteX71" fmla="*/ 283027 w 982797"/>
                      <a:gd name="connsiteY71" fmla="*/ 44493 h 976639"/>
                      <a:gd name="connsiteX72" fmla="*/ 369942 w 982797"/>
                      <a:gd name="connsiteY72" fmla="*/ 11123 h 976639"/>
                      <a:gd name="connsiteX73" fmla="*/ 439027 w 982797"/>
                      <a:gd name="connsiteY73" fmla="*/ 106785 h 976639"/>
                      <a:gd name="connsiteX74" fmla="*/ 481370 w 982797"/>
                      <a:gd name="connsiteY74" fmla="*/ 102335 h 976639"/>
                      <a:gd name="connsiteX75" fmla="*/ 532627 w 982797"/>
                      <a:gd name="connsiteY75"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43770 w 982797"/>
                      <a:gd name="connsiteY28" fmla="*/ 869854 h 976639"/>
                      <a:gd name="connsiteX29" fmla="*/ 501427 w 982797"/>
                      <a:gd name="connsiteY29" fmla="*/ 874303 h 976639"/>
                      <a:gd name="connsiteX30" fmla="*/ 494741 w 982797"/>
                      <a:gd name="connsiteY30" fmla="*/ 876528 h 976639"/>
                      <a:gd name="connsiteX31" fmla="*/ 450170 w 982797"/>
                      <a:gd name="connsiteY31" fmla="*/ 974414 h 976639"/>
                      <a:gd name="connsiteX32" fmla="*/ 445713 w 982797"/>
                      <a:gd name="connsiteY32" fmla="*/ 976639 h 976639"/>
                      <a:gd name="connsiteX33" fmla="*/ 356570 w 982797"/>
                      <a:gd name="connsiteY33" fmla="*/ 958842 h 976639"/>
                      <a:gd name="connsiteX34" fmla="*/ 352113 w 982797"/>
                      <a:gd name="connsiteY34" fmla="*/ 956617 h 976639"/>
                      <a:gd name="connsiteX35" fmla="*/ 347656 w 982797"/>
                      <a:gd name="connsiteY35" fmla="*/ 847607 h 976639"/>
                      <a:gd name="connsiteX36" fmla="*/ 340970 w 982797"/>
                      <a:gd name="connsiteY36" fmla="*/ 843158 h 976639"/>
                      <a:gd name="connsiteX37" fmla="*/ 305313 w 982797"/>
                      <a:gd name="connsiteY37" fmla="*/ 825360 h 976639"/>
                      <a:gd name="connsiteX38" fmla="*/ 296399 w 982797"/>
                      <a:gd name="connsiteY38" fmla="*/ 825360 h 976639"/>
                      <a:gd name="connsiteX39" fmla="*/ 211713 w 982797"/>
                      <a:gd name="connsiteY39" fmla="*/ 887652 h 976639"/>
                      <a:gd name="connsiteX40" fmla="*/ 205028 w 982797"/>
                      <a:gd name="connsiteY40" fmla="*/ 887652 h 976639"/>
                      <a:gd name="connsiteX41" fmla="*/ 138171 w 982797"/>
                      <a:gd name="connsiteY41" fmla="*/ 829810 h 976639"/>
                      <a:gd name="connsiteX42" fmla="*/ 135942 w 982797"/>
                      <a:gd name="connsiteY42" fmla="*/ 823135 h 976639"/>
                      <a:gd name="connsiteX43" fmla="*/ 182742 w 982797"/>
                      <a:gd name="connsiteY43" fmla="*/ 725249 h 976639"/>
                      <a:gd name="connsiteX44" fmla="*/ 182742 w 982797"/>
                      <a:gd name="connsiteY44" fmla="*/ 720800 h 976639"/>
                      <a:gd name="connsiteX45" fmla="*/ 160457 w 982797"/>
                      <a:gd name="connsiteY45" fmla="*/ 687429 h 976639"/>
                      <a:gd name="connsiteX46" fmla="*/ 153771 w 982797"/>
                      <a:gd name="connsiteY46" fmla="*/ 685205 h 976639"/>
                      <a:gd name="connsiteX47" fmla="*/ 49028 w 982797"/>
                      <a:gd name="connsiteY47" fmla="*/ 696328 h 976639"/>
                      <a:gd name="connsiteX48" fmla="*/ 42343 w 982797"/>
                      <a:gd name="connsiteY48" fmla="*/ 691879 h 976639"/>
                      <a:gd name="connsiteX49" fmla="*/ 11143 w 982797"/>
                      <a:gd name="connsiteY49" fmla="*/ 609565 h 976639"/>
                      <a:gd name="connsiteX50" fmla="*/ 15600 w 982797"/>
                      <a:gd name="connsiteY50" fmla="*/ 602891 h 976639"/>
                      <a:gd name="connsiteX51" fmla="*/ 104742 w 982797"/>
                      <a:gd name="connsiteY51" fmla="*/ 542824 h 976639"/>
                      <a:gd name="connsiteX52" fmla="*/ 106971 w 982797"/>
                      <a:gd name="connsiteY52" fmla="*/ 536150 h 976639"/>
                      <a:gd name="connsiteX53" fmla="*/ 104742 w 982797"/>
                      <a:gd name="connsiteY53" fmla="*/ 496106 h 976639"/>
                      <a:gd name="connsiteX54" fmla="*/ 102514 w 982797"/>
                      <a:gd name="connsiteY54" fmla="*/ 489432 h 976639"/>
                      <a:gd name="connsiteX55" fmla="*/ 4457 w 982797"/>
                      <a:gd name="connsiteY55" fmla="*/ 444938 h 976639"/>
                      <a:gd name="connsiteX56" fmla="*/ 0 w 982797"/>
                      <a:gd name="connsiteY56" fmla="*/ 440489 h 976639"/>
                      <a:gd name="connsiteX57" fmla="*/ 15600 w 982797"/>
                      <a:gd name="connsiteY57" fmla="*/ 353726 h 976639"/>
                      <a:gd name="connsiteX58" fmla="*/ 20057 w 982797"/>
                      <a:gd name="connsiteY58" fmla="*/ 351501 h 976639"/>
                      <a:gd name="connsiteX59" fmla="*/ 129257 w 982797"/>
                      <a:gd name="connsiteY59" fmla="*/ 342602 h 976639"/>
                      <a:gd name="connsiteX60" fmla="*/ 135942 w 982797"/>
                      <a:gd name="connsiteY60" fmla="*/ 340377 h 976639"/>
                      <a:gd name="connsiteX61" fmla="*/ 151542 w 982797"/>
                      <a:gd name="connsiteY61" fmla="*/ 302558 h 976639"/>
                      <a:gd name="connsiteX62" fmla="*/ 151542 w 982797"/>
                      <a:gd name="connsiteY62" fmla="*/ 295884 h 976639"/>
                      <a:gd name="connsiteX63" fmla="*/ 91371 w 982797"/>
                      <a:gd name="connsiteY63" fmla="*/ 209121 h 976639"/>
                      <a:gd name="connsiteX64" fmla="*/ 91371 w 982797"/>
                      <a:gd name="connsiteY64" fmla="*/ 200222 h 976639"/>
                      <a:gd name="connsiteX65" fmla="*/ 147085 w 982797"/>
                      <a:gd name="connsiteY65" fmla="*/ 133481 h 976639"/>
                      <a:gd name="connsiteX66" fmla="*/ 153771 w 982797"/>
                      <a:gd name="connsiteY66" fmla="*/ 133481 h 976639"/>
                      <a:gd name="connsiteX67" fmla="*/ 249599 w 982797"/>
                      <a:gd name="connsiteY67" fmla="*/ 180200 h 976639"/>
                      <a:gd name="connsiteX68" fmla="*/ 256285 w 982797"/>
                      <a:gd name="connsiteY68" fmla="*/ 180200 h 976639"/>
                      <a:gd name="connsiteX69" fmla="*/ 289713 w 982797"/>
                      <a:gd name="connsiteY69" fmla="*/ 157953 h 976639"/>
                      <a:gd name="connsiteX70" fmla="*/ 283027 w 982797"/>
                      <a:gd name="connsiteY70" fmla="*/ 44493 h 976639"/>
                      <a:gd name="connsiteX71" fmla="*/ 369942 w 982797"/>
                      <a:gd name="connsiteY71" fmla="*/ 11123 h 976639"/>
                      <a:gd name="connsiteX72" fmla="*/ 439027 w 982797"/>
                      <a:gd name="connsiteY72" fmla="*/ 106785 h 976639"/>
                      <a:gd name="connsiteX73" fmla="*/ 481370 w 982797"/>
                      <a:gd name="connsiteY73" fmla="*/ 102335 h 976639"/>
                      <a:gd name="connsiteX74" fmla="*/ 532627 w 982797"/>
                      <a:gd name="connsiteY74"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501427 w 982797"/>
                      <a:gd name="connsiteY28" fmla="*/ 874303 h 976639"/>
                      <a:gd name="connsiteX29" fmla="*/ 494741 w 982797"/>
                      <a:gd name="connsiteY29" fmla="*/ 876528 h 976639"/>
                      <a:gd name="connsiteX30" fmla="*/ 450170 w 982797"/>
                      <a:gd name="connsiteY30" fmla="*/ 974414 h 976639"/>
                      <a:gd name="connsiteX31" fmla="*/ 445713 w 982797"/>
                      <a:gd name="connsiteY31" fmla="*/ 976639 h 976639"/>
                      <a:gd name="connsiteX32" fmla="*/ 356570 w 982797"/>
                      <a:gd name="connsiteY32" fmla="*/ 958842 h 976639"/>
                      <a:gd name="connsiteX33" fmla="*/ 352113 w 982797"/>
                      <a:gd name="connsiteY33" fmla="*/ 956617 h 976639"/>
                      <a:gd name="connsiteX34" fmla="*/ 347656 w 982797"/>
                      <a:gd name="connsiteY34" fmla="*/ 847607 h 976639"/>
                      <a:gd name="connsiteX35" fmla="*/ 340970 w 982797"/>
                      <a:gd name="connsiteY35" fmla="*/ 843158 h 976639"/>
                      <a:gd name="connsiteX36" fmla="*/ 305313 w 982797"/>
                      <a:gd name="connsiteY36" fmla="*/ 825360 h 976639"/>
                      <a:gd name="connsiteX37" fmla="*/ 296399 w 982797"/>
                      <a:gd name="connsiteY37" fmla="*/ 825360 h 976639"/>
                      <a:gd name="connsiteX38" fmla="*/ 211713 w 982797"/>
                      <a:gd name="connsiteY38" fmla="*/ 887652 h 976639"/>
                      <a:gd name="connsiteX39" fmla="*/ 205028 w 982797"/>
                      <a:gd name="connsiteY39" fmla="*/ 887652 h 976639"/>
                      <a:gd name="connsiteX40" fmla="*/ 138171 w 982797"/>
                      <a:gd name="connsiteY40" fmla="*/ 829810 h 976639"/>
                      <a:gd name="connsiteX41" fmla="*/ 135942 w 982797"/>
                      <a:gd name="connsiteY41" fmla="*/ 823135 h 976639"/>
                      <a:gd name="connsiteX42" fmla="*/ 182742 w 982797"/>
                      <a:gd name="connsiteY42" fmla="*/ 725249 h 976639"/>
                      <a:gd name="connsiteX43" fmla="*/ 182742 w 982797"/>
                      <a:gd name="connsiteY43" fmla="*/ 720800 h 976639"/>
                      <a:gd name="connsiteX44" fmla="*/ 160457 w 982797"/>
                      <a:gd name="connsiteY44" fmla="*/ 687429 h 976639"/>
                      <a:gd name="connsiteX45" fmla="*/ 153771 w 982797"/>
                      <a:gd name="connsiteY45" fmla="*/ 685205 h 976639"/>
                      <a:gd name="connsiteX46" fmla="*/ 49028 w 982797"/>
                      <a:gd name="connsiteY46" fmla="*/ 696328 h 976639"/>
                      <a:gd name="connsiteX47" fmla="*/ 42343 w 982797"/>
                      <a:gd name="connsiteY47" fmla="*/ 691879 h 976639"/>
                      <a:gd name="connsiteX48" fmla="*/ 11143 w 982797"/>
                      <a:gd name="connsiteY48" fmla="*/ 609565 h 976639"/>
                      <a:gd name="connsiteX49" fmla="*/ 15600 w 982797"/>
                      <a:gd name="connsiteY49" fmla="*/ 602891 h 976639"/>
                      <a:gd name="connsiteX50" fmla="*/ 104742 w 982797"/>
                      <a:gd name="connsiteY50" fmla="*/ 542824 h 976639"/>
                      <a:gd name="connsiteX51" fmla="*/ 106971 w 982797"/>
                      <a:gd name="connsiteY51" fmla="*/ 536150 h 976639"/>
                      <a:gd name="connsiteX52" fmla="*/ 104742 w 982797"/>
                      <a:gd name="connsiteY52" fmla="*/ 496106 h 976639"/>
                      <a:gd name="connsiteX53" fmla="*/ 102514 w 982797"/>
                      <a:gd name="connsiteY53" fmla="*/ 489432 h 976639"/>
                      <a:gd name="connsiteX54" fmla="*/ 4457 w 982797"/>
                      <a:gd name="connsiteY54" fmla="*/ 444938 h 976639"/>
                      <a:gd name="connsiteX55" fmla="*/ 0 w 982797"/>
                      <a:gd name="connsiteY55" fmla="*/ 440489 h 976639"/>
                      <a:gd name="connsiteX56" fmla="*/ 15600 w 982797"/>
                      <a:gd name="connsiteY56" fmla="*/ 353726 h 976639"/>
                      <a:gd name="connsiteX57" fmla="*/ 20057 w 982797"/>
                      <a:gd name="connsiteY57" fmla="*/ 351501 h 976639"/>
                      <a:gd name="connsiteX58" fmla="*/ 129257 w 982797"/>
                      <a:gd name="connsiteY58" fmla="*/ 342602 h 976639"/>
                      <a:gd name="connsiteX59" fmla="*/ 135942 w 982797"/>
                      <a:gd name="connsiteY59" fmla="*/ 340377 h 976639"/>
                      <a:gd name="connsiteX60" fmla="*/ 151542 w 982797"/>
                      <a:gd name="connsiteY60" fmla="*/ 302558 h 976639"/>
                      <a:gd name="connsiteX61" fmla="*/ 151542 w 982797"/>
                      <a:gd name="connsiteY61" fmla="*/ 295884 h 976639"/>
                      <a:gd name="connsiteX62" fmla="*/ 91371 w 982797"/>
                      <a:gd name="connsiteY62" fmla="*/ 209121 h 976639"/>
                      <a:gd name="connsiteX63" fmla="*/ 91371 w 982797"/>
                      <a:gd name="connsiteY63" fmla="*/ 200222 h 976639"/>
                      <a:gd name="connsiteX64" fmla="*/ 147085 w 982797"/>
                      <a:gd name="connsiteY64" fmla="*/ 133481 h 976639"/>
                      <a:gd name="connsiteX65" fmla="*/ 153771 w 982797"/>
                      <a:gd name="connsiteY65" fmla="*/ 133481 h 976639"/>
                      <a:gd name="connsiteX66" fmla="*/ 249599 w 982797"/>
                      <a:gd name="connsiteY66" fmla="*/ 180200 h 976639"/>
                      <a:gd name="connsiteX67" fmla="*/ 256285 w 982797"/>
                      <a:gd name="connsiteY67" fmla="*/ 180200 h 976639"/>
                      <a:gd name="connsiteX68" fmla="*/ 289713 w 982797"/>
                      <a:gd name="connsiteY68" fmla="*/ 157953 h 976639"/>
                      <a:gd name="connsiteX69" fmla="*/ 283027 w 982797"/>
                      <a:gd name="connsiteY69" fmla="*/ 44493 h 976639"/>
                      <a:gd name="connsiteX70" fmla="*/ 369942 w 982797"/>
                      <a:gd name="connsiteY70" fmla="*/ 11123 h 976639"/>
                      <a:gd name="connsiteX71" fmla="*/ 439027 w 982797"/>
                      <a:gd name="connsiteY71" fmla="*/ 106785 h 976639"/>
                      <a:gd name="connsiteX72" fmla="*/ 481370 w 982797"/>
                      <a:gd name="connsiteY72" fmla="*/ 102335 h 976639"/>
                      <a:gd name="connsiteX73" fmla="*/ 532627 w 982797"/>
                      <a:gd name="connsiteY73"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8227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49485 w 982797"/>
                      <a:gd name="connsiteY27" fmla="*/ 874303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6528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40970 w 982797"/>
                      <a:gd name="connsiteY34" fmla="*/ 843158 h 976639"/>
                      <a:gd name="connsiteX35" fmla="*/ 305313 w 982797"/>
                      <a:gd name="connsiteY35" fmla="*/ 825360 h 976639"/>
                      <a:gd name="connsiteX36" fmla="*/ 296399 w 982797"/>
                      <a:gd name="connsiteY36" fmla="*/ 825360 h 976639"/>
                      <a:gd name="connsiteX37" fmla="*/ 211713 w 982797"/>
                      <a:gd name="connsiteY37" fmla="*/ 887652 h 976639"/>
                      <a:gd name="connsiteX38" fmla="*/ 205028 w 982797"/>
                      <a:gd name="connsiteY38" fmla="*/ 887652 h 976639"/>
                      <a:gd name="connsiteX39" fmla="*/ 138171 w 982797"/>
                      <a:gd name="connsiteY39" fmla="*/ 829810 h 976639"/>
                      <a:gd name="connsiteX40" fmla="*/ 135942 w 982797"/>
                      <a:gd name="connsiteY40" fmla="*/ 823135 h 976639"/>
                      <a:gd name="connsiteX41" fmla="*/ 182742 w 982797"/>
                      <a:gd name="connsiteY41" fmla="*/ 725249 h 976639"/>
                      <a:gd name="connsiteX42" fmla="*/ 182742 w 982797"/>
                      <a:gd name="connsiteY42" fmla="*/ 720800 h 976639"/>
                      <a:gd name="connsiteX43" fmla="*/ 160457 w 982797"/>
                      <a:gd name="connsiteY43" fmla="*/ 687429 h 976639"/>
                      <a:gd name="connsiteX44" fmla="*/ 153771 w 982797"/>
                      <a:gd name="connsiteY44" fmla="*/ 685205 h 976639"/>
                      <a:gd name="connsiteX45" fmla="*/ 49028 w 982797"/>
                      <a:gd name="connsiteY45" fmla="*/ 696328 h 976639"/>
                      <a:gd name="connsiteX46" fmla="*/ 42343 w 982797"/>
                      <a:gd name="connsiteY46" fmla="*/ 691879 h 976639"/>
                      <a:gd name="connsiteX47" fmla="*/ 11143 w 982797"/>
                      <a:gd name="connsiteY47" fmla="*/ 609565 h 976639"/>
                      <a:gd name="connsiteX48" fmla="*/ 15600 w 982797"/>
                      <a:gd name="connsiteY48" fmla="*/ 602891 h 976639"/>
                      <a:gd name="connsiteX49" fmla="*/ 104742 w 982797"/>
                      <a:gd name="connsiteY49" fmla="*/ 542824 h 976639"/>
                      <a:gd name="connsiteX50" fmla="*/ 106971 w 982797"/>
                      <a:gd name="connsiteY50" fmla="*/ 536150 h 976639"/>
                      <a:gd name="connsiteX51" fmla="*/ 104742 w 982797"/>
                      <a:gd name="connsiteY51" fmla="*/ 496106 h 976639"/>
                      <a:gd name="connsiteX52" fmla="*/ 102514 w 982797"/>
                      <a:gd name="connsiteY52" fmla="*/ 489432 h 976639"/>
                      <a:gd name="connsiteX53" fmla="*/ 4457 w 982797"/>
                      <a:gd name="connsiteY53" fmla="*/ 444938 h 976639"/>
                      <a:gd name="connsiteX54" fmla="*/ 0 w 982797"/>
                      <a:gd name="connsiteY54" fmla="*/ 440489 h 976639"/>
                      <a:gd name="connsiteX55" fmla="*/ 15600 w 982797"/>
                      <a:gd name="connsiteY55" fmla="*/ 353726 h 976639"/>
                      <a:gd name="connsiteX56" fmla="*/ 20057 w 982797"/>
                      <a:gd name="connsiteY56" fmla="*/ 351501 h 976639"/>
                      <a:gd name="connsiteX57" fmla="*/ 129257 w 982797"/>
                      <a:gd name="connsiteY57" fmla="*/ 342602 h 976639"/>
                      <a:gd name="connsiteX58" fmla="*/ 135942 w 982797"/>
                      <a:gd name="connsiteY58" fmla="*/ 340377 h 976639"/>
                      <a:gd name="connsiteX59" fmla="*/ 151542 w 982797"/>
                      <a:gd name="connsiteY59" fmla="*/ 302558 h 976639"/>
                      <a:gd name="connsiteX60" fmla="*/ 151542 w 982797"/>
                      <a:gd name="connsiteY60" fmla="*/ 295884 h 976639"/>
                      <a:gd name="connsiteX61" fmla="*/ 91371 w 982797"/>
                      <a:gd name="connsiteY61" fmla="*/ 209121 h 976639"/>
                      <a:gd name="connsiteX62" fmla="*/ 91371 w 982797"/>
                      <a:gd name="connsiteY62" fmla="*/ 200222 h 976639"/>
                      <a:gd name="connsiteX63" fmla="*/ 147085 w 982797"/>
                      <a:gd name="connsiteY63" fmla="*/ 133481 h 976639"/>
                      <a:gd name="connsiteX64" fmla="*/ 153771 w 982797"/>
                      <a:gd name="connsiteY64" fmla="*/ 133481 h 976639"/>
                      <a:gd name="connsiteX65" fmla="*/ 249599 w 982797"/>
                      <a:gd name="connsiteY65" fmla="*/ 180200 h 976639"/>
                      <a:gd name="connsiteX66" fmla="*/ 256285 w 982797"/>
                      <a:gd name="connsiteY66" fmla="*/ 180200 h 976639"/>
                      <a:gd name="connsiteX67" fmla="*/ 289713 w 982797"/>
                      <a:gd name="connsiteY67" fmla="*/ 157953 h 976639"/>
                      <a:gd name="connsiteX68" fmla="*/ 283027 w 982797"/>
                      <a:gd name="connsiteY68" fmla="*/ 44493 h 976639"/>
                      <a:gd name="connsiteX69" fmla="*/ 369942 w 982797"/>
                      <a:gd name="connsiteY69" fmla="*/ 11123 h 976639"/>
                      <a:gd name="connsiteX70" fmla="*/ 439027 w 982797"/>
                      <a:gd name="connsiteY70" fmla="*/ 106785 h 976639"/>
                      <a:gd name="connsiteX71" fmla="*/ 481370 w 982797"/>
                      <a:gd name="connsiteY71" fmla="*/ 102335 h 976639"/>
                      <a:gd name="connsiteX72" fmla="*/ 532627 w 982797"/>
                      <a:gd name="connsiteY72"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305313 w 982797"/>
                      <a:gd name="connsiteY34" fmla="*/ 825360 h 976639"/>
                      <a:gd name="connsiteX35" fmla="*/ 296399 w 982797"/>
                      <a:gd name="connsiteY35" fmla="*/ 825360 h 976639"/>
                      <a:gd name="connsiteX36" fmla="*/ 211713 w 982797"/>
                      <a:gd name="connsiteY36" fmla="*/ 887652 h 976639"/>
                      <a:gd name="connsiteX37" fmla="*/ 205028 w 982797"/>
                      <a:gd name="connsiteY37" fmla="*/ 887652 h 976639"/>
                      <a:gd name="connsiteX38" fmla="*/ 138171 w 982797"/>
                      <a:gd name="connsiteY38" fmla="*/ 829810 h 976639"/>
                      <a:gd name="connsiteX39" fmla="*/ 135942 w 982797"/>
                      <a:gd name="connsiteY39" fmla="*/ 823135 h 976639"/>
                      <a:gd name="connsiteX40" fmla="*/ 182742 w 982797"/>
                      <a:gd name="connsiteY40" fmla="*/ 725249 h 976639"/>
                      <a:gd name="connsiteX41" fmla="*/ 182742 w 982797"/>
                      <a:gd name="connsiteY41" fmla="*/ 720800 h 976639"/>
                      <a:gd name="connsiteX42" fmla="*/ 160457 w 982797"/>
                      <a:gd name="connsiteY42" fmla="*/ 687429 h 976639"/>
                      <a:gd name="connsiteX43" fmla="*/ 153771 w 982797"/>
                      <a:gd name="connsiteY43" fmla="*/ 685205 h 976639"/>
                      <a:gd name="connsiteX44" fmla="*/ 49028 w 982797"/>
                      <a:gd name="connsiteY44" fmla="*/ 696328 h 976639"/>
                      <a:gd name="connsiteX45" fmla="*/ 42343 w 982797"/>
                      <a:gd name="connsiteY45" fmla="*/ 691879 h 976639"/>
                      <a:gd name="connsiteX46" fmla="*/ 11143 w 982797"/>
                      <a:gd name="connsiteY46" fmla="*/ 609565 h 976639"/>
                      <a:gd name="connsiteX47" fmla="*/ 15600 w 982797"/>
                      <a:gd name="connsiteY47" fmla="*/ 602891 h 976639"/>
                      <a:gd name="connsiteX48" fmla="*/ 104742 w 982797"/>
                      <a:gd name="connsiteY48" fmla="*/ 542824 h 976639"/>
                      <a:gd name="connsiteX49" fmla="*/ 106971 w 982797"/>
                      <a:gd name="connsiteY49" fmla="*/ 536150 h 976639"/>
                      <a:gd name="connsiteX50" fmla="*/ 104742 w 982797"/>
                      <a:gd name="connsiteY50" fmla="*/ 496106 h 976639"/>
                      <a:gd name="connsiteX51" fmla="*/ 102514 w 982797"/>
                      <a:gd name="connsiteY51" fmla="*/ 489432 h 976639"/>
                      <a:gd name="connsiteX52" fmla="*/ 4457 w 982797"/>
                      <a:gd name="connsiteY52" fmla="*/ 444938 h 976639"/>
                      <a:gd name="connsiteX53" fmla="*/ 0 w 982797"/>
                      <a:gd name="connsiteY53" fmla="*/ 440489 h 976639"/>
                      <a:gd name="connsiteX54" fmla="*/ 15600 w 982797"/>
                      <a:gd name="connsiteY54" fmla="*/ 353726 h 976639"/>
                      <a:gd name="connsiteX55" fmla="*/ 20057 w 982797"/>
                      <a:gd name="connsiteY55" fmla="*/ 351501 h 976639"/>
                      <a:gd name="connsiteX56" fmla="*/ 129257 w 982797"/>
                      <a:gd name="connsiteY56" fmla="*/ 342602 h 976639"/>
                      <a:gd name="connsiteX57" fmla="*/ 135942 w 982797"/>
                      <a:gd name="connsiteY57" fmla="*/ 340377 h 976639"/>
                      <a:gd name="connsiteX58" fmla="*/ 151542 w 982797"/>
                      <a:gd name="connsiteY58" fmla="*/ 302558 h 976639"/>
                      <a:gd name="connsiteX59" fmla="*/ 151542 w 982797"/>
                      <a:gd name="connsiteY59" fmla="*/ 295884 h 976639"/>
                      <a:gd name="connsiteX60" fmla="*/ 91371 w 982797"/>
                      <a:gd name="connsiteY60" fmla="*/ 209121 h 976639"/>
                      <a:gd name="connsiteX61" fmla="*/ 91371 w 982797"/>
                      <a:gd name="connsiteY61" fmla="*/ 200222 h 976639"/>
                      <a:gd name="connsiteX62" fmla="*/ 147085 w 982797"/>
                      <a:gd name="connsiteY62" fmla="*/ 133481 h 976639"/>
                      <a:gd name="connsiteX63" fmla="*/ 153771 w 982797"/>
                      <a:gd name="connsiteY63" fmla="*/ 133481 h 976639"/>
                      <a:gd name="connsiteX64" fmla="*/ 249599 w 982797"/>
                      <a:gd name="connsiteY64" fmla="*/ 180200 h 976639"/>
                      <a:gd name="connsiteX65" fmla="*/ 256285 w 982797"/>
                      <a:gd name="connsiteY65" fmla="*/ 180200 h 976639"/>
                      <a:gd name="connsiteX66" fmla="*/ 289713 w 982797"/>
                      <a:gd name="connsiteY66" fmla="*/ 157953 h 976639"/>
                      <a:gd name="connsiteX67" fmla="*/ 283027 w 982797"/>
                      <a:gd name="connsiteY67" fmla="*/ 44493 h 976639"/>
                      <a:gd name="connsiteX68" fmla="*/ 369942 w 982797"/>
                      <a:gd name="connsiteY68" fmla="*/ 11123 h 976639"/>
                      <a:gd name="connsiteX69" fmla="*/ 439027 w 982797"/>
                      <a:gd name="connsiteY69" fmla="*/ 106785 h 976639"/>
                      <a:gd name="connsiteX70" fmla="*/ 481370 w 982797"/>
                      <a:gd name="connsiteY70" fmla="*/ 102335 h 976639"/>
                      <a:gd name="connsiteX71" fmla="*/ 532627 w 982797"/>
                      <a:gd name="connsiteY71" fmla="*/ 0 h 976639"/>
                      <a:gd name="connsiteX0" fmla="*/ 492512 w 982797"/>
                      <a:gd name="connsiteY0" fmla="*/ 299009 h 976639"/>
                      <a:gd name="connsiteX1" fmla="*/ 303330 w 982797"/>
                      <a:gd name="connsiteY1" fmla="*/ 487207 h 976639"/>
                      <a:gd name="connsiteX2" fmla="*/ 492512 w 982797"/>
                      <a:gd name="connsiteY2" fmla="*/ 675405 h 976639"/>
                      <a:gd name="connsiteX3" fmla="*/ 681694 w 982797"/>
                      <a:gd name="connsiteY3" fmla="*/ 487207 h 976639"/>
                      <a:gd name="connsiteX4" fmla="*/ 492512 w 982797"/>
                      <a:gd name="connsiteY4" fmla="*/ 299009 h 976639"/>
                      <a:gd name="connsiteX5" fmla="*/ 532627 w 982797"/>
                      <a:gd name="connsiteY5" fmla="*/ 0 h 976639"/>
                      <a:gd name="connsiteX6" fmla="*/ 626226 w 982797"/>
                      <a:gd name="connsiteY6" fmla="*/ 13348 h 976639"/>
                      <a:gd name="connsiteX7" fmla="*/ 641826 w 982797"/>
                      <a:gd name="connsiteY7" fmla="*/ 131256 h 976639"/>
                      <a:gd name="connsiteX8" fmla="*/ 677483 w 982797"/>
                      <a:gd name="connsiteY8" fmla="*/ 151279 h 976639"/>
                      <a:gd name="connsiteX9" fmla="*/ 779997 w 982797"/>
                      <a:gd name="connsiteY9" fmla="*/ 86763 h 976639"/>
                      <a:gd name="connsiteX10" fmla="*/ 846854 w 982797"/>
                      <a:gd name="connsiteY10" fmla="*/ 144605 h 976639"/>
                      <a:gd name="connsiteX11" fmla="*/ 800054 w 982797"/>
                      <a:gd name="connsiteY11" fmla="*/ 253614 h 976639"/>
                      <a:gd name="connsiteX12" fmla="*/ 822340 w 982797"/>
                      <a:gd name="connsiteY12" fmla="*/ 286985 h 976639"/>
                      <a:gd name="connsiteX13" fmla="*/ 938225 w 982797"/>
                      <a:gd name="connsiteY13" fmla="*/ 278086 h 976639"/>
                      <a:gd name="connsiteX14" fmla="*/ 971654 w 982797"/>
                      <a:gd name="connsiteY14" fmla="*/ 367074 h 976639"/>
                      <a:gd name="connsiteX15" fmla="*/ 878054 w 982797"/>
                      <a:gd name="connsiteY15" fmla="*/ 431590 h 976639"/>
                      <a:gd name="connsiteX16" fmla="*/ 878054 w 982797"/>
                      <a:gd name="connsiteY16" fmla="*/ 478308 h 976639"/>
                      <a:gd name="connsiteX17" fmla="*/ 982797 w 982797"/>
                      <a:gd name="connsiteY17" fmla="*/ 529476 h 976639"/>
                      <a:gd name="connsiteX18" fmla="*/ 967197 w 982797"/>
                      <a:gd name="connsiteY18" fmla="*/ 620689 h 976639"/>
                      <a:gd name="connsiteX19" fmla="*/ 851311 w 982797"/>
                      <a:gd name="connsiteY19" fmla="*/ 634037 h 976639"/>
                      <a:gd name="connsiteX20" fmla="*/ 831254 w 982797"/>
                      <a:gd name="connsiteY20" fmla="*/ 674081 h 976639"/>
                      <a:gd name="connsiteX21" fmla="*/ 895883 w 982797"/>
                      <a:gd name="connsiteY21" fmla="*/ 774192 h 976639"/>
                      <a:gd name="connsiteX22" fmla="*/ 835711 w 982797"/>
                      <a:gd name="connsiteY22" fmla="*/ 840933 h 976639"/>
                      <a:gd name="connsiteX23" fmla="*/ 728740 w 982797"/>
                      <a:gd name="connsiteY23" fmla="*/ 791990 h 976639"/>
                      <a:gd name="connsiteX24" fmla="*/ 690855 w 982797"/>
                      <a:gd name="connsiteY24" fmla="*/ 823135 h 976639"/>
                      <a:gd name="connsiteX25" fmla="*/ 701998 w 982797"/>
                      <a:gd name="connsiteY25" fmla="*/ 929921 h 976639"/>
                      <a:gd name="connsiteX26" fmla="*/ 608398 w 982797"/>
                      <a:gd name="connsiteY26" fmla="*/ 963291 h 976639"/>
                      <a:gd name="connsiteX27" fmla="*/ 550743 w 982797"/>
                      <a:gd name="connsiteY27" fmla="*/ 875561 h 976639"/>
                      <a:gd name="connsiteX28" fmla="*/ 494741 w 982797"/>
                      <a:gd name="connsiteY28" fmla="*/ 875584 h 976639"/>
                      <a:gd name="connsiteX29" fmla="*/ 450170 w 982797"/>
                      <a:gd name="connsiteY29" fmla="*/ 974414 h 976639"/>
                      <a:gd name="connsiteX30" fmla="*/ 445713 w 982797"/>
                      <a:gd name="connsiteY30" fmla="*/ 976639 h 976639"/>
                      <a:gd name="connsiteX31" fmla="*/ 356570 w 982797"/>
                      <a:gd name="connsiteY31" fmla="*/ 958842 h 976639"/>
                      <a:gd name="connsiteX32" fmla="*/ 352113 w 982797"/>
                      <a:gd name="connsiteY32" fmla="*/ 956617 h 976639"/>
                      <a:gd name="connsiteX33" fmla="*/ 347656 w 982797"/>
                      <a:gd name="connsiteY33" fmla="*/ 847607 h 976639"/>
                      <a:gd name="connsiteX34" fmla="*/ 296399 w 982797"/>
                      <a:gd name="connsiteY34" fmla="*/ 825360 h 976639"/>
                      <a:gd name="connsiteX35" fmla="*/ 211713 w 982797"/>
                      <a:gd name="connsiteY35" fmla="*/ 887652 h 976639"/>
                      <a:gd name="connsiteX36" fmla="*/ 205028 w 982797"/>
                      <a:gd name="connsiteY36" fmla="*/ 887652 h 976639"/>
                      <a:gd name="connsiteX37" fmla="*/ 138171 w 982797"/>
                      <a:gd name="connsiteY37" fmla="*/ 829810 h 976639"/>
                      <a:gd name="connsiteX38" fmla="*/ 135942 w 982797"/>
                      <a:gd name="connsiteY38" fmla="*/ 823135 h 976639"/>
                      <a:gd name="connsiteX39" fmla="*/ 182742 w 982797"/>
                      <a:gd name="connsiteY39" fmla="*/ 725249 h 976639"/>
                      <a:gd name="connsiteX40" fmla="*/ 182742 w 982797"/>
                      <a:gd name="connsiteY40" fmla="*/ 720800 h 976639"/>
                      <a:gd name="connsiteX41" fmla="*/ 160457 w 982797"/>
                      <a:gd name="connsiteY41" fmla="*/ 687429 h 976639"/>
                      <a:gd name="connsiteX42" fmla="*/ 153771 w 982797"/>
                      <a:gd name="connsiteY42" fmla="*/ 685205 h 976639"/>
                      <a:gd name="connsiteX43" fmla="*/ 49028 w 982797"/>
                      <a:gd name="connsiteY43" fmla="*/ 696328 h 976639"/>
                      <a:gd name="connsiteX44" fmla="*/ 42343 w 982797"/>
                      <a:gd name="connsiteY44" fmla="*/ 691879 h 976639"/>
                      <a:gd name="connsiteX45" fmla="*/ 11143 w 982797"/>
                      <a:gd name="connsiteY45" fmla="*/ 609565 h 976639"/>
                      <a:gd name="connsiteX46" fmla="*/ 15600 w 982797"/>
                      <a:gd name="connsiteY46" fmla="*/ 602891 h 976639"/>
                      <a:gd name="connsiteX47" fmla="*/ 104742 w 982797"/>
                      <a:gd name="connsiteY47" fmla="*/ 542824 h 976639"/>
                      <a:gd name="connsiteX48" fmla="*/ 106971 w 982797"/>
                      <a:gd name="connsiteY48" fmla="*/ 536150 h 976639"/>
                      <a:gd name="connsiteX49" fmla="*/ 104742 w 982797"/>
                      <a:gd name="connsiteY49" fmla="*/ 496106 h 976639"/>
                      <a:gd name="connsiteX50" fmla="*/ 102514 w 982797"/>
                      <a:gd name="connsiteY50" fmla="*/ 489432 h 976639"/>
                      <a:gd name="connsiteX51" fmla="*/ 4457 w 982797"/>
                      <a:gd name="connsiteY51" fmla="*/ 444938 h 976639"/>
                      <a:gd name="connsiteX52" fmla="*/ 0 w 982797"/>
                      <a:gd name="connsiteY52" fmla="*/ 440489 h 976639"/>
                      <a:gd name="connsiteX53" fmla="*/ 15600 w 982797"/>
                      <a:gd name="connsiteY53" fmla="*/ 353726 h 976639"/>
                      <a:gd name="connsiteX54" fmla="*/ 20057 w 982797"/>
                      <a:gd name="connsiteY54" fmla="*/ 351501 h 976639"/>
                      <a:gd name="connsiteX55" fmla="*/ 129257 w 982797"/>
                      <a:gd name="connsiteY55" fmla="*/ 342602 h 976639"/>
                      <a:gd name="connsiteX56" fmla="*/ 135942 w 982797"/>
                      <a:gd name="connsiteY56" fmla="*/ 340377 h 976639"/>
                      <a:gd name="connsiteX57" fmla="*/ 151542 w 982797"/>
                      <a:gd name="connsiteY57" fmla="*/ 302558 h 976639"/>
                      <a:gd name="connsiteX58" fmla="*/ 151542 w 982797"/>
                      <a:gd name="connsiteY58" fmla="*/ 295884 h 976639"/>
                      <a:gd name="connsiteX59" fmla="*/ 91371 w 982797"/>
                      <a:gd name="connsiteY59" fmla="*/ 209121 h 976639"/>
                      <a:gd name="connsiteX60" fmla="*/ 91371 w 982797"/>
                      <a:gd name="connsiteY60" fmla="*/ 200222 h 976639"/>
                      <a:gd name="connsiteX61" fmla="*/ 147085 w 982797"/>
                      <a:gd name="connsiteY61" fmla="*/ 133481 h 976639"/>
                      <a:gd name="connsiteX62" fmla="*/ 153771 w 982797"/>
                      <a:gd name="connsiteY62" fmla="*/ 133481 h 976639"/>
                      <a:gd name="connsiteX63" fmla="*/ 249599 w 982797"/>
                      <a:gd name="connsiteY63" fmla="*/ 180200 h 976639"/>
                      <a:gd name="connsiteX64" fmla="*/ 256285 w 982797"/>
                      <a:gd name="connsiteY64" fmla="*/ 180200 h 976639"/>
                      <a:gd name="connsiteX65" fmla="*/ 289713 w 982797"/>
                      <a:gd name="connsiteY65" fmla="*/ 157953 h 976639"/>
                      <a:gd name="connsiteX66" fmla="*/ 283027 w 982797"/>
                      <a:gd name="connsiteY66" fmla="*/ 44493 h 976639"/>
                      <a:gd name="connsiteX67" fmla="*/ 369942 w 982797"/>
                      <a:gd name="connsiteY67" fmla="*/ 11123 h 976639"/>
                      <a:gd name="connsiteX68" fmla="*/ 439027 w 982797"/>
                      <a:gd name="connsiteY68" fmla="*/ 106785 h 976639"/>
                      <a:gd name="connsiteX69" fmla="*/ 481370 w 982797"/>
                      <a:gd name="connsiteY69" fmla="*/ 102335 h 976639"/>
                      <a:gd name="connsiteX70" fmla="*/ 532627 w 982797"/>
                      <a:gd name="connsiteY70" fmla="*/ 0 h 976639"/>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52113 w 982797"/>
                      <a:gd name="connsiteY31" fmla="*/ 956617 h 974414"/>
                      <a:gd name="connsiteX32" fmla="*/ 347656 w 982797"/>
                      <a:gd name="connsiteY32" fmla="*/ 847607 h 974414"/>
                      <a:gd name="connsiteX33" fmla="*/ 296399 w 982797"/>
                      <a:gd name="connsiteY33" fmla="*/ 825360 h 974414"/>
                      <a:gd name="connsiteX34" fmla="*/ 211713 w 982797"/>
                      <a:gd name="connsiteY34" fmla="*/ 887652 h 974414"/>
                      <a:gd name="connsiteX35" fmla="*/ 205028 w 982797"/>
                      <a:gd name="connsiteY35" fmla="*/ 887652 h 974414"/>
                      <a:gd name="connsiteX36" fmla="*/ 138171 w 982797"/>
                      <a:gd name="connsiteY36" fmla="*/ 829810 h 974414"/>
                      <a:gd name="connsiteX37" fmla="*/ 135942 w 982797"/>
                      <a:gd name="connsiteY37" fmla="*/ 823135 h 974414"/>
                      <a:gd name="connsiteX38" fmla="*/ 182742 w 982797"/>
                      <a:gd name="connsiteY38" fmla="*/ 725249 h 974414"/>
                      <a:gd name="connsiteX39" fmla="*/ 182742 w 982797"/>
                      <a:gd name="connsiteY39" fmla="*/ 720800 h 974414"/>
                      <a:gd name="connsiteX40" fmla="*/ 160457 w 982797"/>
                      <a:gd name="connsiteY40" fmla="*/ 687429 h 974414"/>
                      <a:gd name="connsiteX41" fmla="*/ 153771 w 982797"/>
                      <a:gd name="connsiteY41" fmla="*/ 685205 h 974414"/>
                      <a:gd name="connsiteX42" fmla="*/ 49028 w 982797"/>
                      <a:gd name="connsiteY42" fmla="*/ 696328 h 974414"/>
                      <a:gd name="connsiteX43" fmla="*/ 42343 w 982797"/>
                      <a:gd name="connsiteY43" fmla="*/ 691879 h 974414"/>
                      <a:gd name="connsiteX44" fmla="*/ 11143 w 982797"/>
                      <a:gd name="connsiteY44" fmla="*/ 609565 h 974414"/>
                      <a:gd name="connsiteX45" fmla="*/ 15600 w 982797"/>
                      <a:gd name="connsiteY45" fmla="*/ 602891 h 974414"/>
                      <a:gd name="connsiteX46" fmla="*/ 104742 w 982797"/>
                      <a:gd name="connsiteY46" fmla="*/ 542824 h 974414"/>
                      <a:gd name="connsiteX47" fmla="*/ 106971 w 982797"/>
                      <a:gd name="connsiteY47" fmla="*/ 536150 h 974414"/>
                      <a:gd name="connsiteX48" fmla="*/ 104742 w 982797"/>
                      <a:gd name="connsiteY48" fmla="*/ 496106 h 974414"/>
                      <a:gd name="connsiteX49" fmla="*/ 102514 w 982797"/>
                      <a:gd name="connsiteY49" fmla="*/ 489432 h 974414"/>
                      <a:gd name="connsiteX50" fmla="*/ 4457 w 982797"/>
                      <a:gd name="connsiteY50" fmla="*/ 444938 h 974414"/>
                      <a:gd name="connsiteX51" fmla="*/ 0 w 982797"/>
                      <a:gd name="connsiteY51" fmla="*/ 440489 h 974414"/>
                      <a:gd name="connsiteX52" fmla="*/ 15600 w 982797"/>
                      <a:gd name="connsiteY52" fmla="*/ 353726 h 974414"/>
                      <a:gd name="connsiteX53" fmla="*/ 20057 w 982797"/>
                      <a:gd name="connsiteY53" fmla="*/ 351501 h 974414"/>
                      <a:gd name="connsiteX54" fmla="*/ 129257 w 982797"/>
                      <a:gd name="connsiteY54" fmla="*/ 342602 h 974414"/>
                      <a:gd name="connsiteX55" fmla="*/ 135942 w 982797"/>
                      <a:gd name="connsiteY55" fmla="*/ 340377 h 974414"/>
                      <a:gd name="connsiteX56" fmla="*/ 151542 w 982797"/>
                      <a:gd name="connsiteY56" fmla="*/ 302558 h 974414"/>
                      <a:gd name="connsiteX57" fmla="*/ 151542 w 982797"/>
                      <a:gd name="connsiteY57" fmla="*/ 295884 h 974414"/>
                      <a:gd name="connsiteX58" fmla="*/ 91371 w 982797"/>
                      <a:gd name="connsiteY58" fmla="*/ 209121 h 974414"/>
                      <a:gd name="connsiteX59" fmla="*/ 91371 w 982797"/>
                      <a:gd name="connsiteY59" fmla="*/ 200222 h 974414"/>
                      <a:gd name="connsiteX60" fmla="*/ 147085 w 982797"/>
                      <a:gd name="connsiteY60" fmla="*/ 133481 h 974414"/>
                      <a:gd name="connsiteX61" fmla="*/ 153771 w 982797"/>
                      <a:gd name="connsiteY61" fmla="*/ 133481 h 974414"/>
                      <a:gd name="connsiteX62" fmla="*/ 249599 w 982797"/>
                      <a:gd name="connsiteY62" fmla="*/ 180200 h 974414"/>
                      <a:gd name="connsiteX63" fmla="*/ 256285 w 982797"/>
                      <a:gd name="connsiteY63" fmla="*/ 180200 h 974414"/>
                      <a:gd name="connsiteX64" fmla="*/ 289713 w 982797"/>
                      <a:gd name="connsiteY64" fmla="*/ 157953 h 974414"/>
                      <a:gd name="connsiteX65" fmla="*/ 283027 w 982797"/>
                      <a:gd name="connsiteY65" fmla="*/ 44493 h 974414"/>
                      <a:gd name="connsiteX66" fmla="*/ 369942 w 982797"/>
                      <a:gd name="connsiteY66" fmla="*/ 11123 h 974414"/>
                      <a:gd name="connsiteX67" fmla="*/ 439027 w 982797"/>
                      <a:gd name="connsiteY67" fmla="*/ 106785 h 974414"/>
                      <a:gd name="connsiteX68" fmla="*/ 481370 w 982797"/>
                      <a:gd name="connsiteY68" fmla="*/ 102335 h 974414"/>
                      <a:gd name="connsiteX69" fmla="*/ 532627 w 982797"/>
                      <a:gd name="connsiteY6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11713 w 982797"/>
                      <a:gd name="connsiteY33" fmla="*/ 887652 h 974414"/>
                      <a:gd name="connsiteX34" fmla="*/ 205028 w 982797"/>
                      <a:gd name="connsiteY34" fmla="*/ 887652 h 974414"/>
                      <a:gd name="connsiteX35" fmla="*/ 138171 w 982797"/>
                      <a:gd name="connsiteY35" fmla="*/ 829810 h 974414"/>
                      <a:gd name="connsiteX36" fmla="*/ 135942 w 982797"/>
                      <a:gd name="connsiteY36" fmla="*/ 823135 h 974414"/>
                      <a:gd name="connsiteX37" fmla="*/ 182742 w 982797"/>
                      <a:gd name="connsiteY37" fmla="*/ 725249 h 974414"/>
                      <a:gd name="connsiteX38" fmla="*/ 182742 w 982797"/>
                      <a:gd name="connsiteY38" fmla="*/ 720800 h 974414"/>
                      <a:gd name="connsiteX39" fmla="*/ 160457 w 982797"/>
                      <a:gd name="connsiteY39" fmla="*/ 687429 h 974414"/>
                      <a:gd name="connsiteX40" fmla="*/ 153771 w 982797"/>
                      <a:gd name="connsiteY40" fmla="*/ 685205 h 974414"/>
                      <a:gd name="connsiteX41" fmla="*/ 49028 w 982797"/>
                      <a:gd name="connsiteY41" fmla="*/ 696328 h 974414"/>
                      <a:gd name="connsiteX42" fmla="*/ 42343 w 982797"/>
                      <a:gd name="connsiteY42" fmla="*/ 691879 h 974414"/>
                      <a:gd name="connsiteX43" fmla="*/ 11143 w 982797"/>
                      <a:gd name="connsiteY43" fmla="*/ 609565 h 974414"/>
                      <a:gd name="connsiteX44" fmla="*/ 15600 w 982797"/>
                      <a:gd name="connsiteY44" fmla="*/ 602891 h 974414"/>
                      <a:gd name="connsiteX45" fmla="*/ 104742 w 982797"/>
                      <a:gd name="connsiteY45" fmla="*/ 542824 h 974414"/>
                      <a:gd name="connsiteX46" fmla="*/ 106971 w 982797"/>
                      <a:gd name="connsiteY46" fmla="*/ 536150 h 974414"/>
                      <a:gd name="connsiteX47" fmla="*/ 104742 w 982797"/>
                      <a:gd name="connsiteY47" fmla="*/ 496106 h 974414"/>
                      <a:gd name="connsiteX48" fmla="*/ 102514 w 982797"/>
                      <a:gd name="connsiteY48" fmla="*/ 489432 h 974414"/>
                      <a:gd name="connsiteX49" fmla="*/ 4457 w 982797"/>
                      <a:gd name="connsiteY49" fmla="*/ 444938 h 974414"/>
                      <a:gd name="connsiteX50" fmla="*/ 0 w 982797"/>
                      <a:gd name="connsiteY50" fmla="*/ 440489 h 974414"/>
                      <a:gd name="connsiteX51" fmla="*/ 15600 w 982797"/>
                      <a:gd name="connsiteY51" fmla="*/ 353726 h 974414"/>
                      <a:gd name="connsiteX52" fmla="*/ 20057 w 982797"/>
                      <a:gd name="connsiteY52" fmla="*/ 351501 h 974414"/>
                      <a:gd name="connsiteX53" fmla="*/ 129257 w 982797"/>
                      <a:gd name="connsiteY53" fmla="*/ 342602 h 974414"/>
                      <a:gd name="connsiteX54" fmla="*/ 135942 w 982797"/>
                      <a:gd name="connsiteY54" fmla="*/ 340377 h 974414"/>
                      <a:gd name="connsiteX55" fmla="*/ 151542 w 982797"/>
                      <a:gd name="connsiteY55" fmla="*/ 302558 h 974414"/>
                      <a:gd name="connsiteX56" fmla="*/ 151542 w 982797"/>
                      <a:gd name="connsiteY56" fmla="*/ 295884 h 974414"/>
                      <a:gd name="connsiteX57" fmla="*/ 91371 w 982797"/>
                      <a:gd name="connsiteY57" fmla="*/ 209121 h 974414"/>
                      <a:gd name="connsiteX58" fmla="*/ 91371 w 982797"/>
                      <a:gd name="connsiteY58" fmla="*/ 200222 h 974414"/>
                      <a:gd name="connsiteX59" fmla="*/ 147085 w 982797"/>
                      <a:gd name="connsiteY59" fmla="*/ 133481 h 974414"/>
                      <a:gd name="connsiteX60" fmla="*/ 153771 w 982797"/>
                      <a:gd name="connsiteY60" fmla="*/ 133481 h 974414"/>
                      <a:gd name="connsiteX61" fmla="*/ 249599 w 982797"/>
                      <a:gd name="connsiteY61" fmla="*/ 180200 h 974414"/>
                      <a:gd name="connsiteX62" fmla="*/ 256285 w 982797"/>
                      <a:gd name="connsiteY62" fmla="*/ 180200 h 974414"/>
                      <a:gd name="connsiteX63" fmla="*/ 289713 w 982797"/>
                      <a:gd name="connsiteY63" fmla="*/ 157953 h 974414"/>
                      <a:gd name="connsiteX64" fmla="*/ 283027 w 982797"/>
                      <a:gd name="connsiteY64" fmla="*/ 44493 h 974414"/>
                      <a:gd name="connsiteX65" fmla="*/ 369942 w 982797"/>
                      <a:gd name="connsiteY65" fmla="*/ 11123 h 974414"/>
                      <a:gd name="connsiteX66" fmla="*/ 439027 w 982797"/>
                      <a:gd name="connsiteY66" fmla="*/ 106785 h 974414"/>
                      <a:gd name="connsiteX67" fmla="*/ 481370 w 982797"/>
                      <a:gd name="connsiteY67" fmla="*/ 102335 h 974414"/>
                      <a:gd name="connsiteX68" fmla="*/ 532627 w 982797"/>
                      <a:gd name="connsiteY68"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8171 w 982797"/>
                      <a:gd name="connsiteY34" fmla="*/ 829810 h 974414"/>
                      <a:gd name="connsiteX35" fmla="*/ 135942 w 982797"/>
                      <a:gd name="connsiteY35" fmla="*/ 823135 h 974414"/>
                      <a:gd name="connsiteX36" fmla="*/ 182742 w 982797"/>
                      <a:gd name="connsiteY36" fmla="*/ 725249 h 974414"/>
                      <a:gd name="connsiteX37" fmla="*/ 182742 w 982797"/>
                      <a:gd name="connsiteY37" fmla="*/ 720800 h 974414"/>
                      <a:gd name="connsiteX38" fmla="*/ 160457 w 982797"/>
                      <a:gd name="connsiteY38" fmla="*/ 687429 h 974414"/>
                      <a:gd name="connsiteX39" fmla="*/ 153771 w 982797"/>
                      <a:gd name="connsiteY39" fmla="*/ 685205 h 974414"/>
                      <a:gd name="connsiteX40" fmla="*/ 49028 w 982797"/>
                      <a:gd name="connsiteY40" fmla="*/ 696328 h 974414"/>
                      <a:gd name="connsiteX41" fmla="*/ 42343 w 982797"/>
                      <a:gd name="connsiteY41" fmla="*/ 691879 h 974414"/>
                      <a:gd name="connsiteX42" fmla="*/ 11143 w 982797"/>
                      <a:gd name="connsiteY42" fmla="*/ 609565 h 974414"/>
                      <a:gd name="connsiteX43" fmla="*/ 15600 w 982797"/>
                      <a:gd name="connsiteY43" fmla="*/ 602891 h 974414"/>
                      <a:gd name="connsiteX44" fmla="*/ 104742 w 982797"/>
                      <a:gd name="connsiteY44" fmla="*/ 542824 h 974414"/>
                      <a:gd name="connsiteX45" fmla="*/ 106971 w 982797"/>
                      <a:gd name="connsiteY45" fmla="*/ 536150 h 974414"/>
                      <a:gd name="connsiteX46" fmla="*/ 104742 w 982797"/>
                      <a:gd name="connsiteY46" fmla="*/ 496106 h 974414"/>
                      <a:gd name="connsiteX47" fmla="*/ 102514 w 982797"/>
                      <a:gd name="connsiteY47" fmla="*/ 489432 h 974414"/>
                      <a:gd name="connsiteX48" fmla="*/ 4457 w 982797"/>
                      <a:gd name="connsiteY48" fmla="*/ 444938 h 974414"/>
                      <a:gd name="connsiteX49" fmla="*/ 0 w 982797"/>
                      <a:gd name="connsiteY49" fmla="*/ 440489 h 974414"/>
                      <a:gd name="connsiteX50" fmla="*/ 15600 w 982797"/>
                      <a:gd name="connsiteY50" fmla="*/ 353726 h 974414"/>
                      <a:gd name="connsiteX51" fmla="*/ 20057 w 982797"/>
                      <a:gd name="connsiteY51" fmla="*/ 351501 h 974414"/>
                      <a:gd name="connsiteX52" fmla="*/ 129257 w 982797"/>
                      <a:gd name="connsiteY52" fmla="*/ 342602 h 974414"/>
                      <a:gd name="connsiteX53" fmla="*/ 135942 w 982797"/>
                      <a:gd name="connsiteY53" fmla="*/ 340377 h 974414"/>
                      <a:gd name="connsiteX54" fmla="*/ 151542 w 982797"/>
                      <a:gd name="connsiteY54" fmla="*/ 302558 h 974414"/>
                      <a:gd name="connsiteX55" fmla="*/ 151542 w 982797"/>
                      <a:gd name="connsiteY55" fmla="*/ 295884 h 974414"/>
                      <a:gd name="connsiteX56" fmla="*/ 91371 w 982797"/>
                      <a:gd name="connsiteY56" fmla="*/ 209121 h 974414"/>
                      <a:gd name="connsiteX57" fmla="*/ 91371 w 982797"/>
                      <a:gd name="connsiteY57" fmla="*/ 200222 h 974414"/>
                      <a:gd name="connsiteX58" fmla="*/ 147085 w 982797"/>
                      <a:gd name="connsiteY58" fmla="*/ 133481 h 974414"/>
                      <a:gd name="connsiteX59" fmla="*/ 153771 w 982797"/>
                      <a:gd name="connsiteY59" fmla="*/ 133481 h 974414"/>
                      <a:gd name="connsiteX60" fmla="*/ 249599 w 982797"/>
                      <a:gd name="connsiteY60" fmla="*/ 180200 h 974414"/>
                      <a:gd name="connsiteX61" fmla="*/ 256285 w 982797"/>
                      <a:gd name="connsiteY61" fmla="*/ 180200 h 974414"/>
                      <a:gd name="connsiteX62" fmla="*/ 289713 w 982797"/>
                      <a:gd name="connsiteY62" fmla="*/ 157953 h 974414"/>
                      <a:gd name="connsiteX63" fmla="*/ 283027 w 982797"/>
                      <a:gd name="connsiteY63" fmla="*/ 44493 h 974414"/>
                      <a:gd name="connsiteX64" fmla="*/ 369942 w 982797"/>
                      <a:gd name="connsiteY64" fmla="*/ 11123 h 974414"/>
                      <a:gd name="connsiteX65" fmla="*/ 439027 w 982797"/>
                      <a:gd name="connsiteY65" fmla="*/ 106785 h 974414"/>
                      <a:gd name="connsiteX66" fmla="*/ 481370 w 982797"/>
                      <a:gd name="connsiteY66" fmla="*/ 102335 h 974414"/>
                      <a:gd name="connsiteX67" fmla="*/ 532627 w 982797"/>
                      <a:gd name="connsiteY67"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82742 w 982797"/>
                      <a:gd name="connsiteY36" fmla="*/ 720800 h 974414"/>
                      <a:gd name="connsiteX37" fmla="*/ 160457 w 982797"/>
                      <a:gd name="connsiteY37" fmla="*/ 687429 h 974414"/>
                      <a:gd name="connsiteX38" fmla="*/ 153771 w 982797"/>
                      <a:gd name="connsiteY38" fmla="*/ 685205 h 974414"/>
                      <a:gd name="connsiteX39" fmla="*/ 49028 w 982797"/>
                      <a:gd name="connsiteY39" fmla="*/ 696328 h 974414"/>
                      <a:gd name="connsiteX40" fmla="*/ 42343 w 982797"/>
                      <a:gd name="connsiteY40" fmla="*/ 691879 h 974414"/>
                      <a:gd name="connsiteX41" fmla="*/ 11143 w 982797"/>
                      <a:gd name="connsiteY41" fmla="*/ 609565 h 974414"/>
                      <a:gd name="connsiteX42" fmla="*/ 15600 w 982797"/>
                      <a:gd name="connsiteY42" fmla="*/ 602891 h 974414"/>
                      <a:gd name="connsiteX43" fmla="*/ 104742 w 982797"/>
                      <a:gd name="connsiteY43" fmla="*/ 542824 h 974414"/>
                      <a:gd name="connsiteX44" fmla="*/ 106971 w 982797"/>
                      <a:gd name="connsiteY44" fmla="*/ 536150 h 974414"/>
                      <a:gd name="connsiteX45" fmla="*/ 104742 w 982797"/>
                      <a:gd name="connsiteY45" fmla="*/ 496106 h 974414"/>
                      <a:gd name="connsiteX46" fmla="*/ 102514 w 982797"/>
                      <a:gd name="connsiteY46" fmla="*/ 489432 h 974414"/>
                      <a:gd name="connsiteX47" fmla="*/ 4457 w 982797"/>
                      <a:gd name="connsiteY47" fmla="*/ 444938 h 974414"/>
                      <a:gd name="connsiteX48" fmla="*/ 0 w 982797"/>
                      <a:gd name="connsiteY48" fmla="*/ 440489 h 974414"/>
                      <a:gd name="connsiteX49" fmla="*/ 15600 w 982797"/>
                      <a:gd name="connsiteY49" fmla="*/ 353726 h 974414"/>
                      <a:gd name="connsiteX50" fmla="*/ 20057 w 982797"/>
                      <a:gd name="connsiteY50" fmla="*/ 351501 h 974414"/>
                      <a:gd name="connsiteX51" fmla="*/ 129257 w 982797"/>
                      <a:gd name="connsiteY51" fmla="*/ 342602 h 974414"/>
                      <a:gd name="connsiteX52" fmla="*/ 135942 w 982797"/>
                      <a:gd name="connsiteY52" fmla="*/ 340377 h 974414"/>
                      <a:gd name="connsiteX53" fmla="*/ 151542 w 982797"/>
                      <a:gd name="connsiteY53" fmla="*/ 302558 h 974414"/>
                      <a:gd name="connsiteX54" fmla="*/ 151542 w 982797"/>
                      <a:gd name="connsiteY54" fmla="*/ 295884 h 974414"/>
                      <a:gd name="connsiteX55" fmla="*/ 91371 w 982797"/>
                      <a:gd name="connsiteY55" fmla="*/ 209121 h 974414"/>
                      <a:gd name="connsiteX56" fmla="*/ 91371 w 982797"/>
                      <a:gd name="connsiteY56" fmla="*/ 200222 h 974414"/>
                      <a:gd name="connsiteX57" fmla="*/ 147085 w 982797"/>
                      <a:gd name="connsiteY57" fmla="*/ 133481 h 974414"/>
                      <a:gd name="connsiteX58" fmla="*/ 153771 w 982797"/>
                      <a:gd name="connsiteY58" fmla="*/ 133481 h 974414"/>
                      <a:gd name="connsiteX59" fmla="*/ 249599 w 982797"/>
                      <a:gd name="connsiteY59" fmla="*/ 180200 h 974414"/>
                      <a:gd name="connsiteX60" fmla="*/ 256285 w 982797"/>
                      <a:gd name="connsiteY60" fmla="*/ 180200 h 974414"/>
                      <a:gd name="connsiteX61" fmla="*/ 289713 w 982797"/>
                      <a:gd name="connsiteY61" fmla="*/ 157953 h 974414"/>
                      <a:gd name="connsiteX62" fmla="*/ 283027 w 982797"/>
                      <a:gd name="connsiteY62" fmla="*/ 44493 h 974414"/>
                      <a:gd name="connsiteX63" fmla="*/ 369942 w 982797"/>
                      <a:gd name="connsiteY63" fmla="*/ 11123 h 974414"/>
                      <a:gd name="connsiteX64" fmla="*/ 439027 w 982797"/>
                      <a:gd name="connsiteY64" fmla="*/ 106785 h 974414"/>
                      <a:gd name="connsiteX65" fmla="*/ 481370 w 982797"/>
                      <a:gd name="connsiteY65" fmla="*/ 102335 h 974414"/>
                      <a:gd name="connsiteX66" fmla="*/ 532627 w 982797"/>
                      <a:gd name="connsiteY66"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60457 w 982797"/>
                      <a:gd name="connsiteY36" fmla="*/ 687429 h 974414"/>
                      <a:gd name="connsiteX37" fmla="*/ 153771 w 982797"/>
                      <a:gd name="connsiteY37" fmla="*/ 685205 h 974414"/>
                      <a:gd name="connsiteX38" fmla="*/ 49028 w 982797"/>
                      <a:gd name="connsiteY38" fmla="*/ 696328 h 974414"/>
                      <a:gd name="connsiteX39" fmla="*/ 42343 w 982797"/>
                      <a:gd name="connsiteY39" fmla="*/ 691879 h 974414"/>
                      <a:gd name="connsiteX40" fmla="*/ 11143 w 982797"/>
                      <a:gd name="connsiteY40" fmla="*/ 609565 h 974414"/>
                      <a:gd name="connsiteX41" fmla="*/ 15600 w 982797"/>
                      <a:gd name="connsiteY41" fmla="*/ 602891 h 974414"/>
                      <a:gd name="connsiteX42" fmla="*/ 104742 w 982797"/>
                      <a:gd name="connsiteY42" fmla="*/ 542824 h 974414"/>
                      <a:gd name="connsiteX43" fmla="*/ 106971 w 982797"/>
                      <a:gd name="connsiteY43" fmla="*/ 536150 h 974414"/>
                      <a:gd name="connsiteX44" fmla="*/ 104742 w 982797"/>
                      <a:gd name="connsiteY44" fmla="*/ 496106 h 974414"/>
                      <a:gd name="connsiteX45" fmla="*/ 102514 w 982797"/>
                      <a:gd name="connsiteY45" fmla="*/ 489432 h 974414"/>
                      <a:gd name="connsiteX46" fmla="*/ 4457 w 982797"/>
                      <a:gd name="connsiteY46" fmla="*/ 444938 h 974414"/>
                      <a:gd name="connsiteX47" fmla="*/ 0 w 982797"/>
                      <a:gd name="connsiteY47" fmla="*/ 440489 h 974414"/>
                      <a:gd name="connsiteX48" fmla="*/ 15600 w 982797"/>
                      <a:gd name="connsiteY48" fmla="*/ 353726 h 974414"/>
                      <a:gd name="connsiteX49" fmla="*/ 20057 w 982797"/>
                      <a:gd name="connsiteY49" fmla="*/ 351501 h 974414"/>
                      <a:gd name="connsiteX50" fmla="*/ 129257 w 982797"/>
                      <a:gd name="connsiteY50" fmla="*/ 342602 h 974414"/>
                      <a:gd name="connsiteX51" fmla="*/ 135942 w 982797"/>
                      <a:gd name="connsiteY51" fmla="*/ 340377 h 974414"/>
                      <a:gd name="connsiteX52" fmla="*/ 151542 w 982797"/>
                      <a:gd name="connsiteY52" fmla="*/ 302558 h 974414"/>
                      <a:gd name="connsiteX53" fmla="*/ 151542 w 982797"/>
                      <a:gd name="connsiteY53" fmla="*/ 295884 h 974414"/>
                      <a:gd name="connsiteX54" fmla="*/ 91371 w 982797"/>
                      <a:gd name="connsiteY54" fmla="*/ 209121 h 974414"/>
                      <a:gd name="connsiteX55" fmla="*/ 91371 w 982797"/>
                      <a:gd name="connsiteY55" fmla="*/ 200222 h 974414"/>
                      <a:gd name="connsiteX56" fmla="*/ 147085 w 982797"/>
                      <a:gd name="connsiteY56" fmla="*/ 133481 h 974414"/>
                      <a:gd name="connsiteX57" fmla="*/ 153771 w 982797"/>
                      <a:gd name="connsiteY57" fmla="*/ 133481 h 974414"/>
                      <a:gd name="connsiteX58" fmla="*/ 249599 w 982797"/>
                      <a:gd name="connsiteY58" fmla="*/ 180200 h 974414"/>
                      <a:gd name="connsiteX59" fmla="*/ 256285 w 982797"/>
                      <a:gd name="connsiteY59" fmla="*/ 180200 h 974414"/>
                      <a:gd name="connsiteX60" fmla="*/ 289713 w 982797"/>
                      <a:gd name="connsiteY60" fmla="*/ 157953 h 974414"/>
                      <a:gd name="connsiteX61" fmla="*/ 283027 w 982797"/>
                      <a:gd name="connsiteY61" fmla="*/ 44493 h 974414"/>
                      <a:gd name="connsiteX62" fmla="*/ 369942 w 982797"/>
                      <a:gd name="connsiteY62" fmla="*/ 11123 h 974414"/>
                      <a:gd name="connsiteX63" fmla="*/ 439027 w 982797"/>
                      <a:gd name="connsiteY63" fmla="*/ 106785 h 974414"/>
                      <a:gd name="connsiteX64" fmla="*/ 481370 w 982797"/>
                      <a:gd name="connsiteY64" fmla="*/ 102335 h 974414"/>
                      <a:gd name="connsiteX65" fmla="*/ 532627 w 982797"/>
                      <a:gd name="connsiteY65"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42343 w 982797"/>
                      <a:gd name="connsiteY38" fmla="*/ 691879 h 974414"/>
                      <a:gd name="connsiteX39" fmla="*/ 11143 w 982797"/>
                      <a:gd name="connsiteY39" fmla="*/ 609565 h 974414"/>
                      <a:gd name="connsiteX40" fmla="*/ 15600 w 982797"/>
                      <a:gd name="connsiteY40" fmla="*/ 602891 h 974414"/>
                      <a:gd name="connsiteX41" fmla="*/ 104742 w 982797"/>
                      <a:gd name="connsiteY41" fmla="*/ 542824 h 974414"/>
                      <a:gd name="connsiteX42" fmla="*/ 106971 w 982797"/>
                      <a:gd name="connsiteY42" fmla="*/ 536150 h 974414"/>
                      <a:gd name="connsiteX43" fmla="*/ 104742 w 982797"/>
                      <a:gd name="connsiteY43" fmla="*/ 496106 h 974414"/>
                      <a:gd name="connsiteX44" fmla="*/ 102514 w 982797"/>
                      <a:gd name="connsiteY44" fmla="*/ 489432 h 974414"/>
                      <a:gd name="connsiteX45" fmla="*/ 4457 w 982797"/>
                      <a:gd name="connsiteY45" fmla="*/ 444938 h 974414"/>
                      <a:gd name="connsiteX46" fmla="*/ 0 w 982797"/>
                      <a:gd name="connsiteY46" fmla="*/ 440489 h 974414"/>
                      <a:gd name="connsiteX47" fmla="*/ 15600 w 982797"/>
                      <a:gd name="connsiteY47" fmla="*/ 353726 h 974414"/>
                      <a:gd name="connsiteX48" fmla="*/ 20057 w 982797"/>
                      <a:gd name="connsiteY48" fmla="*/ 351501 h 974414"/>
                      <a:gd name="connsiteX49" fmla="*/ 129257 w 982797"/>
                      <a:gd name="connsiteY49" fmla="*/ 342602 h 974414"/>
                      <a:gd name="connsiteX50" fmla="*/ 135942 w 982797"/>
                      <a:gd name="connsiteY50" fmla="*/ 340377 h 974414"/>
                      <a:gd name="connsiteX51" fmla="*/ 151542 w 982797"/>
                      <a:gd name="connsiteY51" fmla="*/ 302558 h 974414"/>
                      <a:gd name="connsiteX52" fmla="*/ 151542 w 982797"/>
                      <a:gd name="connsiteY52" fmla="*/ 295884 h 974414"/>
                      <a:gd name="connsiteX53" fmla="*/ 91371 w 982797"/>
                      <a:gd name="connsiteY53" fmla="*/ 209121 h 974414"/>
                      <a:gd name="connsiteX54" fmla="*/ 91371 w 982797"/>
                      <a:gd name="connsiteY54" fmla="*/ 200222 h 974414"/>
                      <a:gd name="connsiteX55" fmla="*/ 147085 w 982797"/>
                      <a:gd name="connsiteY55" fmla="*/ 133481 h 974414"/>
                      <a:gd name="connsiteX56" fmla="*/ 153771 w 982797"/>
                      <a:gd name="connsiteY56" fmla="*/ 133481 h 974414"/>
                      <a:gd name="connsiteX57" fmla="*/ 249599 w 982797"/>
                      <a:gd name="connsiteY57" fmla="*/ 180200 h 974414"/>
                      <a:gd name="connsiteX58" fmla="*/ 256285 w 982797"/>
                      <a:gd name="connsiteY58" fmla="*/ 180200 h 974414"/>
                      <a:gd name="connsiteX59" fmla="*/ 289713 w 982797"/>
                      <a:gd name="connsiteY59" fmla="*/ 157953 h 974414"/>
                      <a:gd name="connsiteX60" fmla="*/ 283027 w 982797"/>
                      <a:gd name="connsiteY60" fmla="*/ 44493 h 974414"/>
                      <a:gd name="connsiteX61" fmla="*/ 369942 w 982797"/>
                      <a:gd name="connsiteY61" fmla="*/ 11123 h 974414"/>
                      <a:gd name="connsiteX62" fmla="*/ 439027 w 982797"/>
                      <a:gd name="connsiteY62" fmla="*/ 106785 h 974414"/>
                      <a:gd name="connsiteX63" fmla="*/ 481370 w 982797"/>
                      <a:gd name="connsiteY63" fmla="*/ 102335 h 974414"/>
                      <a:gd name="connsiteX64" fmla="*/ 532627 w 982797"/>
                      <a:gd name="connsiteY64"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1143 w 982797"/>
                      <a:gd name="connsiteY38" fmla="*/ 609565 h 974414"/>
                      <a:gd name="connsiteX39" fmla="*/ 15600 w 982797"/>
                      <a:gd name="connsiteY39" fmla="*/ 602891 h 974414"/>
                      <a:gd name="connsiteX40" fmla="*/ 104742 w 982797"/>
                      <a:gd name="connsiteY40" fmla="*/ 542824 h 974414"/>
                      <a:gd name="connsiteX41" fmla="*/ 106971 w 982797"/>
                      <a:gd name="connsiteY41" fmla="*/ 536150 h 974414"/>
                      <a:gd name="connsiteX42" fmla="*/ 104742 w 982797"/>
                      <a:gd name="connsiteY42" fmla="*/ 496106 h 974414"/>
                      <a:gd name="connsiteX43" fmla="*/ 102514 w 982797"/>
                      <a:gd name="connsiteY43" fmla="*/ 489432 h 974414"/>
                      <a:gd name="connsiteX44" fmla="*/ 4457 w 982797"/>
                      <a:gd name="connsiteY44" fmla="*/ 444938 h 974414"/>
                      <a:gd name="connsiteX45" fmla="*/ 0 w 982797"/>
                      <a:gd name="connsiteY45" fmla="*/ 440489 h 974414"/>
                      <a:gd name="connsiteX46" fmla="*/ 15600 w 982797"/>
                      <a:gd name="connsiteY46" fmla="*/ 353726 h 974414"/>
                      <a:gd name="connsiteX47" fmla="*/ 20057 w 982797"/>
                      <a:gd name="connsiteY47" fmla="*/ 351501 h 974414"/>
                      <a:gd name="connsiteX48" fmla="*/ 129257 w 982797"/>
                      <a:gd name="connsiteY48" fmla="*/ 342602 h 974414"/>
                      <a:gd name="connsiteX49" fmla="*/ 135942 w 982797"/>
                      <a:gd name="connsiteY49" fmla="*/ 340377 h 974414"/>
                      <a:gd name="connsiteX50" fmla="*/ 151542 w 982797"/>
                      <a:gd name="connsiteY50" fmla="*/ 302558 h 974414"/>
                      <a:gd name="connsiteX51" fmla="*/ 151542 w 982797"/>
                      <a:gd name="connsiteY51" fmla="*/ 295884 h 974414"/>
                      <a:gd name="connsiteX52" fmla="*/ 91371 w 982797"/>
                      <a:gd name="connsiteY52" fmla="*/ 209121 h 974414"/>
                      <a:gd name="connsiteX53" fmla="*/ 91371 w 982797"/>
                      <a:gd name="connsiteY53" fmla="*/ 200222 h 974414"/>
                      <a:gd name="connsiteX54" fmla="*/ 147085 w 982797"/>
                      <a:gd name="connsiteY54" fmla="*/ 133481 h 974414"/>
                      <a:gd name="connsiteX55" fmla="*/ 153771 w 982797"/>
                      <a:gd name="connsiteY55" fmla="*/ 133481 h 974414"/>
                      <a:gd name="connsiteX56" fmla="*/ 249599 w 982797"/>
                      <a:gd name="connsiteY56" fmla="*/ 180200 h 974414"/>
                      <a:gd name="connsiteX57" fmla="*/ 256285 w 982797"/>
                      <a:gd name="connsiteY57" fmla="*/ 180200 h 974414"/>
                      <a:gd name="connsiteX58" fmla="*/ 289713 w 982797"/>
                      <a:gd name="connsiteY58" fmla="*/ 157953 h 974414"/>
                      <a:gd name="connsiteX59" fmla="*/ 283027 w 982797"/>
                      <a:gd name="connsiteY59" fmla="*/ 44493 h 974414"/>
                      <a:gd name="connsiteX60" fmla="*/ 369942 w 982797"/>
                      <a:gd name="connsiteY60" fmla="*/ 11123 h 974414"/>
                      <a:gd name="connsiteX61" fmla="*/ 439027 w 982797"/>
                      <a:gd name="connsiteY61" fmla="*/ 106785 h 974414"/>
                      <a:gd name="connsiteX62" fmla="*/ 481370 w 982797"/>
                      <a:gd name="connsiteY62" fmla="*/ 102335 h 974414"/>
                      <a:gd name="connsiteX63" fmla="*/ 532627 w 982797"/>
                      <a:gd name="connsiteY63"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6971 w 982797"/>
                      <a:gd name="connsiteY40" fmla="*/ 536150 h 974414"/>
                      <a:gd name="connsiteX41" fmla="*/ 104742 w 982797"/>
                      <a:gd name="connsiteY41" fmla="*/ 496106 h 974414"/>
                      <a:gd name="connsiteX42" fmla="*/ 102514 w 982797"/>
                      <a:gd name="connsiteY42" fmla="*/ 489432 h 974414"/>
                      <a:gd name="connsiteX43" fmla="*/ 4457 w 982797"/>
                      <a:gd name="connsiteY43" fmla="*/ 444938 h 974414"/>
                      <a:gd name="connsiteX44" fmla="*/ 0 w 982797"/>
                      <a:gd name="connsiteY44" fmla="*/ 440489 h 974414"/>
                      <a:gd name="connsiteX45" fmla="*/ 15600 w 982797"/>
                      <a:gd name="connsiteY45" fmla="*/ 353726 h 974414"/>
                      <a:gd name="connsiteX46" fmla="*/ 20057 w 982797"/>
                      <a:gd name="connsiteY46" fmla="*/ 351501 h 974414"/>
                      <a:gd name="connsiteX47" fmla="*/ 129257 w 982797"/>
                      <a:gd name="connsiteY47" fmla="*/ 342602 h 974414"/>
                      <a:gd name="connsiteX48" fmla="*/ 135942 w 982797"/>
                      <a:gd name="connsiteY48" fmla="*/ 340377 h 974414"/>
                      <a:gd name="connsiteX49" fmla="*/ 151542 w 982797"/>
                      <a:gd name="connsiteY49" fmla="*/ 302558 h 974414"/>
                      <a:gd name="connsiteX50" fmla="*/ 151542 w 982797"/>
                      <a:gd name="connsiteY50" fmla="*/ 295884 h 974414"/>
                      <a:gd name="connsiteX51" fmla="*/ 91371 w 982797"/>
                      <a:gd name="connsiteY51" fmla="*/ 209121 h 974414"/>
                      <a:gd name="connsiteX52" fmla="*/ 91371 w 982797"/>
                      <a:gd name="connsiteY52" fmla="*/ 200222 h 974414"/>
                      <a:gd name="connsiteX53" fmla="*/ 147085 w 982797"/>
                      <a:gd name="connsiteY53" fmla="*/ 133481 h 974414"/>
                      <a:gd name="connsiteX54" fmla="*/ 153771 w 982797"/>
                      <a:gd name="connsiteY54" fmla="*/ 133481 h 974414"/>
                      <a:gd name="connsiteX55" fmla="*/ 249599 w 982797"/>
                      <a:gd name="connsiteY55" fmla="*/ 180200 h 974414"/>
                      <a:gd name="connsiteX56" fmla="*/ 256285 w 982797"/>
                      <a:gd name="connsiteY56" fmla="*/ 180200 h 974414"/>
                      <a:gd name="connsiteX57" fmla="*/ 289713 w 982797"/>
                      <a:gd name="connsiteY57" fmla="*/ 157953 h 974414"/>
                      <a:gd name="connsiteX58" fmla="*/ 283027 w 982797"/>
                      <a:gd name="connsiteY58" fmla="*/ 44493 h 974414"/>
                      <a:gd name="connsiteX59" fmla="*/ 369942 w 982797"/>
                      <a:gd name="connsiteY59" fmla="*/ 11123 h 974414"/>
                      <a:gd name="connsiteX60" fmla="*/ 439027 w 982797"/>
                      <a:gd name="connsiteY60" fmla="*/ 106785 h 974414"/>
                      <a:gd name="connsiteX61" fmla="*/ 481370 w 982797"/>
                      <a:gd name="connsiteY61" fmla="*/ 102335 h 974414"/>
                      <a:gd name="connsiteX62" fmla="*/ 532627 w 982797"/>
                      <a:gd name="connsiteY62"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102514 w 982797"/>
                      <a:gd name="connsiteY41" fmla="*/ 489432 h 974414"/>
                      <a:gd name="connsiteX42" fmla="*/ 4457 w 982797"/>
                      <a:gd name="connsiteY42" fmla="*/ 444938 h 974414"/>
                      <a:gd name="connsiteX43" fmla="*/ 0 w 982797"/>
                      <a:gd name="connsiteY43" fmla="*/ 440489 h 974414"/>
                      <a:gd name="connsiteX44" fmla="*/ 15600 w 982797"/>
                      <a:gd name="connsiteY44" fmla="*/ 353726 h 974414"/>
                      <a:gd name="connsiteX45" fmla="*/ 20057 w 982797"/>
                      <a:gd name="connsiteY45" fmla="*/ 351501 h 974414"/>
                      <a:gd name="connsiteX46" fmla="*/ 129257 w 982797"/>
                      <a:gd name="connsiteY46" fmla="*/ 342602 h 974414"/>
                      <a:gd name="connsiteX47" fmla="*/ 135942 w 982797"/>
                      <a:gd name="connsiteY47" fmla="*/ 340377 h 974414"/>
                      <a:gd name="connsiteX48" fmla="*/ 151542 w 982797"/>
                      <a:gd name="connsiteY48" fmla="*/ 302558 h 974414"/>
                      <a:gd name="connsiteX49" fmla="*/ 151542 w 982797"/>
                      <a:gd name="connsiteY49" fmla="*/ 295884 h 974414"/>
                      <a:gd name="connsiteX50" fmla="*/ 91371 w 982797"/>
                      <a:gd name="connsiteY50" fmla="*/ 209121 h 974414"/>
                      <a:gd name="connsiteX51" fmla="*/ 91371 w 982797"/>
                      <a:gd name="connsiteY51" fmla="*/ 200222 h 974414"/>
                      <a:gd name="connsiteX52" fmla="*/ 147085 w 982797"/>
                      <a:gd name="connsiteY52" fmla="*/ 133481 h 974414"/>
                      <a:gd name="connsiteX53" fmla="*/ 153771 w 982797"/>
                      <a:gd name="connsiteY53" fmla="*/ 133481 h 974414"/>
                      <a:gd name="connsiteX54" fmla="*/ 249599 w 982797"/>
                      <a:gd name="connsiteY54" fmla="*/ 180200 h 974414"/>
                      <a:gd name="connsiteX55" fmla="*/ 256285 w 982797"/>
                      <a:gd name="connsiteY55" fmla="*/ 180200 h 974414"/>
                      <a:gd name="connsiteX56" fmla="*/ 289713 w 982797"/>
                      <a:gd name="connsiteY56" fmla="*/ 157953 h 974414"/>
                      <a:gd name="connsiteX57" fmla="*/ 283027 w 982797"/>
                      <a:gd name="connsiteY57" fmla="*/ 44493 h 974414"/>
                      <a:gd name="connsiteX58" fmla="*/ 369942 w 982797"/>
                      <a:gd name="connsiteY58" fmla="*/ 11123 h 974414"/>
                      <a:gd name="connsiteX59" fmla="*/ 439027 w 982797"/>
                      <a:gd name="connsiteY59" fmla="*/ 106785 h 974414"/>
                      <a:gd name="connsiteX60" fmla="*/ 481370 w 982797"/>
                      <a:gd name="connsiteY60" fmla="*/ 102335 h 974414"/>
                      <a:gd name="connsiteX61" fmla="*/ 532627 w 982797"/>
                      <a:gd name="connsiteY61"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15600 w 982797"/>
                      <a:gd name="connsiteY43" fmla="*/ 353726 h 974414"/>
                      <a:gd name="connsiteX44" fmla="*/ 20057 w 982797"/>
                      <a:gd name="connsiteY44" fmla="*/ 351501 h 974414"/>
                      <a:gd name="connsiteX45" fmla="*/ 129257 w 982797"/>
                      <a:gd name="connsiteY45" fmla="*/ 342602 h 974414"/>
                      <a:gd name="connsiteX46" fmla="*/ 135942 w 982797"/>
                      <a:gd name="connsiteY46" fmla="*/ 340377 h 974414"/>
                      <a:gd name="connsiteX47" fmla="*/ 151542 w 982797"/>
                      <a:gd name="connsiteY47" fmla="*/ 302558 h 974414"/>
                      <a:gd name="connsiteX48" fmla="*/ 151542 w 982797"/>
                      <a:gd name="connsiteY48" fmla="*/ 295884 h 974414"/>
                      <a:gd name="connsiteX49" fmla="*/ 91371 w 982797"/>
                      <a:gd name="connsiteY49" fmla="*/ 209121 h 974414"/>
                      <a:gd name="connsiteX50" fmla="*/ 91371 w 982797"/>
                      <a:gd name="connsiteY50" fmla="*/ 200222 h 974414"/>
                      <a:gd name="connsiteX51" fmla="*/ 147085 w 982797"/>
                      <a:gd name="connsiteY51" fmla="*/ 133481 h 974414"/>
                      <a:gd name="connsiteX52" fmla="*/ 153771 w 982797"/>
                      <a:gd name="connsiteY52" fmla="*/ 133481 h 974414"/>
                      <a:gd name="connsiteX53" fmla="*/ 249599 w 982797"/>
                      <a:gd name="connsiteY53" fmla="*/ 180200 h 974414"/>
                      <a:gd name="connsiteX54" fmla="*/ 256285 w 982797"/>
                      <a:gd name="connsiteY54" fmla="*/ 180200 h 974414"/>
                      <a:gd name="connsiteX55" fmla="*/ 289713 w 982797"/>
                      <a:gd name="connsiteY55" fmla="*/ 157953 h 974414"/>
                      <a:gd name="connsiteX56" fmla="*/ 283027 w 982797"/>
                      <a:gd name="connsiteY56" fmla="*/ 44493 h 974414"/>
                      <a:gd name="connsiteX57" fmla="*/ 369942 w 982797"/>
                      <a:gd name="connsiteY57" fmla="*/ 11123 h 974414"/>
                      <a:gd name="connsiteX58" fmla="*/ 439027 w 982797"/>
                      <a:gd name="connsiteY58" fmla="*/ 106785 h 974414"/>
                      <a:gd name="connsiteX59" fmla="*/ 481370 w 982797"/>
                      <a:gd name="connsiteY59" fmla="*/ 102335 h 974414"/>
                      <a:gd name="connsiteX60" fmla="*/ 532627 w 982797"/>
                      <a:gd name="connsiteY60"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92512 w 982797"/>
                      <a:gd name="connsiteY0" fmla="*/ 299009 h 974414"/>
                      <a:gd name="connsiteX1" fmla="*/ 303330 w 982797"/>
                      <a:gd name="connsiteY1" fmla="*/ 487207 h 974414"/>
                      <a:gd name="connsiteX2" fmla="*/ 492512 w 982797"/>
                      <a:gd name="connsiteY2" fmla="*/ 675405 h 974414"/>
                      <a:gd name="connsiteX3" fmla="*/ 681694 w 982797"/>
                      <a:gd name="connsiteY3" fmla="*/ 487207 h 974414"/>
                      <a:gd name="connsiteX4" fmla="*/ 492512 w 982797"/>
                      <a:gd name="connsiteY4" fmla="*/ 299009 h 974414"/>
                      <a:gd name="connsiteX5" fmla="*/ 532627 w 982797"/>
                      <a:gd name="connsiteY5" fmla="*/ 0 h 974414"/>
                      <a:gd name="connsiteX6" fmla="*/ 626226 w 982797"/>
                      <a:gd name="connsiteY6" fmla="*/ 13348 h 974414"/>
                      <a:gd name="connsiteX7" fmla="*/ 641826 w 982797"/>
                      <a:gd name="connsiteY7" fmla="*/ 131256 h 974414"/>
                      <a:gd name="connsiteX8" fmla="*/ 677483 w 982797"/>
                      <a:gd name="connsiteY8" fmla="*/ 151279 h 974414"/>
                      <a:gd name="connsiteX9" fmla="*/ 779997 w 982797"/>
                      <a:gd name="connsiteY9" fmla="*/ 86763 h 974414"/>
                      <a:gd name="connsiteX10" fmla="*/ 846854 w 982797"/>
                      <a:gd name="connsiteY10" fmla="*/ 144605 h 974414"/>
                      <a:gd name="connsiteX11" fmla="*/ 800054 w 982797"/>
                      <a:gd name="connsiteY11" fmla="*/ 253614 h 974414"/>
                      <a:gd name="connsiteX12" fmla="*/ 822340 w 982797"/>
                      <a:gd name="connsiteY12" fmla="*/ 286985 h 974414"/>
                      <a:gd name="connsiteX13" fmla="*/ 938225 w 982797"/>
                      <a:gd name="connsiteY13" fmla="*/ 278086 h 974414"/>
                      <a:gd name="connsiteX14" fmla="*/ 971654 w 982797"/>
                      <a:gd name="connsiteY14" fmla="*/ 367074 h 974414"/>
                      <a:gd name="connsiteX15" fmla="*/ 878054 w 982797"/>
                      <a:gd name="connsiteY15" fmla="*/ 431590 h 974414"/>
                      <a:gd name="connsiteX16" fmla="*/ 878054 w 982797"/>
                      <a:gd name="connsiteY16" fmla="*/ 478308 h 974414"/>
                      <a:gd name="connsiteX17" fmla="*/ 982797 w 982797"/>
                      <a:gd name="connsiteY17" fmla="*/ 529476 h 974414"/>
                      <a:gd name="connsiteX18" fmla="*/ 967197 w 982797"/>
                      <a:gd name="connsiteY18" fmla="*/ 620689 h 974414"/>
                      <a:gd name="connsiteX19" fmla="*/ 851311 w 982797"/>
                      <a:gd name="connsiteY19" fmla="*/ 634037 h 974414"/>
                      <a:gd name="connsiteX20" fmla="*/ 831254 w 982797"/>
                      <a:gd name="connsiteY20" fmla="*/ 674081 h 974414"/>
                      <a:gd name="connsiteX21" fmla="*/ 895883 w 982797"/>
                      <a:gd name="connsiteY21" fmla="*/ 774192 h 974414"/>
                      <a:gd name="connsiteX22" fmla="*/ 835711 w 982797"/>
                      <a:gd name="connsiteY22" fmla="*/ 840933 h 974414"/>
                      <a:gd name="connsiteX23" fmla="*/ 728740 w 982797"/>
                      <a:gd name="connsiteY23" fmla="*/ 791990 h 974414"/>
                      <a:gd name="connsiteX24" fmla="*/ 690855 w 982797"/>
                      <a:gd name="connsiteY24" fmla="*/ 823135 h 974414"/>
                      <a:gd name="connsiteX25" fmla="*/ 701998 w 982797"/>
                      <a:gd name="connsiteY25" fmla="*/ 929921 h 974414"/>
                      <a:gd name="connsiteX26" fmla="*/ 608398 w 982797"/>
                      <a:gd name="connsiteY26" fmla="*/ 963291 h 974414"/>
                      <a:gd name="connsiteX27" fmla="*/ 550743 w 982797"/>
                      <a:gd name="connsiteY27" fmla="*/ 875561 h 974414"/>
                      <a:gd name="connsiteX28" fmla="*/ 494741 w 982797"/>
                      <a:gd name="connsiteY28" fmla="*/ 875584 h 974414"/>
                      <a:gd name="connsiteX29" fmla="*/ 450170 w 982797"/>
                      <a:gd name="connsiteY29" fmla="*/ 974414 h 974414"/>
                      <a:gd name="connsiteX30" fmla="*/ 356570 w 982797"/>
                      <a:gd name="connsiteY30" fmla="*/ 958842 h 974414"/>
                      <a:gd name="connsiteX31" fmla="*/ 347656 w 982797"/>
                      <a:gd name="connsiteY31" fmla="*/ 847607 h 974414"/>
                      <a:gd name="connsiteX32" fmla="*/ 296399 w 982797"/>
                      <a:gd name="connsiteY32" fmla="*/ 825360 h 974414"/>
                      <a:gd name="connsiteX33" fmla="*/ 205028 w 982797"/>
                      <a:gd name="connsiteY33" fmla="*/ 887652 h 974414"/>
                      <a:gd name="connsiteX34" fmla="*/ 135942 w 982797"/>
                      <a:gd name="connsiteY34" fmla="*/ 823135 h 974414"/>
                      <a:gd name="connsiteX35" fmla="*/ 182742 w 982797"/>
                      <a:gd name="connsiteY35" fmla="*/ 725249 h 974414"/>
                      <a:gd name="connsiteX36" fmla="*/ 153771 w 982797"/>
                      <a:gd name="connsiteY36" fmla="*/ 685205 h 974414"/>
                      <a:gd name="connsiteX37" fmla="*/ 49028 w 982797"/>
                      <a:gd name="connsiteY37" fmla="*/ 696328 h 974414"/>
                      <a:gd name="connsiteX38" fmla="*/ 15600 w 982797"/>
                      <a:gd name="connsiteY38" fmla="*/ 602891 h 974414"/>
                      <a:gd name="connsiteX39" fmla="*/ 104742 w 982797"/>
                      <a:gd name="connsiteY39" fmla="*/ 542824 h 974414"/>
                      <a:gd name="connsiteX40" fmla="*/ 104742 w 982797"/>
                      <a:gd name="connsiteY40" fmla="*/ 496106 h 974414"/>
                      <a:gd name="connsiteX41" fmla="*/ 4457 w 982797"/>
                      <a:gd name="connsiteY41" fmla="*/ 444938 h 974414"/>
                      <a:gd name="connsiteX42" fmla="*/ 0 w 982797"/>
                      <a:gd name="connsiteY42" fmla="*/ 440489 h 974414"/>
                      <a:gd name="connsiteX43" fmla="*/ 20057 w 982797"/>
                      <a:gd name="connsiteY43" fmla="*/ 351501 h 974414"/>
                      <a:gd name="connsiteX44" fmla="*/ 129257 w 982797"/>
                      <a:gd name="connsiteY44" fmla="*/ 342602 h 974414"/>
                      <a:gd name="connsiteX45" fmla="*/ 135942 w 982797"/>
                      <a:gd name="connsiteY45" fmla="*/ 340377 h 974414"/>
                      <a:gd name="connsiteX46" fmla="*/ 151542 w 982797"/>
                      <a:gd name="connsiteY46" fmla="*/ 302558 h 974414"/>
                      <a:gd name="connsiteX47" fmla="*/ 151542 w 982797"/>
                      <a:gd name="connsiteY47" fmla="*/ 295884 h 974414"/>
                      <a:gd name="connsiteX48" fmla="*/ 91371 w 982797"/>
                      <a:gd name="connsiteY48" fmla="*/ 209121 h 974414"/>
                      <a:gd name="connsiteX49" fmla="*/ 91371 w 982797"/>
                      <a:gd name="connsiteY49" fmla="*/ 200222 h 974414"/>
                      <a:gd name="connsiteX50" fmla="*/ 147085 w 982797"/>
                      <a:gd name="connsiteY50" fmla="*/ 133481 h 974414"/>
                      <a:gd name="connsiteX51" fmla="*/ 153771 w 982797"/>
                      <a:gd name="connsiteY51" fmla="*/ 133481 h 974414"/>
                      <a:gd name="connsiteX52" fmla="*/ 249599 w 982797"/>
                      <a:gd name="connsiteY52" fmla="*/ 180200 h 974414"/>
                      <a:gd name="connsiteX53" fmla="*/ 256285 w 982797"/>
                      <a:gd name="connsiteY53" fmla="*/ 180200 h 974414"/>
                      <a:gd name="connsiteX54" fmla="*/ 289713 w 982797"/>
                      <a:gd name="connsiteY54" fmla="*/ 157953 h 974414"/>
                      <a:gd name="connsiteX55" fmla="*/ 283027 w 982797"/>
                      <a:gd name="connsiteY55" fmla="*/ 44493 h 974414"/>
                      <a:gd name="connsiteX56" fmla="*/ 369942 w 982797"/>
                      <a:gd name="connsiteY56" fmla="*/ 11123 h 974414"/>
                      <a:gd name="connsiteX57" fmla="*/ 439027 w 982797"/>
                      <a:gd name="connsiteY57" fmla="*/ 106785 h 974414"/>
                      <a:gd name="connsiteX58" fmla="*/ 481370 w 982797"/>
                      <a:gd name="connsiteY58" fmla="*/ 102335 h 974414"/>
                      <a:gd name="connsiteX59" fmla="*/ 532627 w 982797"/>
                      <a:gd name="connsiteY59"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24800 w 978340"/>
                      <a:gd name="connsiteY43" fmla="*/ 342602 h 974414"/>
                      <a:gd name="connsiteX44" fmla="*/ 131485 w 978340"/>
                      <a:gd name="connsiteY44" fmla="*/ 340377 h 974414"/>
                      <a:gd name="connsiteX45" fmla="*/ 147085 w 978340"/>
                      <a:gd name="connsiteY45" fmla="*/ 302558 h 974414"/>
                      <a:gd name="connsiteX46" fmla="*/ 147085 w 978340"/>
                      <a:gd name="connsiteY46" fmla="*/ 295884 h 974414"/>
                      <a:gd name="connsiteX47" fmla="*/ 86914 w 978340"/>
                      <a:gd name="connsiteY47" fmla="*/ 209121 h 974414"/>
                      <a:gd name="connsiteX48" fmla="*/ 86914 w 978340"/>
                      <a:gd name="connsiteY48" fmla="*/ 200222 h 974414"/>
                      <a:gd name="connsiteX49" fmla="*/ 142628 w 978340"/>
                      <a:gd name="connsiteY49" fmla="*/ 133481 h 974414"/>
                      <a:gd name="connsiteX50" fmla="*/ 149314 w 978340"/>
                      <a:gd name="connsiteY50" fmla="*/ 133481 h 974414"/>
                      <a:gd name="connsiteX51" fmla="*/ 245142 w 978340"/>
                      <a:gd name="connsiteY51" fmla="*/ 180200 h 974414"/>
                      <a:gd name="connsiteX52" fmla="*/ 251828 w 978340"/>
                      <a:gd name="connsiteY52" fmla="*/ 180200 h 974414"/>
                      <a:gd name="connsiteX53" fmla="*/ 285256 w 978340"/>
                      <a:gd name="connsiteY53" fmla="*/ 157953 h 974414"/>
                      <a:gd name="connsiteX54" fmla="*/ 278570 w 978340"/>
                      <a:gd name="connsiteY54" fmla="*/ 44493 h 974414"/>
                      <a:gd name="connsiteX55" fmla="*/ 365485 w 978340"/>
                      <a:gd name="connsiteY55" fmla="*/ 11123 h 974414"/>
                      <a:gd name="connsiteX56" fmla="*/ 434570 w 978340"/>
                      <a:gd name="connsiteY56" fmla="*/ 106785 h 974414"/>
                      <a:gd name="connsiteX57" fmla="*/ 476913 w 978340"/>
                      <a:gd name="connsiteY57" fmla="*/ 102335 h 974414"/>
                      <a:gd name="connsiteX58" fmla="*/ 528170 w 978340"/>
                      <a:gd name="connsiteY58"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147085 w 978340"/>
                      <a:gd name="connsiteY45" fmla="*/ 295884 h 974414"/>
                      <a:gd name="connsiteX46" fmla="*/ 86914 w 978340"/>
                      <a:gd name="connsiteY46" fmla="*/ 209121 h 974414"/>
                      <a:gd name="connsiteX47" fmla="*/ 86914 w 978340"/>
                      <a:gd name="connsiteY47" fmla="*/ 200222 h 974414"/>
                      <a:gd name="connsiteX48" fmla="*/ 142628 w 978340"/>
                      <a:gd name="connsiteY48" fmla="*/ 133481 h 974414"/>
                      <a:gd name="connsiteX49" fmla="*/ 149314 w 978340"/>
                      <a:gd name="connsiteY49" fmla="*/ 133481 h 974414"/>
                      <a:gd name="connsiteX50" fmla="*/ 245142 w 978340"/>
                      <a:gd name="connsiteY50" fmla="*/ 180200 h 974414"/>
                      <a:gd name="connsiteX51" fmla="*/ 251828 w 978340"/>
                      <a:gd name="connsiteY51" fmla="*/ 180200 h 974414"/>
                      <a:gd name="connsiteX52" fmla="*/ 285256 w 978340"/>
                      <a:gd name="connsiteY52" fmla="*/ 157953 h 974414"/>
                      <a:gd name="connsiteX53" fmla="*/ 278570 w 978340"/>
                      <a:gd name="connsiteY53" fmla="*/ 44493 h 974414"/>
                      <a:gd name="connsiteX54" fmla="*/ 365485 w 978340"/>
                      <a:gd name="connsiteY54" fmla="*/ 11123 h 974414"/>
                      <a:gd name="connsiteX55" fmla="*/ 434570 w 978340"/>
                      <a:gd name="connsiteY55" fmla="*/ 106785 h 974414"/>
                      <a:gd name="connsiteX56" fmla="*/ 476913 w 978340"/>
                      <a:gd name="connsiteY56" fmla="*/ 102335 h 974414"/>
                      <a:gd name="connsiteX57" fmla="*/ 528170 w 978340"/>
                      <a:gd name="connsiteY57"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9121 h 974414"/>
                      <a:gd name="connsiteX46" fmla="*/ 86914 w 978340"/>
                      <a:gd name="connsiteY46" fmla="*/ 200222 h 974414"/>
                      <a:gd name="connsiteX47" fmla="*/ 142628 w 978340"/>
                      <a:gd name="connsiteY47" fmla="*/ 133481 h 974414"/>
                      <a:gd name="connsiteX48" fmla="*/ 149314 w 978340"/>
                      <a:gd name="connsiteY48" fmla="*/ 133481 h 974414"/>
                      <a:gd name="connsiteX49" fmla="*/ 245142 w 978340"/>
                      <a:gd name="connsiteY49" fmla="*/ 180200 h 974414"/>
                      <a:gd name="connsiteX50" fmla="*/ 251828 w 978340"/>
                      <a:gd name="connsiteY50" fmla="*/ 180200 h 974414"/>
                      <a:gd name="connsiteX51" fmla="*/ 285256 w 978340"/>
                      <a:gd name="connsiteY51" fmla="*/ 157953 h 974414"/>
                      <a:gd name="connsiteX52" fmla="*/ 278570 w 978340"/>
                      <a:gd name="connsiteY52" fmla="*/ 44493 h 974414"/>
                      <a:gd name="connsiteX53" fmla="*/ 365485 w 978340"/>
                      <a:gd name="connsiteY53" fmla="*/ 11123 h 974414"/>
                      <a:gd name="connsiteX54" fmla="*/ 434570 w 978340"/>
                      <a:gd name="connsiteY54" fmla="*/ 106785 h 974414"/>
                      <a:gd name="connsiteX55" fmla="*/ 476913 w 978340"/>
                      <a:gd name="connsiteY55" fmla="*/ 102335 h 974414"/>
                      <a:gd name="connsiteX56" fmla="*/ 528170 w 978340"/>
                      <a:gd name="connsiteY56"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149314 w 978340"/>
                      <a:gd name="connsiteY47" fmla="*/ 133481 h 974414"/>
                      <a:gd name="connsiteX48" fmla="*/ 245142 w 978340"/>
                      <a:gd name="connsiteY48" fmla="*/ 180200 h 974414"/>
                      <a:gd name="connsiteX49" fmla="*/ 251828 w 978340"/>
                      <a:gd name="connsiteY49" fmla="*/ 180200 h 974414"/>
                      <a:gd name="connsiteX50" fmla="*/ 285256 w 978340"/>
                      <a:gd name="connsiteY50" fmla="*/ 157953 h 974414"/>
                      <a:gd name="connsiteX51" fmla="*/ 278570 w 978340"/>
                      <a:gd name="connsiteY51" fmla="*/ 44493 h 974414"/>
                      <a:gd name="connsiteX52" fmla="*/ 365485 w 978340"/>
                      <a:gd name="connsiteY52" fmla="*/ 11123 h 974414"/>
                      <a:gd name="connsiteX53" fmla="*/ 434570 w 978340"/>
                      <a:gd name="connsiteY53" fmla="*/ 106785 h 974414"/>
                      <a:gd name="connsiteX54" fmla="*/ 476913 w 978340"/>
                      <a:gd name="connsiteY54" fmla="*/ 102335 h 974414"/>
                      <a:gd name="connsiteX55" fmla="*/ 528170 w 978340"/>
                      <a:gd name="connsiteY55"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45142 w 978340"/>
                      <a:gd name="connsiteY47" fmla="*/ 180200 h 974414"/>
                      <a:gd name="connsiteX48" fmla="*/ 251828 w 978340"/>
                      <a:gd name="connsiteY48" fmla="*/ 180200 h 974414"/>
                      <a:gd name="connsiteX49" fmla="*/ 285256 w 978340"/>
                      <a:gd name="connsiteY49" fmla="*/ 157953 h 974414"/>
                      <a:gd name="connsiteX50" fmla="*/ 278570 w 978340"/>
                      <a:gd name="connsiteY50" fmla="*/ 44493 h 974414"/>
                      <a:gd name="connsiteX51" fmla="*/ 365485 w 978340"/>
                      <a:gd name="connsiteY51" fmla="*/ 11123 h 974414"/>
                      <a:gd name="connsiteX52" fmla="*/ 434570 w 978340"/>
                      <a:gd name="connsiteY52" fmla="*/ 106785 h 974414"/>
                      <a:gd name="connsiteX53" fmla="*/ 476913 w 978340"/>
                      <a:gd name="connsiteY53" fmla="*/ 102335 h 974414"/>
                      <a:gd name="connsiteX54" fmla="*/ 528170 w 978340"/>
                      <a:gd name="connsiteY54" fmla="*/ 0 h 974414"/>
                      <a:gd name="connsiteX0" fmla="*/ 488055 w 978340"/>
                      <a:gd name="connsiteY0" fmla="*/ 299009 h 974414"/>
                      <a:gd name="connsiteX1" fmla="*/ 298873 w 978340"/>
                      <a:gd name="connsiteY1" fmla="*/ 487207 h 974414"/>
                      <a:gd name="connsiteX2" fmla="*/ 488055 w 978340"/>
                      <a:gd name="connsiteY2" fmla="*/ 675405 h 974414"/>
                      <a:gd name="connsiteX3" fmla="*/ 677237 w 978340"/>
                      <a:gd name="connsiteY3" fmla="*/ 487207 h 974414"/>
                      <a:gd name="connsiteX4" fmla="*/ 488055 w 978340"/>
                      <a:gd name="connsiteY4" fmla="*/ 299009 h 974414"/>
                      <a:gd name="connsiteX5" fmla="*/ 528170 w 978340"/>
                      <a:gd name="connsiteY5" fmla="*/ 0 h 974414"/>
                      <a:gd name="connsiteX6" fmla="*/ 621769 w 978340"/>
                      <a:gd name="connsiteY6" fmla="*/ 13348 h 974414"/>
                      <a:gd name="connsiteX7" fmla="*/ 637369 w 978340"/>
                      <a:gd name="connsiteY7" fmla="*/ 131256 h 974414"/>
                      <a:gd name="connsiteX8" fmla="*/ 673026 w 978340"/>
                      <a:gd name="connsiteY8" fmla="*/ 151279 h 974414"/>
                      <a:gd name="connsiteX9" fmla="*/ 775540 w 978340"/>
                      <a:gd name="connsiteY9" fmla="*/ 86763 h 974414"/>
                      <a:gd name="connsiteX10" fmla="*/ 842397 w 978340"/>
                      <a:gd name="connsiteY10" fmla="*/ 144605 h 974414"/>
                      <a:gd name="connsiteX11" fmla="*/ 795597 w 978340"/>
                      <a:gd name="connsiteY11" fmla="*/ 253614 h 974414"/>
                      <a:gd name="connsiteX12" fmla="*/ 817883 w 978340"/>
                      <a:gd name="connsiteY12" fmla="*/ 286985 h 974414"/>
                      <a:gd name="connsiteX13" fmla="*/ 933768 w 978340"/>
                      <a:gd name="connsiteY13" fmla="*/ 278086 h 974414"/>
                      <a:gd name="connsiteX14" fmla="*/ 967197 w 978340"/>
                      <a:gd name="connsiteY14" fmla="*/ 367074 h 974414"/>
                      <a:gd name="connsiteX15" fmla="*/ 873597 w 978340"/>
                      <a:gd name="connsiteY15" fmla="*/ 431590 h 974414"/>
                      <a:gd name="connsiteX16" fmla="*/ 873597 w 978340"/>
                      <a:gd name="connsiteY16" fmla="*/ 478308 h 974414"/>
                      <a:gd name="connsiteX17" fmla="*/ 978340 w 978340"/>
                      <a:gd name="connsiteY17" fmla="*/ 529476 h 974414"/>
                      <a:gd name="connsiteX18" fmla="*/ 962740 w 978340"/>
                      <a:gd name="connsiteY18" fmla="*/ 620689 h 974414"/>
                      <a:gd name="connsiteX19" fmla="*/ 846854 w 978340"/>
                      <a:gd name="connsiteY19" fmla="*/ 634037 h 974414"/>
                      <a:gd name="connsiteX20" fmla="*/ 826797 w 978340"/>
                      <a:gd name="connsiteY20" fmla="*/ 674081 h 974414"/>
                      <a:gd name="connsiteX21" fmla="*/ 891426 w 978340"/>
                      <a:gd name="connsiteY21" fmla="*/ 774192 h 974414"/>
                      <a:gd name="connsiteX22" fmla="*/ 831254 w 978340"/>
                      <a:gd name="connsiteY22" fmla="*/ 840933 h 974414"/>
                      <a:gd name="connsiteX23" fmla="*/ 724283 w 978340"/>
                      <a:gd name="connsiteY23" fmla="*/ 791990 h 974414"/>
                      <a:gd name="connsiteX24" fmla="*/ 686398 w 978340"/>
                      <a:gd name="connsiteY24" fmla="*/ 823135 h 974414"/>
                      <a:gd name="connsiteX25" fmla="*/ 697541 w 978340"/>
                      <a:gd name="connsiteY25" fmla="*/ 929921 h 974414"/>
                      <a:gd name="connsiteX26" fmla="*/ 603941 w 978340"/>
                      <a:gd name="connsiteY26" fmla="*/ 963291 h 974414"/>
                      <a:gd name="connsiteX27" fmla="*/ 546286 w 978340"/>
                      <a:gd name="connsiteY27" fmla="*/ 875561 h 974414"/>
                      <a:gd name="connsiteX28" fmla="*/ 490284 w 978340"/>
                      <a:gd name="connsiteY28" fmla="*/ 875584 h 974414"/>
                      <a:gd name="connsiteX29" fmla="*/ 445713 w 978340"/>
                      <a:gd name="connsiteY29" fmla="*/ 974414 h 974414"/>
                      <a:gd name="connsiteX30" fmla="*/ 352113 w 978340"/>
                      <a:gd name="connsiteY30" fmla="*/ 958842 h 974414"/>
                      <a:gd name="connsiteX31" fmla="*/ 343199 w 978340"/>
                      <a:gd name="connsiteY31" fmla="*/ 847607 h 974414"/>
                      <a:gd name="connsiteX32" fmla="*/ 291942 w 978340"/>
                      <a:gd name="connsiteY32" fmla="*/ 825360 h 974414"/>
                      <a:gd name="connsiteX33" fmla="*/ 200571 w 978340"/>
                      <a:gd name="connsiteY33" fmla="*/ 887652 h 974414"/>
                      <a:gd name="connsiteX34" fmla="*/ 131485 w 978340"/>
                      <a:gd name="connsiteY34" fmla="*/ 823135 h 974414"/>
                      <a:gd name="connsiteX35" fmla="*/ 178285 w 978340"/>
                      <a:gd name="connsiteY35" fmla="*/ 725249 h 974414"/>
                      <a:gd name="connsiteX36" fmla="*/ 149314 w 978340"/>
                      <a:gd name="connsiteY36" fmla="*/ 685205 h 974414"/>
                      <a:gd name="connsiteX37" fmla="*/ 44571 w 978340"/>
                      <a:gd name="connsiteY37" fmla="*/ 696328 h 974414"/>
                      <a:gd name="connsiteX38" fmla="*/ 11143 w 978340"/>
                      <a:gd name="connsiteY38" fmla="*/ 602891 h 974414"/>
                      <a:gd name="connsiteX39" fmla="*/ 100285 w 978340"/>
                      <a:gd name="connsiteY39" fmla="*/ 542824 h 974414"/>
                      <a:gd name="connsiteX40" fmla="*/ 100285 w 978340"/>
                      <a:gd name="connsiteY40" fmla="*/ 496106 h 974414"/>
                      <a:gd name="connsiteX41" fmla="*/ 0 w 978340"/>
                      <a:gd name="connsiteY41" fmla="*/ 444938 h 974414"/>
                      <a:gd name="connsiteX42" fmla="*/ 15600 w 978340"/>
                      <a:gd name="connsiteY42" fmla="*/ 351501 h 974414"/>
                      <a:gd name="connsiteX43" fmla="*/ 131485 w 978340"/>
                      <a:gd name="connsiteY43" fmla="*/ 340377 h 974414"/>
                      <a:gd name="connsiteX44" fmla="*/ 147085 w 978340"/>
                      <a:gd name="connsiteY44" fmla="*/ 302558 h 974414"/>
                      <a:gd name="connsiteX45" fmla="*/ 86914 w 978340"/>
                      <a:gd name="connsiteY45" fmla="*/ 200222 h 974414"/>
                      <a:gd name="connsiteX46" fmla="*/ 142628 w 978340"/>
                      <a:gd name="connsiteY46" fmla="*/ 133481 h 974414"/>
                      <a:gd name="connsiteX47" fmla="*/ 251828 w 978340"/>
                      <a:gd name="connsiteY47" fmla="*/ 180200 h 974414"/>
                      <a:gd name="connsiteX48" fmla="*/ 285256 w 978340"/>
                      <a:gd name="connsiteY48" fmla="*/ 157953 h 974414"/>
                      <a:gd name="connsiteX49" fmla="*/ 278570 w 978340"/>
                      <a:gd name="connsiteY49" fmla="*/ 44493 h 974414"/>
                      <a:gd name="connsiteX50" fmla="*/ 365485 w 978340"/>
                      <a:gd name="connsiteY50" fmla="*/ 11123 h 974414"/>
                      <a:gd name="connsiteX51" fmla="*/ 434570 w 978340"/>
                      <a:gd name="connsiteY51" fmla="*/ 106785 h 974414"/>
                      <a:gd name="connsiteX52" fmla="*/ 476913 w 978340"/>
                      <a:gd name="connsiteY52" fmla="*/ 102335 h 974414"/>
                      <a:gd name="connsiteX53" fmla="*/ 528170 w 978340"/>
                      <a:gd name="connsiteY53" fmla="*/ 0 h 974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978340" h="974414">
                        <a:moveTo>
                          <a:pt x="488055" y="299009"/>
                        </a:moveTo>
                        <a:cubicBezTo>
                          <a:pt x="383573" y="299009"/>
                          <a:pt x="298873" y="383268"/>
                          <a:pt x="298873" y="487207"/>
                        </a:cubicBezTo>
                        <a:cubicBezTo>
                          <a:pt x="298873" y="591146"/>
                          <a:pt x="383573" y="675405"/>
                          <a:pt x="488055" y="675405"/>
                        </a:cubicBezTo>
                        <a:cubicBezTo>
                          <a:pt x="592537" y="675405"/>
                          <a:pt x="677237" y="591146"/>
                          <a:pt x="677237" y="487207"/>
                        </a:cubicBezTo>
                        <a:cubicBezTo>
                          <a:pt x="677237" y="383268"/>
                          <a:pt x="592537" y="299009"/>
                          <a:pt x="488055" y="299009"/>
                        </a:cubicBezTo>
                        <a:close/>
                        <a:moveTo>
                          <a:pt x="528170" y="0"/>
                        </a:moveTo>
                        <a:lnTo>
                          <a:pt x="621769" y="13348"/>
                        </a:lnTo>
                        <a:lnTo>
                          <a:pt x="637369" y="131256"/>
                        </a:lnTo>
                        <a:lnTo>
                          <a:pt x="673026" y="151279"/>
                        </a:lnTo>
                        <a:lnTo>
                          <a:pt x="775540" y="86763"/>
                        </a:lnTo>
                        <a:lnTo>
                          <a:pt x="842397" y="144605"/>
                        </a:lnTo>
                        <a:lnTo>
                          <a:pt x="795597" y="253614"/>
                        </a:lnTo>
                        <a:lnTo>
                          <a:pt x="817883" y="286985"/>
                        </a:lnTo>
                        <a:lnTo>
                          <a:pt x="933768" y="278086"/>
                        </a:lnTo>
                        <a:lnTo>
                          <a:pt x="967197" y="367074"/>
                        </a:lnTo>
                        <a:lnTo>
                          <a:pt x="873597" y="431590"/>
                        </a:lnTo>
                        <a:lnTo>
                          <a:pt x="873597" y="478308"/>
                        </a:lnTo>
                        <a:lnTo>
                          <a:pt x="978340" y="529476"/>
                        </a:lnTo>
                        <a:lnTo>
                          <a:pt x="962740" y="620689"/>
                        </a:lnTo>
                        <a:lnTo>
                          <a:pt x="846854" y="634037"/>
                        </a:lnTo>
                        <a:lnTo>
                          <a:pt x="826797" y="674081"/>
                        </a:lnTo>
                        <a:lnTo>
                          <a:pt x="891426" y="774192"/>
                        </a:lnTo>
                        <a:lnTo>
                          <a:pt x="831254" y="840933"/>
                        </a:lnTo>
                        <a:lnTo>
                          <a:pt x="724283" y="791990"/>
                        </a:lnTo>
                        <a:lnTo>
                          <a:pt x="686398" y="823135"/>
                        </a:lnTo>
                        <a:lnTo>
                          <a:pt x="697541" y="929921"/>
                        </a:lnTo>
                        <a:lnTo>
                          <a:pt x="603941" y="963291"/>
                        </a:lnTo>
                        <a:lnTo>
                          <a:pt x="546286" y="875561"/>
                        </a:lnTo>
                        <a:lnTo>
                          <a:pt x="490284" y="875584"/>
                        </a:lnTo>
                        <a:lnTo>
                          <a:pt x="445713" y="974414"/>
                        </a:lnTo>
                        <a:lnTo>
                          <a:pt x="352113" y="958842"/>
                        </a:lnTo>
                        <a:lnTo>
                          <a:pt x="343199" y="847607"/>
                        </a:lnTo>
                        <a:lnTo>
                          <a:pt x="291942" y="825360"/>
                        </a:lnTo>
                        <a:lnTo>
                          <a:pt x="200571" y="887652"/>
                        </a:lnTo>
                        <a:lnTo>
                          <a:pt x="131485" y="823135"/>
                        </a:lnTo>
                        <a:lnTo>
                          <a:pt x="178285" y="725249"/>
                        </a:lnTo>
                        <a:lnTo>
                          <a:pt x="149314" y="685205"/>
                        </a:lnTo>
                        <a:lnTo>
                          <a:pt x="44571" y="696328"/>
                        </a:lnTo>
                        <a:lnTo>
                          <a:pt x="11143" y="602891"/>
                        </a:lnTo>
                        <a:lnTo>
                          <a:pt x="100285" y="542824"/>
                        </a:lnTo>
                        <a:lnTo>
                          <a:pt x="100285" y="496106"/>
                        </a:lnTo>
                        <a:lnTo>
                          <a:pt x="0" y="444938"/>
                        </a:lnTo>
                        <a:lnTo>
                          <a:pt x="15600" y="351501"/>
                        </a:lnTo>
                        <a:lnTo>
                          <a:pt x="131485" y="340377"/>
                        </a:lnTo>
                        <a:lnTo>
                          <a:pt x="147085" y="302558"/>
                        </a:lnTo>
                        <a:lnTo>
                          <a:pt x="86914" y="200222"/>
                        </a:lnTo>
                        <a:lnTo>
                          <a:pt x="142628" y="133481"/>
                        </a:lnTo>
                        <a:lnTo>
                          <a:pt x="251828" y="180200"/>
                        </a:lnTo>
                        <a:lnTo>
                          <a:pt x="285256" y="157953"/>
                        </a:lnTo>
                        <a:lnTo>
                          <a:pt x="278570" y="44493"/>
                        </a:lnTo>
                        <a:lnTo>
                          <a:pt x="365485" y="11123"/>
                        </a:lnTo>
                        <a:lnTo>
                          <a:pt x="434570" y="106785"/>
                        </a:lnTo>
                        <a:lnTo>
                          <a:pt x="476913" y="102335"/>
                        </a:lnTo>
                        <a:lnTo>
                          <a:pt x="528170" y="0"/>
                        </a:lnTo>
                        <a:close/>
                      </a:path>
                    </a:pathLst>
                  </a:custGeom>
                  <a:grpFill/>
                  <a:ln w="19050">
                    <a:solidFill>
                      <a:schemeClr val="bg1"/>
                    </a:solidFill>
                    <a:prstDash val="solid"/>
                    <a:round/>
                    <a:headEnd/>
                    <a:tailEnd/>
                  </a:ln>
                  <a:effectLst/>
                </p:spPr>
                <p:txBody>
                  <a:bodyPr vert="horz" wrap="square" lIns="91440" tIns="45720" rIns="91440" bIns="45720" numCol="1" anchor="t" anchorCtr="0" compatLnSpc="1">
                    <a:prstTxWarp prst="textNoShape">
                      <a:avLst/>
                    </a:prstTxWarp>
                    <a:noAutofit/>
                  </a:bodyPr>
                  <a:lstStyle/>
                  <a:p>
                    <a:pPr>
                      <a:defRPr/>
                    </a:pPr>
                    <a:endParaRPr lang="en-US" dirty="0">
                      <a:solidFill>
                        <a:prstClr val="black"/>
                      </a:solidFill>
                      <a:latin typeface="Univers for KPMG" panose="020B0603020202020204" pitchFamily="34" charset="0"/>
                      <a:cs typeface="Arial" panose="020B0604020202020204" pitchFamily="34" charset="0"/>
                    </a:endParaRPr>
                  </a:p>
                </p:txBody>
              </p:sp>
              <p:sp>
                <p:nvSpPr>
                  <p:cNvPr id="123" name="Freeform 122"/>
                  <p:cNvSpPr>
                    <a:spLocks/>
                  </p:cNvSpPr>
                  <p:nvPr/>
                </p:nvSpPr>
                <p:spPr bwMode="auto">
                  <a:xfrm rot="1440000">
                    <a:off x="1706985" y="-352830"/>
                    <a:ext cx="7286210" cy="6862245"/>
                  </a:xfrm>
                  <a:custGeom>
                    <a:avLst/>
                    <a:gdLst>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7837 w 1613651"/>
                      <a:gd name="connsiteY37" fmla="*/ 1449432 h 1522471"/>
                      <a:gd name="connsiteX38" fmla="*/ 1117817 w 1613651"/>
                      <a:gd name="connsiteY38" fmla="*/ 1384917 h 1522471"/>
                      <a:gd name="connsiteX39" fmla="*/ 1113073 w 1613651"/>
                      <a:gd name="connsiteY39" fmla="*/ 1366790 h 1522471"/>
                      <a:gd name="connsiteX40" fmla="*/ 1161524 w 1613651"/>
                      <a:gd name="connsiteY40" fmla="*/ 1327023 h 1522471"/>
                      <a:gd name="connsiteX41" fmla="*/ 1345313 w 1613651"/>
                      <a:gd name="connsiteY41" fmla="*/ 885625 h 1522471"/>
                      <a:gd name="connsiteX42" fmla="*/ 717818 w 1613651"/>
                      <a:gd name="connsiteY42" fmla="*/ 261395 h 1522471"/>
                      <a:gd name="connsiteX43" fmla="*/ 197489 w 1613651"/>
                      <a:gd name="connsiteY43" fmla="*/ 536612 h 1522471"/>
                      <a:gd name="connsiteX44" fmla="*/ 170794 w 1613651"/>
                      <a:gd name="connsiteY44" fmla="*/ 585538 h 1522471"/>
                      <a:gd name="connsiteX45" fmla="*/ 116237 w 1613651"/>
                      <a:gd name="connsiteY45" fmla="*/ 582831 h 1522471"/>
                      <a:gd name="connsiteX46" fmla="*/ 94809 w 1613651"/>
                      <a:gd name="connsiteY46" fmla="*/ 583894 h 1522471"/>
                      <a:gd name="connsiteX47" fmla="*/ 108650 w 1613651"/>
                      <a:gd name="connsiteY47" fmla="*/ 550339 h 1522471"/>
                      <a:gd name="connsiteX48" fmla="*/ 108650 w 1613651"/>
                      <a:gd name="connsiteY48" fmla="*/ 538288 h 1522471"/>
                      <a:gd name="connsiteX49" fmla="*/ 0 w 1613651"/>
                      <a:gd name="connsiteY49" fmla="*/ 381622 h 1522471"/>
                      <a:gd name="connsiteX50" fmla="*/ 0 w 1613651"/>
                      <a:gd name="connsiteY50" fmla="*/ 365554 h 1522471"/>
                      <a:gd name="connsiteX51" fmla="*/ 100602 w 1613651"/>
                      <a:gd name="connsiteY51" fmla="*/ 245041 h 1522471"/>
                      <a:gd name="connsiteX52" fmla="*/ 112674 w 1613651"/>
                      <a:gd name="connsiteY52" fmla="*/ 245041 h 1522471"/>
                      <a:gd name="connsiteX53" fmla="*/ 285709 w 1613651"/>
                      <a:gd name="connsiteY53" fmla="*/ 329400 h 1522471"/>
                      <a:gd name="connsiteX54" fmla="*/ 297781 w 1613651"/>
                      <a:gd name="connsiteY54" fmla="*/ 329400 h 1522471"/>
                      <a:gd name="connsiteX55" fmla="*/ 358142 w 1613651"/>
                      <a:gd name="connsiteY55" fmla="*/ 289229 h 1522471"/>
                      <a:gd name="connsiteX56" fmla="*/ 362166 w 1613651"/>
                      <a:gd name="connsiteY56" fmla="*/ 281195 h 1522471"/>
                      <a:gd name="connsiteX57" fmla="*/ 346070 w 1613651"/>
                      <a:gd name="connsiteY57" fmla="*/ 84358 h 1522471"/>
                      <a:gd name="connsiteX58" fmla="*/ 350094 w 1613651"/>
                      <a:gd name="connsiteY58" fmla="*/ 80341 h 1522471"/>
                      <a:gd name="connsiteX59" fmla="*/ 503008 w 1613651"/>
                      <a:gd name="connsiteY59" fmla="*/ 24102 h 1522471"/>
                      <a:gd name="connsiteX60" fmla="*/ 515081 w 1613651"/>
                      <a:gd name="connsiteY60" fmla="*/ 28119 h 1522471"/>
                      <a:gd name="connsiteX61" fmla="*/ 619706 w 1613651"/>
                      <a:gd name="connsiteY61" fmla="*/ 188802 h 1522471"/>
                      <a:gd name="connsiteX62" fmla="*/ 627755 w 1613651"/>
                      <a:gd name="connsiteY62" fmla="*/ 196836 h 1522471"/>
                      <a:gd name="connsiteX63" fmla="*/ 704212 w 1613651"/>
                      <a:gd name="connsiteY63" fmla="*/ 188802 h 1522471"/>
                      <a:gd name="connsiteX64" fmla="*/ 716284 w 1613651"/>
                      <a:gd name="connsiteY64" fmla="*/ 180768 h 1522471"/>
                      <a:gd name="connsiteX65" fmla="*/ 796765 w 1613651"/>
                      <a:gd name="connsiteY65" fmla="*/ 4017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7837 w 1613651"/>
                      <a:gd name="connsiteY37" fmla="*/ 1449432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70794 w 1613651"/>
                      <a:gd name="connsiteY43" fmla="*/ 585538 h 1522471"/>
                      <a:gd name="connsiteX44" fmla="*/ 116237 w 1613651"/>
                      <a:gd name="connsiteY44" fmla="*/ 582831 h 1522471"/>
                      <a:gd name="connsiteX45" fmla="*/ 94809 w 1613651"/>
                      <a:gd name="connsiteY45" fmla="*/ 583894 h 1522471"/>
                      <a:gd name="connsiteX46" fmla="*/ 108650 w 1613651"/>
                      <a:gd name="connsiteY46" fmla="*/ 550339 h 1522471"/>
                      <a:gd name="connsiteX47" fmla="*/ 108650 w 1613651"/>
                      <a:gd name="connsiteY47" fmla="*/ 538288 h 1522471"/>
                      <a:gd name="connsiteX48" fmla="*/ 0 w 1613651"/>
                      <a:gd name="connsiteY48" fmla="*/ 381622 h 1522471"/>
                      <a:gd name="connsiteX49" fmla="*/ 0 w 1613651"/>
                      <a:gd name="connsiteY49" fmla="*/ 365554 h 1522471"/>
                      <a:gd name="connsiteX50" fmla="*/ 100602 w 1613651"/>
                      <a:gd name="connsiteY50" fmla="*/ 245041 h 1522471"/>
                      <a:gd name="connsiteX51" fmla="*/ 112674 w 1613651"/>
                      <a:gd name="connsiteY51" fmla="*/ 245041 h 1522471"/>
                      <a:gd name="connsiteX52" fmla="*/ 285709 w 1613651"/>
                      <a:gd name="connsiteY52" fmla="*/ 329400 h 1522471"/>
                      <a:gd name="connsiteX53" fmla="*/ 297781 w 1613651"/>
                      <a:gd name="connsiteY53" fmla="*/ 329400 h 1522471"/>
                      <a:gd name="connsiteX54" fmla="*/ 358142 w 1613651"/>
                      <a:gd name="connsiteY54" fmla="*/ 289229 h 1522471"/>
                      <a:gd name="connsiteX55" fmla="*/ 362166 w 1613651"/>
                      <a:gd name="connsiteY55" fmla="*/ 281195 h 1522471"/>
                      <a:gd name="connsiteX56" fmla="*/ 346070 w 1613651"/>
                      <a:gd name="connsiteY56" fmla="*/ 84358 h 1522471"/>
                      <a:gd name="connsiteX57" fmla="*/ 350094 w 1613651"/>
                      <a:gd name="connsiteY57" fmla="*/ 80341 h 1522471"/>
                      <a:gd name="connsiteX58" fmla="*/ 503008 w 1613651"/>
                      <a:gd name="connsiteY58" fmla="*/ 24102 h 1522471"/>
                      <a:gd name="connsiteX59" fmla="*/ 515081 w 1613651"/>
                      <a:gd name="connsiteY59" fmla="*/ 28119 h 1522471"/>
                      <a:gd name="connsiteX60" fmla="*/ 619706 w 1613651"/>
                      <a:gd name="connsiteY60" fmla="*/ 188802 h 1522471"/>
                      <a:gd name="connsiteX61" fmla="*/ 627755 w 1613651"/>
                      <a:gd name="connsiteY61" fmla="*/ 196836 h 1522471"/>
                      <a:gd name="connsiteX62" fmla="*/ 704212 w 1613651"/>
                      <a:gd name="connsiteY62" fmla="*/ 188802 h 1522471"/>
                      <a:gd name="connsiteX63" fmla="*/ 716284 w 1613651"/>
                      <a:gd name="connsiteY63" fmla="*/ 180768 h 1522471"/>
                      <a:gd name="connsiteX64" fmla="*/ 796765 w 1613651"/>
                      <a:gd name="connsiteY64" fmla="*/ 4017 h 1522471"/>
                      <a:gd name="connsiteX65" fmla="*/ 804814 w 1613651"/>
                      <a:gd name="connsiteY65"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70794 w 1613651"/>
                      <a:gd name="connsiteY43" fmla="*/ 585538 h 1522471"/>
                      <a:gd name="connsiteX44" fmla="*/ 116237 w 1613651"/>
                      <a:gd name="connsiteY44" fmla="*/ 582831 h 1522471"/>
                      <a:gd name="connsiteX45" fmla="*/ 94809 w 1613651"/>
                      <a:gd name="connsiteY45" fmla="*/ 583894 h 1522471"/>
                      <a:gd name="connsiteX46" fmla="*/ 108650 w 1613651"/>
                      <a:gd name="connsiteY46" fmla="*/ 550339 h 1522471"/>
                      <a:gd name="connsiteX47" fmla="*/ 108650 w 1613651"/>
                      <a:gd name="connsiteY47" fmla="*/ 538288 h 1522471"/>
                      <a:gd name="connsiteX48" fmla="*/ 0 w 1613651"/>
                      <a:gd name="connsiteY48" fmla="*/ 381622 h 1522471"/>
                      <a:gd name="connsiteX49" fmla="*/ 0 w 1613651"/>
                      <a:gd name="connsiteY49" fmla="*/ 365554 h 1522471"/>
                      <a:gd name="connsiteX50" fmla="*/ 100602 w 1613651"/>
                      <a:gd name="connsiteY50" fmla="*/ 245041 h 1522471"/>
                      <a:gd name="connsiteX51" fmla="*/ 112674 w 1613651"/>
                      <a:gd name="connsiteY51" fmla="*/ 245041 h 1522471"/>
                      <a:gd name="connsiteX52" fmla="*/ 285709 w 1613651"/>
                      <a:gd name="connsiteY52" fmla="*/ 329400 h 1522471"/>
                      <a:gd name="connsiteX53" fmla="*/ 297781 w 1613651"/>
                      <a:gd name="connsiteY53" fmla="*/ 329400 h 1522471"/>
                      <a:gd name="connsiteX54" fmla="*/ 358142 w 1613651"/>
                      <a:gd name="connsiteY54" fmla="*/ 289229 h 1522471"/>
                      <a:gd name="connsiteX55" fmla="*/ 362166 w 1613651"/>
                      <a:gd name="connsiteY55" fmla="*/ 281195 h 1522471"/>
                      <a:gd name="connsiteX56" fmla="*/ 346070 w 1613651"/>
                      <a:gd name="connsiteY56" fmla="*/ 84358 h 1522471"/>
                      <a:gd name="connsiteX57" fmla="*/ 350094 w 1613651"/>
                      <a:gd name="connsiteY57" fmla="*/ 80341 h 1522471"/>
                      <a:gd name="connsiteX58" fmla="*/ 503008 w 1613651"/>
                      <a:gd name="connsiteY58" fmla="*/ 24102 h 1522471"/>
                      <a:gd name="connsiteX59" fmla="*/ 515081 w 1613651"/>
                      <a:gd name="connsiteY59" fmla="*/ 28119 h 1522471"/>
                      <a:gd name="connsiteX60" fmla="*/ 619706 w 1613651"/>
                      <a:gd name="connsiteY60" fmla="*/ 188802 h 1522471"/>
                      <a:gd name="connsiteX61" fmla="*/ 627755 w 1613651"/>
                      <a:gd name="connsiteY61" fmla="*/ 196836 h 1522471"/>
                      <a:gd name="connsiteX62" fmla="*/ 704212 w 1613651"/>
                      <a:gd name="connsiteY62" fmla="*/ 188802 h 1522471"/>
                      <a:gd name="connsiteX63" fmla="*/ 716284 w 1613651"/>
                      <a:gd name="connsiteY63" fmla="*/ 180768 h 1522471"/>
                      <a:gd name="connsiteX64" fmla="*/ 796765 w 1613651"/>
                      <a:gd name="connsiteY64" fmla="*/ 4017 h 1522471"/>
                      <a:gd name="connsiteX65" fmla="*/ 804814 w 1613651"/>
                      <a:gd name="connsiteY65"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70794 w 1613651"/>
                      <a:gd name="connsiteY43" fmla="*/ 585538 h 1522471"/>
                      <a:gd name="connsiteX44" fmla="*/ 94809 w 1613651"/>
                      <a:gd name="connsiteY44" fmla="*/ 583894 h 1522471"/>
                      <a:gd name="connsiteX45" fmla="*/ 108650 w 1613651"/>
                      <a:gd name="connsiteY45" fmla="*/ 550339 h 1522471"/>
                      <a:gd name="connsiteX46" fmla="*/ 108650 w 1613651"/>
                      <a:gd name="connsiteY46" fmla="*/ 538288 h 1522471"/>
                      <a:gd name="connsiteX47" fmla="*/ 0 w 1613651"/>
                      <a:gd name="connsiteY47" fmla="*/ 381622 h 1522471"/>
                      <a:gd name="connsiteX48" fmla="*/ 0 w 1613651"/>
                      <a:gd name="connsiteY48" fmla="*/ 365554 h 1522471"/>
                      <a:gd name="connsiteX49" fmla="*/ 100602 w 1613651"/>
                      <a:gd name="connsiteY49" fmla="*/ 245041 h 1522471"/>
                      <a:gd name="connsiteX50" fmla="*/ 112674 w 1613651"/>
                      <a:gd name="connsiteY50" fmla="*/ 245041 h 1522471"/>
                      <a:gd name="connsiteX51" fmla="*/ 285709 w 1613651"/>
                      <a:gd name="connsiteY51" fmla="*/ 329400 h 1522471"/>
                      <a:gd name="connsiteX52" fmla="*/ 297781 w 1613651"/>
                      <a:gd name="connsiteY52" fmla="*/ 329400 h 1522471"/>
                      <a:gd name="connsiteX53" fmla="*/ 358142 w 1613651"/>
                      <a:gd name="connsiteY53" fmla="*/ 289229 h 1522471"/>
                      <a:gd name="connsiteX54" fmla="*/ 362166 w 1613651"/>
                      <a:gd name="connsiteY54" fmla="*/ 281195 h 1522471"/>
                      <a:gd name="connsiteX55" fmla="*/ 346070 w 1613651"/>
                      <a:gd name="connsiteY55" fmla="*/ 84358 h 1522471"/>
                      <a:gd name="connsiteX56" fmla="*/ 350094 w 1613651"/>
                      <a:gd name="connsiteY56" fmla="*/ 80341 h 1522471"/>
                      <a:gd name="connsiteX57" fmla="*/ 503008 w 1613651"/>
                      <a:gd name="connsiteY57" fmla="*/ 24102 h 1522471"/>
                      <a:gd name="connsiteX58" fmla="*/ 515081 w 1613651"/>
                      <a:gd name="connsiteY58" fmla="*/ 28119 h 1522471"/>
                      <a:gd name="connsiteX59" fmla="*/ 619706 w 1613651"/>
                      <a:gd name="connsiteY59" fmla="*/ 188802 h 1522471"/>
                      <a:gd name="connsiteX60" fmla="*/ 627755 w 1613651"/>
                      <a:gd name="connsiteY60" fmla="*/ 196836 h 1522471"/>
                      <a:gd name="connsiteX61" fmla="*/ 704212 w 1613651"/>
                      <a:gd name="connsiteY61" fmla="*/ 188802 h 1522471"/>
                      <a:gd name="connsiteX62" fmla="*/ 716284 w 1613651"/>
                      <a:gd name="connsiteY62" fmla="*/ 180768 h 1522471"/>
                      <a:gd name="connsiteX63" fmla="*/ 796765 w 1613651"/>
                      <a:gd name="connsiteY63" fmla="*/ 4017 h 1522471"/>
                      <a:gd name="connsiteX64" fmla="*/ 804814 w 1613651"/>
                      <a:gd name="connsiteY64"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108650 w 1613651"/>
                      <a:gd name="connsiteY46" fmla="*/ 538288 h 1522471"/>
                      <a:gd name="connsiteX47" fmla="*/ 0 w 1613651"/>
                      <a:gd name="connsiteY47" fmla="*/ 381622 h 1522471"/>
                      <a:gd name="connsiteX48" fmla="*/ 0 w 1613651"/>
                      <a:gd name="connsiteY48" fmla="*/ 365554 h 1522471"/>
                      <a:gd name="connsiteX49" fmla="*/ 100602 w 1613651"/>
                      <a:gd name="connsiteY49" fmla="*/ 245041 h 1522471"/>
                      <a:gd name="connsiteX50" fmla="*/ 112674 w 1613651"/>
                      <a:gd name="connsiteY50" fmla="*/ 245041 h 1522471"/>
                      <a:gd name="connsiteX51" fmla="*/ 285709 w 1613651"/>
                      <a:gd name="connsiteY51" fmla="*/ 329400 h 1522471"/>
                      <a:gd name="connsiteX52" fmla="*/ 297781 w 1613651"/>
                      <a:gd name="connsiteY52" fmla="*/ 329400 h 1522471"/>
                      <a:gd name="connsiteX53" fmla="*/ 358142 w 1613651"/>
                      <a:gd name="connsiteY53" fmla="*/ 289229 h 1522471"/>
                      <a:gd name="connsiteX54" fmla="*/ 362166 w 1613651"/>
                      <a:gd name="connsiteY54" fmla="*/ 281195 h 1522471"/>
                      <a:gd name="connsiteX55" fmla="*/ 346070 w 1613651"/>
                      <a:gd name="connsiteY55" fmla="*/ 84358 h 1522471"/>
                      <a:gd name="connsiteX56" fmla="*/ 350094 w 1613651"/>
                      <a:gd name="connsiteY56" fmla="*/ 80341 h 1522471"/>
                      <a:gd name="connsiteX57" fmla="*/ 503008 w 1613651"/>
                      <a:gd name="connsiteY57" fmla="*/ 24102 h 1522471"/>
                      <a:gd name="connsiteX58" fmla="*/ 515081 w 1613651"/>
                      <a:gd name="connsiteY58" fmla="*/ 28119 h 1522471"/>
                      <a:gd name="connsiteX59" fmla="*/ 619706 w 1613651"/>
                      <a:gd name="connsiteY59" fmla="*/ 188802 h 1522471"/>
                      <a:gd name="connsiteX60" fmla="*/ 627755 w 1613651"/>
                      <a:gd name="connsiteY60" fmla="*/ 196836 h 1522471"/>
                      <a:gd name="connsiteX61" fmla="*/ 704212 w 1613651"/>
                      <a:gd name="connsiteY61" fmla="*/ 188802 h 1522471"/>
                      <a:gd name="connsiteX62" fmla="*/ 716284 w 1613651"/>
                      <a:gd name="connsiteY62" fmla="*/ 180768 h 1522471"/>
                      <a:gd name="connsiteX63" fmla="*/ 796765 w 1613651"/>
                      <a:gd name="connsiteY63" fmla="*/ 4017 h 1522471"/>
                      <a:gd name="connsiteX64" fmla="*/ 804814 w 1613651"/>
                      <a:gd name="connsiteY64"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0 w 1613651"/>
                      <a:gd name="connsiteY46" fmla="*/ 381622 h 1522471"/>
                      <a:gd name="connsiteX47" fmla="*/ 0 w 1613651"/>
                      <a:gd name="connsiteY47" fmla="*/ 365554 h 1522471"/>
                      <a:gd name="connsiteX48" fmla="*/ 100602 w 1613651"/>
                      <a:gd name="connsiteY48" fmla="*/ 245041 h 1522471"/>
                      <a:gd name="connsiteX49" fmla="*/ 112674 w 1613651"/>
                      <a:gd name="connsiteY49" fmla="*/ 245041 h 1522471"/>
                      <a:gd name="connsiteX50" fmla="*/ 285709 w 1613651"/>
                      <a:gd name="connsiteY50" fmla="*/ 329400 h 1522471"/>
                      <a:gd name="connsiteX51" fmla="*/ 297781 w 1613651"/>
                      <a:gd name="connsiteY51" fmla="*/ 329400 h 1522471"/>
                      <a:gd name="connsiteX52" fmla="*/ 358142 w 1613651"/>
                      <a:gd name="connsiteY52" fmla="*/ 289229 h 1522471"/>
                      <a:gd name="connsiteX53" fmla="*/ 362166 w 1613651"/>
                      <a:gd name="connsiteY53" fmla="*/ 281195 h 1522471"/>
                      <a:gd name="connsiteX54" fmla="*/ 346070 w 1613651"/>
                      <a:gd name="connsiteY54" fmla="*/ 84358 h 1522471"/>
                      <a:gd name="connsiteX55" fmla="*/ 350094 w 1613651"/>
                      <a:gd name="connsiteY55" fmla="*/ 80341 h 1522471"/>
                      <a:gd name="connsiteX56" fmla="*/ 503008 w 1613651"/>
                      <a:gd name="connsiteY56" fmla="*/ 24102 h 1522471"/>
                      <a:gd name="connsiteX57" fmla="*/ 515081 w 1613651"/>
                      <a:gd name="connsiteY57" fmla="*/ 28119 h 1522471"/>
                      <a:gd name="connsiteX58" fmla="*/ 619706 w 1613651"/>
                      <a:gd name="connsiteY58" fmla="*/ 188802 h 1522471"/>
                      <a:gd name="connsiteX59" fmla="*/ 627755 w 1613651"/>
                      <a:gd name="connsiteY59" fmla="*/ 196836 h 1522471"/>
                      <a:gd name="connsiteX60" fmla="*/ 704212 w 1613651"/>
                      <a:gd name="connsiteY60" fmla="*/ 188802 h 1522471"/>
                      <a:gd name="connsiteX61" fmla="*/ 716284 w 1613651"/>
                      <a:gd name="connsiteY61" fmla="*/ 180768 h 1522471"/>
                      <a:gd name="connsiteX62" fmla="*/ 796765 w 1613651"/>
                      <a:gd name="connsiteY62" fmla="*/ 4017 h 1522471"/>
                      <a:gd name="connsiteX63" fmla="*/ 804814 w 1613651"/>
                      <a:gd name="connsiteY63"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0 w 1613651"/>
                      <a:gd name="connsiteY46" fmla="*/ 381622 h 1522471"/>
                      <a:gd name="connsiteX47" fmla="*/ 0 w 1613651"/>
                      <a:gd name="connsiteY47" fmla="*/ 365554 h 1522471"/>
                      <a:gd name="connsiteX48" fmla="*/ 100602 w 1613651"/>
                      <a:gd name="connsiteY48" fmla="*/ 245041 h 1522471"/>
                      <a:gd name="connsiteX49" fmla="*/ 112674 w 1613651"/>
                      <a:gd name="connsiteY49" fmla="*/ 245041 h 1522471"/>
                      <a:gd name="connsiteX50" fmla="*/ 297781 w 1613651"/>
                      <a:gd name="connsiteY50" fmla="*/ 329400 h 1522471"/>
                      <a:gd name="connsiteX51" fmla="*/ 358142 w 1613651"/>
                      <a:gd name="connsiteY51" fmla="*/ 289229 h 1522471"/>
                      <a:gd name="connsiteX52" fmla="*/ 362166 w 1613651"/>
                      <a:gd name="connsiteY52" fmla="*/ 281195 h 1522471"/>
                      <a:gd name="connsiteX53" fmla="*/ 346070 w 1613651"/>
                      <a:gd name="connsiteY53" fmla="*/ 84358 h 1522471"/>
                      <a:gd name="connsiteX54" fmla="*/ 350094 w 1613651"/>
                      <a:gd name="connsiteY54" fmla="*/ 80341 h 1522471"/>
                      <a:gd name="connsiteX55" fmla="*/ 503008 w 1613651"/>
                      <a:gd name="connsiteY55" fmla="*/ 24102 h 1522471"/>
                      <a:gd name="connsiteX56" fmla="*/ 515081 w 1613651"/>
                      <a:gd name="connsiteY56" fmla="*/ 28119 h 1522471"/>
                      <a:gd name="connsiteX57" fmla="*/ 619706 w 1613651"/>
                      <a:gd name="connsiteY57" fmla="*/ 188802 h 1522471"/>
                      <a:gd name="connsiteX58" fmla="*/ 627755 w 1613651"/>
                      <a:gd name="connsiteY58" fmla="*/ 196836 h 1522471"/>
                      <a:gd name="connsiteX59" fmla="*/ 704212 w 1613651"/>
                      <a:gd name="connsiteY59" fmla="*/ 188802 h 1522471"/>
                      <a:gd name="connsiteX60" fmla="*/ 716284 w 1613651"/>
                      <a:gd name="connsiteY60" fmla="*/ 180768 h 1522471"/>
                      <a:gd name="connsiteX61" fmla="*/ 796765 w 1613651"/>
                      <a:gd name="connsiteY61" fmla="*/ 4017 h 1522471"/>
                      <a:gd name="connsiteX62" fmla="*/ 804814 w 1613651"/>
                      <a:gd name="connsiteY62"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0 w 1613651"/>
                      <a:gd name="connsiteY46" fmla="*/ 381622 h 1522471"/>
                      <a:gd name="connsiteX47" fmla="*/ 0 w 1613651"/>
                      <a:gd name="connsiteY47" fmla="*/ 365554 h 1522471"/>
                      <a:gd name="connsiteX48" fmla="*/ 100602 w 1613651"/>
                      <a:gd name="connsiteY48" fmla="*/ 245041 h 1522471"/>
                      <a:gd name="connsiteX49" fmla="*/ 112674 w 1613651"/>
                      <a:gd name="connsiteY49" fmla="*/ 245041 h 1522471"/>
                      <a:gd name="connsiteX50" fmla="*/ 297781 w 1613651"/>
                      <a:gd name="connsiteY50" fmla="*/ 329400 h 1522471"/>
                      <a:gd name="connsiteX51" fmla="*/ 358142 w 1613651"/>
                      <a:gd name="connsiteY51" fmla="*/ 289229 h 1522471"/>
                      <a:gd name="connsiteX52" fmla="*/ 346070 w 1613651"/>
                      <a:gd name="connsiteY52" fmla="*/ 84358 h 1522471"/>
                      <a:gd name="connsiteX53" fmla="*/ 350094 w 1613651"/>
                      <a:gd name="connsiteY53" fmla="*/ 80341 h 1522471"/>
                      <a:gd name="connsiteX54" fmla="*/ 503008 w 1613651"/>
                      <a:gd name="connsiteY54" fmla="*/ 24102 h 1522471"/>
                      <a:gd name="connsiteX55" fmla="*/ 515081 w 1613651"/>
                      <a:gd name="connsiteY55" fmla="*/ 28119 h 1522471"/>
                      <a:gd name="connsiteX56" fmla="*/ 619706 w 1613651"/>
                      <a:gd name="connsiteY56" fmla="*/ 188802 h 1522471"/>
                      <a:gd name="connsiteX57" fmla="*/ 627755 w 1613651"/>
                      <a:gd name="connsiteY57" fmla="*/ 196836 h 1522471"/>
                      <a:gd name="connsiteX58" fmla="*/ 704212 w 1613651"/>
                      <a:gd name="connsiteY58" fmla="*/ 188802 h 1522471"/>
                      <a:gd name="connsiteX59" fmla="*/ 716284 w 1613651"/>
                      <a:gd name="connsiteY59" fmla="*/ 180768 h 1522471"/>
                      <a:gd name="connsiteX60" fmla="*/ 796765 w 1613651"/>
                      <a:gd name="connsiteY60" fmla="*/ 4017 h 1522471"/>
                      <a:gd name="connsiteX61" fmla="*/ 804814 w 1613651"/>
                      <a:gd name="connsiteY61"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0 w 1613651"/>
                      <a:gd name="connsiteY46" fmla="*/ 381622 h 1522471"/>
                      <a:gd name="connsiteX47" fmla="*/ 0 w 1613651"/>
                      <a:gd name="connsiteY47" fmla="*/ 365554 h 1522471"/>
                      <a:gd name="connsiteX48" fmla="*/ 100602 w 1613651"/>
                      <a:gd name="connsiteY48" fmla="*/ 245041 h 1522471"/>
                      <a:gd name="connsiteX49" fmla="*/ 112674 w 1613651"/>
                      <a:gd name="connsiteY49" fmla="*/ 245041 h 1522471"/>
                      <a:gd name="connsiteX50" fmla="*/ 297781 w 1613651"/>
                      <a:gd name="connsiteY50" fmla="*/ 329400 h 1522471"/>
                      <a:gd name="connsiteX51" fmla="*/ 358142 w 1613651"/>
                      <a:gd name="connsiteY51" fmla="*/ 289229 h 1522471"/>
                      <a:gd name="connsiteX52" fmla="*/ 346070 w 1613651"/>
                      <a:gd name="connsiteY52" fmla="*/ 84358 h 1522471"/>
                      <a:gd name="connsiteX53" fmla="*/ 350094 w 1613651"/>
                      <a:gd name="connsiteY53" fmla="*/ 80341 h 1522471"/>
                      <a:gd name="connsiteX54" fmla="*/ 503008 w 1613651"/>
                      <a:gd name="connsiteY54" fmla="*/ 24102 h 1522471"/>
                      <a:gd name="connsiteX55" fmla="*/ 515081 w 1613651"/>
                      <a:gd name="connsiteY55" fmla="*/ 28119 h 1522471"/>
                      <a:gd name="connsiteX56" fmla="*/ 627755 w 1613651"/>
                      <a:gd name="connsiteY56" fmla="*/ 196836 h 1522471"/>
                      <a:gd name="connsiteX57" fmla="*/ 704212 w 1613651"/>
                      <a:gd name="connsiteY57" fmla="*/ 188802 h 1522471"/>
                      <a:gd name="connsiteX58" fmla="*/ 716284 w 1613651"/>
                      <a:gd name="connsiteY58" fmla="*/ 180768 h 1522471"/>
                      <a:gd name="connsiteX59" fmla="*/ 796765 w 1613651"/>
                      <a:gd name="connsiteY59" fmla="*/ 4017 h 1522471"/>
                      <a:gd name="connsiteX60" fmla="*/ 804814 w 1613651"/>
                      <a:gd name="connsiteY60"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074426 w 1613651"/>
                      <a:gd name="connsiteY6" fmla="*/ 269144 h 1522471"/>
                      <a:gd name="connsiteX7" fmla="*/ 1231365 w 1613651"/>
                      <a:gd name="connsiteY7" fmla="*/ 160683 h 1522471"/>
                      <a:gd name="connsiteX8" fmla="*/ 1243437 w 1613651"/>
                      <a:gd name="connsiteY8" fmla="*/ 160683 h 1522471"/>
                      <a:gd name="connsiteX9" fmla="*/ 1364159 w 1613651"/>
                      <a:gd name="connsiteY9" fmla="*/ 265127 h 1522471"/>
                      <a:gd name="connsiteX10" fmla="*/ 1364159 w 1613651"/>
                      <a:gd name="connsiteY10" fmla="*/ 277178 h 1522471"/>
                      <a:gd name="connsiteX11" fmla="*/ 1279654 w 1613651"/>
                      <a:gd name="connsiteY11" fmla="*/ 449912 h 1522471"/>
                      <a:gd name="connsiteX12" fmla="*/ 1279654 w 1613651"/>
                      <a:gd name="connsiteY12" fmla="*/ 461963 h 1522471"/>
                      <a:gd name="connsiteX13" fmla="*/ 1319894 w 1613651"/>
                      <a:gd name="connsiteY13" fmla="*/ 522220 h 1522471"/>
                      <a:gd name="connsiteX14" fmla="*/ 1331966 w 1613651"/>
                      <a:gd name="connsiteY14" fmla="*/ 526237 h 1522471"/>
                      <a:gd name="connsiteX15" fmla="*/ 1529146 w 1613651"/>
                      <a:gd name="connsiteY15" fmla="*/ 506151 h 1522471"/>
                      <a:gd name="connsiteX16" fmla="*/ 1533170 w 1613651"/>
                      <a:gd name="connsiteY16" fmla="*/ 518202 h 1522471"/>
                      <a:gd name="connsiteX17" fmla="*/ 1589507 w 1613651"/>
                      <a:gd name="connsiteY17" fmla="*/ 666834 h 1522471"/>
                      <a:gd name="connsiteX18" fmla="*/ 1581459 w 1613651"/>
                      <a:gd name="connsiteY18" fmla="*/ 678885 h 1522471"/>
                      <a:gd name="connsiteX19" fmla="*/ 1420496 w 1613651"/>
                      <a:gd name="connsiteY19" fmla="*/ 783329 h 1522471"/>
                      <a:gd name="connsiteX20" fmla="*/ 1416472 w 1613651"/>
                      <a:gd name="connsiteY20" fmla="*/ 791363 h 1522471"/>
                      <a:gd name="connsiteX21" fmla="*/ 1420496 w 1613651"/>
                      <a:gd name="connsiteY21" fmla="*/ 867688 h 1522471"/>
                      <a:gd name="connsiteX22" fmla="*/ 1432568 w 1613651"/>
                      <a:gd name="connsiteY22" fmla="*/ 879739 h 1522471"/>
                      <a:gd name="connsiteX23" fmla="*/ 1609627 w 1613651"/>
                      <a:gd name="connsiteY23" fmla="*/ 960081 h 1522471"/>
                      <a:gd name="connsiteX24" fmla="*/ 1613651 w 1613651"/>
                      <a:gd name="connsiteY24" fmla="*/ 968115 h 1522471"/>
                      <a:gd name="connsiteX25" fmla="*/ 1581459 w 1613651"/>
                      <a:gd name="connsiteY25" fmla="*/ 1124781 h 1522471"/>
                      <a:gd name="connsiteX26" fmla="*/ 1573411 w 1613651"/>
                      <a:gd name="connsiteY26" fmla="*/ 1132815 h 1522471"/>
                      <a:gd name="connsiteX27" fmla="*/ 1380255 w 1613651"/>
                      <a:gd name="connsiteY27" fmla="*/ 1144866 h 1522471"/>
                      <a:gd name="connsiteX28" fmla="*/ 1372207 w 1613651"/>
                      <a:gd name="connsiteY28" fmla="*/ 1148883 h 1522471"/>
                      <a:gd name="connsiteX29" fmla="*/ 1335991 w 1613651"/>
                      <a:gd name="connsiteY29" fmla="*/ 1221190 h 1522471"/>
                      <a:gd name="connsiteX30" fmla="*/ 1335991 w 1613651"/>
                      <a:gd name="connsiteY30" fmla="*/ 1229224 h 1522471"/>
                      <a:gd name="connsiteX31" fmla="*/ 1452688 w 1613651"/>
                      <a:gd name="connsiteY31" fmla="*/ 1389907 h 1522471"/>
                      <a:gd name="connsiteX32" fmla="*/ 1452688 w 1613651"/>
                      <a:gd name="connsiteY32" fmla="*/ 1401959 h 1522471"/>
                      <a:gd name="connsiteX33" fmla="*/ 1344039 w 1613651"/>
                      <a:gd name="connsiteY33" fmla="*/ 1522471 h 1522471"/>
                      <a:gd name="connsiteX34" fmla="*/ 1335991 w 1613651"/>
                      <a:gd name="connsiteY34" fmla="*/ 1522471 h 1522471"/>
                      <a:gd name="connsiteX35" fmla="*/ 1158932 w 1613651"/>
                      <a:gd name="connsiteY35" fmla="*/ 1434095 h 1522471"/>
                      <a:gd name="connsiteX36" fmla="*/ 1150883 w 1613651"/>
                      <a:gd name="connsiteY36" fmla="*/ 1434095 h 1522471"/>
                      <a:gd name="connsiteX37" fmla="*/ 1128315 w 1613651"/>
                      <a:gd name="connsiteY37" fmla="*/ 1438774 h 1522471"/>
                      <a:gd name="connsiteX38" fmla="*/ 1113073 w 1613651"/>
                      <a:gd name="connsiteY38" fmla="*/ 1366790 h 1522471"/>
                      <a:gd name="connsiteX39" fmla="*/ 1161524 w 1613651"/>
                      <a:gd name="connsiteY39" fmla="*/ 1327023 h 1522471"/>
                      <a:gd name="connsiteX40" fmla="*/ 1345313 w 1613651"/>
                      <a:gd name="connsiteY40" fmla="*/ 885625 h 1522471"/>
                      <a:gd name="connsiteX41" fmla="*/ 717818 w 1613651"/>
                      <a:gd name="connsiteY41" fmla="*/ 261395 h 1522471"/>
                      <a:gd name="connsiteX42" fmla="*/ 197489 w 1613651"/>
                      <a:gd name="connsiteY42" fmla="*/ 536612 h 1522471"/>
                      <a:gd name="connsiteX43" fmla="*/ 163371 w 1613651"/>
                      <a:gd name="connsiteY43" fmla="*/ 592325 h 1522471"/>
                      <a:gd name="connsiteX44" fmla="*/ 94809 w 1613651"/>
                      <a:gd name="connsiteY44" fmla="*/ 583894 h 1522471"/>
                      <a:gd name="connsiteX45" fmla="*/ 108650 w 1613651"/>
                      <a:gd name="connsiteY45" fmla="*/ 550339 h 1522471"/>
                      <a:gd name="connsiteX46" fmla="*/ 0 w 1613651"/>
                      <a:gd name="connsiteY46" fmla="*/ 381622 h 1522471"/>
                      <a:gd name="connsiteX47" fmla="*/ 0 w 1613651"/>
                      <a:gd name="connsiteY47" fmla="*/ 365554 h 1522471"/>
                      <a:gd name="connsiteX48" fmla="*/ 100602 w 1613651"/>
                      <a:gd name="connsiteY48" fmla="*/ 245041 h 1522471"/>
                      <a:gd name="connsiteX49" fmla="*/ 112674 w 1613651"/>
                      <a:gd name="connsiteY49" fmla="*/ 245041 h 1522471"/>
                      <a:gd name="connsiteX50" fmla="*/ 297781 w 1613651"/>
                      <a:gd name="connsiteY50" fmla="*/ 329400 h 1522471"/>
                      <a:gd name="connsiteX51" fmla="*/ 358142 w 1613651"/>
                      <a:gd name="connsiteY51" fmla="*/ 289229 h 1522471"/>
                      <a:gd name="connsiteX52" fmla="*/ 346070 w 1613651"/>
                      <a:gd name="connsiteY52" fmla="*/ 84358 h 1522471"/>
                      <a:gd name="connsiteX53" fmla="*/ 350094 w 1613651"/>
                      <a:gd name="connsiteY53" fmla="*/ 80341 h 1522471"/>
                      <a:gd name="connsiteX54" fmla="*/ 503008 w 1613651"/>
                      <a:gd name="connsiteY54" fmla="*/ 24102 h 1522471"/>
                      <a:gd name="connsiteX55" fmla="*/ 515081 w 1613651"/>
                      <a:gd name="connsiteY55" fmla="*/ 28119 h 1522471"/>
                      <a:gd name="connsiteX56" fmla="*/ 627755 w 1613651"/>
                      <a:gd name="connsiteY56" fmla="*/ 196836 h 1522471"/>
                      <a:gd name="connsiteX57" fmla="*/ 704212 w 1613651"/>
                      <a:gd name="connsiteY57" fmla="*/ 188802 h 1522471"/>
                      <a:gd name="connsiteX58" fmla="*/ 796765 w 1613651"/>
                      <a:gd name="connsiteY58" fmla="*/ 4017 h 1522471"/>
                      <a:gd name="connsiteX59" fmla="*/ 804814 w 1613651"/>
                      <a:gd name="connsiteY59"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85897 w 1613651"/>
                      <a:gd name="connsiteY3" fmla="*/ 228973 h 1522471"/>
                      <a:gd name="connsiteX4" fmla="*/ 993945 w 1613651"/>
                      <a:gd name="connsiteY4" fmla="*/ 241024 h 1522471"/>
                      <a:gd name="connsiteX5" fmla="*/ 1058330 w 1613651"/>
                      <a:gd name="connsiteY5" fmla="*/ 277178 h 1522471"/>
                      <a:gd name="connsiteX6" fmla="*/ 1231365 w 1613651"/>
                      <a:gd name="connsiteY6" fmla="*/ 160683 h 1522471"/>
                      <a:gd name="connsiteX7" fmla="*/ 1243437 w 1613651"/>
                      <a:gd name="connsiteY7" fmla="*/ 160683 h 1522471"/>
                      <a:gd name="connsiteX8" fmla="*/ 1364159 w 1613651"/>
                      <a:gd name="connsiteY8" fmla="*/ 265127 h 1522471"/>
                      <a:gd name="connsiteX9" fmla="*/ 1364159 w 1613651"/>
                      <a:gd name="connsiteY9" fmla="*/ 277178 h 1522471"/>
                      <a:gd name="connsiteX10" fmla="*/ 1279654 w 1613651"/>
                      <a:gd name="connsiteY10" fmla="*/ 449912 h 1522471"/>
                      <a:gd name="connsiteX11" fmla="*/ 1279654 w 1613651"/>
                      <a:gd name="connsiteY11" fmla="*/ 461963 h 1522471"/>
                      <a:gd name="connsiteX12" fmla="*/ 1319894 w 1613651"/>
                      <a:gd name="connsiteY12" fmla="*/ 522220 h 1522471"/>
                      <a:gd name="connsiteX13" fmla="*/ 1331966 w 1613651"/>
                      <a:gd name="connsiteY13" fmla="*/ 526237 h 1522471"/>
                      <a:gd name="connsiteX14" fmla="*/ 1529146 w 1613651"/>
                      <a:gd name="connsiteY14" fmla="*/ 506151 h 1522471"/>
                      <a:gd name="connsiteX15" fmla="*/ 1533170 w 1613651"/>
                      <a:gd name="connsiteY15" fmla="*/ 518202 h 1522471"/>
                      <a:gd name="connsiteX16" fmla="*/ 1589507 w 1613651"/>
                      <a:gd name="connsiteY16" fmla="*/ 666834 h 1522471"/>
                      <a:gd name="connsiteX17" fmla="*/ 1581459 w 1613651"/>
                      <a:gd name="connsiteY17" fmla="*/ 678885 h 1522471"/>
                      <a:gd name="connsiteX18" fmla="*/ 1420496 w 1613651"/>
                      <a:gd name="connsiteY18" fmla="*/ 783329 h 1522471"/>
                      <a:gd name="connsiteX19" fmla="*/ 1416472 w 1613651"/>
                      <a:gd name="connsiteY19" fmla="*/ 791363 h 1522471"/>
                      <a:gd name="connsiteX20" fmla="*/ 1420496 w 1613651"/>
                      <a:gd name="connsiteY20" fmla="*/ 867688 h 1522471"/>
                      <a:gd name="connsiteX21" fmla="*/ 1432568 w 1613651"/>
                      <a:gd name="connsiteY21" fmla="*/ 879739 h 1522471"/>
                      <a:gd name="connsiteX22" fmla="*/ 1609627 w 1613651"/>
                      <a:gd name="connsiteY22" fmla="*/ 960081 h 1522471"/>
                      <a:gd name="connsiteX23" fmla="*/ 1613651 w 1613651"/>
                      <a:gd name="connsiteY23" fmla="*/ 968115 h 1522471"/>
                      <a:gd name="connsiteX24" fmla="*/ 1581459 w 1613651"/>
                      <a:gd name="connsiteY24" fmla="*/ 1124781 h 1522471"/>
                      <a:gd name="connsiteX25" fmla="*/ 1573411 w 1613651"/>
                      <a:gd name="connsiteY25" fmla="*/ 1132815 h 1522471"/>
                      <a:gd name="connsiteX26" fmla="*/ 1380255 w 1613651"/>
                      <a:gd name="connsiteY26" fmla="*/ 1144866 h 1522471"/>
                      <a:gd name="connsiteX27" fmla="*/ 1372207 w 1613651"/>
                      <a:gd name="connsiteY27" fmla="*/ 1148883 h 1522471"/>
                      <a:gd name="connsiteX28" fmla="*/ 1335991 w 1613651"/>
                      <a:gd name="connsiteY28" fmla="*/ 1221190 h 1522471"/>
                      <a:gd name="connsiteX29" fmla="*/ 1335991 w 1613651"/>
                      <a:gd name="connsiteY29" fmla="*/ 1229224 h 1522471"/>
                      <a:gd name="connsiteX30" fmla="*/ 1452688 w 1613651"/>
                      <a:gd name="connsiteY30" fmla="*/ 1389907 h 1522471"/>
                      <a:gd name="connsiteX31" fmla="*/ 1452688 w 1613651"/>
                      <a:gd name="connsiteY31" fmla="*/ 1401959 h 1522471"/>
                      <a:gd name="connsiteX32" fmla="*/ 1344039 w 1613651"/>
                      <a:gd name="connsiteY32" fmla="*/ 1522471 h 1522471"/>
                      <a:gd name="connsiteX33" fmla="*/ 1335991 w 1613651"/>
                      <a:gd name="connsiteY33" fmla="*/ 1522471 h 1522471"/>
                      <a:gd name="connsiteX34" fmla="*/ 1158932 w 1613651"/>
                      <a:gd name="connsiteY34" fmla="*/ 1434095 h 1522471"/>
                      <a:gd name="connsiteX35" fmla="*/ 1150883 w 1613651"/>
                      <a:gd name="connsiteY35" fmla="*/ 1434095 h 1522471"/>
                      <a:gd name="connsiteX36" fmla="*/ 1128315 w 1613651"/>
                      <a:gd name="connsiteY36" fmla="*/ 1438774 h 1522471"/>
                      <a:gd name="connsiteX37" fmla="*/ 1113073 w 1613651"/>
                      <a:gd name="connsiteY37" fmla="*/ 1366790 h 1522471"/>
                      <a:gd name="connsiteX38" fmla="*/ 1161524 w 1613651"/>
                      <a:gd name="connsiteY38" fmla="*/ 1327023 h 1522471"/>
                      <a:gd name="connsiteX39" fmla="*/ 1345313 w 1613651"/>
                      <a:gd name="connsiteY39" fmla="*/ 885625 h 1522471"/>
                      <a:gd name="connsiteX40" fmla="*/ 717818 w 1613651"/>
                      <a:gd name="connsiteY40" fmla="*/ 261395 h 1522471"/>
                      <a:gd name="connsiteX41" fmla="*/ 197489 w 1613651"/>
                      <a:gd name="connsiteY41" fmla="*/ 536612 h 1522471"/>
                      <a:gd name="connsiteX42" fmla="*/ 163371 w 1613651"/>
                      <a:gd name="connsiteY42" fmla="*/ 592325 h 1522471"/>
                      <a:gd name="connsiteX43" fmla="*/ 94809 w 1613651"/>
                      <a:gd name="connsiteY43" fmla="*/ 583894 h 1522471"/>
                      <a:gd name="connsiteX44" fmla="*/ 108650 w 1613651"/>
                      <a:gd name="connsiteY44" fmla="*/ 550339 h 1522471"/>
                      <a:gd name="connsiteX45" fmla="*/ 0 w 1613651"/>
                      <a:gd name="connsiteY45" fmla="*/ 381622 h 1522471"/>
                      <a:gd name="connsiteX46" fmla="*/ 0 w 1613651"/>
                      <a:gd name="connsiteY46" fmla="*/ 365554 h 1522471"/>
                      <a:gd name="connsiteX47" fmla="*/ 100602 w 1613651"/>
                      <a:gd name="connsiteY47" fmla="*/ 245041 h 1522471"/>
                      <a:gd name="connsiteX48" fmla="*/ 112674 w 1613651"/>
                      <a:gd name="connsiteY48" fmla="*/ 245041 h 1522471"/>
                      <a:gd name="connsiteX49" fmla="*/ 297781 w 1613651"/>
                      <a:gd name="connsiteY49" fmla="*/ 329400 h 1522471"/>
                      <a:gd name="connsiteX50" fmla="*/ 358142 w 1613651"/>
                      <a:gd name="connsiteY50" fmla="*/ 289229 h 1522471"/>
                      <a:gd name="connsiteX51" fmla="*/ 346070 w 1613651"/>
                      <a:gd name="connsiteY51" fmla="*/ 84358 h 1522471"/>
                      <a:gd name="connsiteX52" fmla="*/ 350094 w 1613651"/>
                      <a:gd name="connsiteY52" fmla="*/ 80341 h 1522471"/>
                      <a:gd name="connsiteX53" fmla="*/ 503008 w 1613651"/>
                      <a:gd name="connsiteY53" fmla="*/ 24102 h 1522471"/>
                      <a:gd name="connsiteX54" fmla="*/ 515081 w 1613651"/>
                      <a:gd name="connsiteY54" fmla="*/ 28119 h 1522471"/>
                      <a:gd name="connsiteX55" fmla="*/ 627755 w 1613651"/>
                      <a:gd name="connsiteY55" fmla="*/ 196836 h 1522471"/>
                      <a:gd name="connsiteX56" fmla="*/ 704212 w 1613651"/>
                      <a:gd name="connsiteY56" fmla="*/ 188802 h 1522471"/>
                      <a:gd name="connsiteX57" fmla="*/ 796765 w 1613651"/>
                      <a:gd name="connsiteY57" fmla="*/ 4017 h 1522471"/>
                      <a:gd name="connsiteX58" fmla="*/ 804814 w 1613651"/>
                      <a:gd name="connsiteY58"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49912 h 1522471"/>
                      <a:gd name="connsiteX10" fmla="*/ 1279654 w 1613651"/>
                      <a:gd name="connsiteY10" fmla="*/ 461963 h 1522471"/>
                      <a:gd name="connsiteX11" fmla="*/ 1319894 w 1613651"/>
                      <a:gd name="connsiteY11" fmla="*/ 522220 h 1522471"/>
                      <a:gd name="connsiteX12" fmla="*/ 1331966 w 1613651"/>
                      <a:gd name="connsiteY12" fmla="*/ 526237 h 1522471"/>
                      <a:gd name="connsiteX13" fmla="*/ 1529146 w 1613651"/>
                      <a:gd name="connsiteY13" fmla="*/ 506151 h 1522471"/>
                      <a:gd name="connsiteX14" fmla="*/ 1533170 w 1613651"/>
                      <a:gd name="connsiteY14" fmla="*/ 518202 h 1522471"/>
                      <a:gd name="connsiteX15" fmla="*/ 1589507 w 1613651"/>
                      <a:gd name="connsiteY15" fmla="*/ 666834 h 1522471"/>
                      <a:gd name="connsiteX16" fmla="*/ 1581459 w 1613651"/>
                      <a:gd name="connsiteY16" fmla="*/ 678885 h 1522471"/>
                      <a:gd name="connsiteX17" fmla="*/ 1420496 w 1613651"/>
                      <a:gd name="connsiteY17" fmla="*/ 783329 h 1522471"/>
                      <a:gd name="connsiteX18" fmla="*/ 1416472 w 1613651"/>
                      <a:gd name="connsiteY18" fmla="*/ 791363 h 1522471"/>
                      <a:gd name="connsiteX19" fmla="*/ 1420496 w 1613651"/>
                      <a:gd name="connsiteY19" fmla="*/ 867688 h 1522471"/>
                      <a:gd name="connsiteX20" fmla="*/ 1432568 w 1613651"/>
                      <a:gd name="connsiteY20" fmla="*/ 879739 h 1522471"/>
                      <a:gd name="connsiteX21" fmla="*/ 1609627 w 1613651"/>
                      <a:gd name="connsiteY21" fmla="*/ 960081 h 1522471"/>
                      <a:gd name="connsiteX22" fmla="*/ 1613651 w 1613651"/>
                      <a:gd name="connsiteY22" fmla="*/ 968115 h 1522471"/>
                      <a:gd name="connsiteX23" fmla="*/ 1581459 w 1613651"/>
                      <a:gd name="connsiteY23" fmla="*/ 1124781 h 1522471"/>
                      <a:gd name="connsiteX24" fmla="*/ 1573411 w 1613651"/>
                      <a:gd name="connsiteY24" fmla="*/ 1132815 h 1522471"/>
                      <a:gd name="connsiteX25" fmla="*/ 1380255 w 1613651"/>
                      <a:gd name="connsiteY25" fmla="*/ 1144866 h 1522471"/>
                      <a:gd name="connsiteX26" fmla="*/ 1372207 w 1613651"/>
                      <a:gd name="connsiteY26" fmla="*/ 1148883 h 1522471"/>
                      <a:gd name="connsiteX27" fmla="*/ 1335991 w 1613651"/>
                      <a:gd name="connsiteY27" fmla="*/ 1221190 h 1522471"/>
                      <a:gd name="connsiteX28" fmla="*/ 1335991 w 1613651"/>
                      <a:gd name="connsiteY28" fmla="*/ 1229224 h 1522471"/>
                      <a:gd name="connsiteX29" fmla="*/ 1452688 w 1613651"/>
                      <a:gd name="connsiteY29" fmla="*/ 1389907 h 1522471"/>
                      <a:gd name="connsiteX30" fmla="*/ 1452688 w 1613651"/>
                      <a:gd name="connsiteY30" fmla="*/ 1401959 h 1522471"/>
                      <a:gd name="connsiteX31" fmla="*/ 1344039 w 1613651"/>
                      <a:gd name="connsiteY31" fmla="*/ 1522471 h 1522471"/>
                      <a:gd name="connsiteX32" fmla="*/ 1335991 w 1613651"/>
                      <a:gd name="connsiteY32" fmla="*/ 1522471 h 1522471"/>
                      <a:gd name="connsiteX33" fmla="*/ 1158932 w 1613651"/>
                      <a:gd name="connsiteY33" fmla="*/ 1434095 h 1522471"/>
                      <a:gd name="connsiteX34" fmla="*/ 1150883 w 1613651"/>
                      <a:gd name="connsiteY34" fmla="*/ 1434095 h 1522471"/>
                      <a:gd name="connsiteX35" fmla="*/ 1128315 w 1613651"/>
                      <a:gd name="connsiteY35" fmla="*/ 1438774 h 1522471"/>
                      <a:gd name="connsiteX36" fmla="*/ 1113073 w 1613651"/>
                      <a:gd name="connsiteY36" fmla="*/ 1366790 h 1522471"/>
                      <a:gd name="connsiteX37" fmla="*/ 1161524 w 1613651"/>
                      <a:gd name="connsiteY37" fmla="*/ 1327023 h 1522471"/>
                      <a:gd name="connsiteX38" fmla="*/ 1345313 w 1613651"/>
                      <a:gd name="connsiteY38" fmla="*/ 885625 h 1522471"/>
                      <a:gd name="connsiteX39" fmla="*/ 717818 w 1613651"/>
                      <a:gd name="connsiteY39" fmla="*/ 261395 h 1522471"/>
                      <a:gd name="connsiteX40" fmla="*/ 197489 w 1613651"/>
                      <a:gd name="connsiteY40" fmla="*/ 536612 h 1522471"/>
                      <a:gd name="connsiteX41" fmla="*/ 163371 w 1613651"/>
                      <a:gd name="connsiteY41" fmla="*/ 592325 h 1522471"/>
                      <a:gd name="connsiteX42" fmla="*/ 94809 w 1613651"/>
                      <a:gd name="connsiteY42" fmla="*/ 583894 h 1522471"/>
                      <a:gd name="connsiteX43" fmla="*/ 108650 w 1613651"/>
                      <a:gd name="connsiteY43" fmla="*/ 550339 h 1522471"/>
                      <a:gd name="connsiteX44" fmla="*/ 0 w 1613651"/>
                      <a:gd name="connsiteY44" fmla="*/ 381622 h 1522471"/>
                      <a:gd name="connsiteX45" fmla="*/ 0 w 1613651"/>
                      <a:gd name="connsiteY45" fmla="*/ 365554 h 1522471"/>
                      <a:gd name="connsiteX46" fmla="*/ 100602 w 1613651"/>
                      <a:gd name="connsiteY46" fmla="*/ 245041 h 1522471"/>
                      <a:gd name="connsiteX47" fmla="*/ 112674 w 1613651"/>
                      <a:gd name="connsiteY47" fmla="*/ 245041 h 1522471"/>
                      <a:gd name="connsiteX48" fmla="*/ 297781 w 1613651"/>
                      <a:gd name="connsiteY48" fmla="*/ 329400 h 1522471"/>
                      <a:gd name="connsiteX49" fmla="*/ 358142 w 1613651"/>
                      <a:gd name="connsiteY49" fmla="*/ 289229 h 1522471"/>
                      <a:gd name="connsiteX50" fmla="*/ 346070 w 1613651"/>
                      <a:gd name="connsiteY50" fmla="*/ 84358 h 1522471"/>
                      <a:gd name="connsiteX51" fmla="*/ 350094 w 1613651"/>
                      <a:gd name="connsiteY51" fmla="*/ 80341 h 1522471"/>
                      <a:gd name="connsiteX52" fmla="*/ 503008 w 1613651"/>
                      <a:gd name="connsiteY52" fmla="*/ 24102 h 1522471"/>
                      <a:gd name="connsiteX53" fmla="*/ 515081 w 1613651"/>
                      <a:gd name="connsiteY53" fmla="*/ 28119 h 1522471"/>
                      <a:gd name="connsiteX54" fmla="*/ 627755 w 1613651"/>
                      <a:gd name="connsiteY54" fmla="*/ 196836 h 1522471"/>
                      <a:gd name="connsiteX55" fmla="*/ 704212 w 1613651"/>
                      <a:gd name="connsiteY55" fmla="*/ 188802 h 1522471"/>
                      <a:gd name="connsiteX56" fmla="*/ 796765 w 1613651"/>
                      <a:gd name="connsiteY56" fmla="*/ 4017 h 1522471"/>
                      <a:gd name="connsiteX57" fmla="*/ 804814 w 1613651"/>
                      <a:gd name="connsiteY57"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331966 w 1613651"/>
                      <a:gd name="connsiteY11" fmla="*/ 526237 h 1522471"/>
                      <a:gd name="connsiteX12" fmla="*/ 1529146 w 1613651"/>
                      <a:gd name="connsiteY12" fmla="*/ 506151 h 1522471"/>
                      <a:gd name="connsiteX13" fmla="*/ 1533170 w 1613651"/>
                      <a:gd name="connsiteY13" fmla="*/ 518202 h 1522471"/>
                      <a:gd name="connsiteX14" fmla="*/ 1589507 w 1613651"/>
                      <a:gd name="connsiteY14" fmla="*/ 666834 h 1522471"/>
                      <a:gd name="connsiteX15" fmla="*/ 1581459 w 1613651"/>
                      <a:gd name="connsiteY15" fmla="*/ 678885 h 1522471"/>
                      <a:gd name="connsiteX16" fmla="*/ 1420496 w 1613651"/>
                      <a:gd name="connsiteY16" fmla="*/ 783329 h 1522471"/>
                      <a:gd name="connsiteX17" fmla="*/ 1416472 w 1613651"/>
                      <a:gd name="connsiteY17" fmla="*/ 791363 h 1522471"/>
                      <a:gd name="connsiteX18" fmla="*/ 1420496 w 1613651"/>
                      <a:gd name="connsiteY18" fmla="*/ 867688 h 1522471"/>
                      <a:gd name="connsiteX19" fmla="*/ 1432568 w 1613651"/>
                      <a:gd name="connsiteY19" fmla="*/ 879739 h 1522471"/>
                      <a:gd name="connsiteX20" fmla="*/ 1609627 w 1613651"/>
                      <a:gd name="connsiteY20" fmla="*/ 960081 h 1522471"/>
                      <a:gd name="connsiteX21" fmla="*/ 1613651 w 1613651"/>
                      <a:gd name="connsiteY21" fmla="*/ 968115 h 1522471"/>
                      <a:gd name="connsiteX22" fmla="*/ 1581459 w 1613651"/>
                      <a:gd name="connsiteY22" fmla="*/ 1124781 h 1522471"/>
                      <a:gd name="connsiteX23" fmla="*/ 1573411 w 1613651"/>
                      <a:gd name="connsiteY23" fmla="*/ 1132815 h 1522471"/>
                      <a:gd name="connsiteX24" fmla="*/ 1380255 w 1613651"/>
                      <a:gd name="connsiteY24" fmla="*/ 1144866 h 1522471"/>
                      <a:gd name="connsiteX25" fmla="*/ 1372207 w 1613651"/>
                      <a:gd name="connsiteY25" fmla="*/ 1148883 h 1522471"/>
                      <a:gd name="connsiteX26" fmla="*/ 1335991 w 1613651"/>
                      <a:gd name="connsiteY26" fmla="*/ 1221190 h 1522471"/>
                      <a:gd name="connsiteX27" fmla="*/ 1335991 w 1613651"/>
                      <a:gd name="connsiteY27" fmla="*/ 1229224 h 1522471"/>
                      <a:gd name="connsiteX28" fmla="*/ 1452688 w 1613651"/>
                      <a:gd name="connsiteY28" fmla="*/ 1389907 h 1522471"/>
                      <a:gd name="connsiteX29" fmla="*/ 1452688 w 1613651"/>
                      <a:gd name="connsiteY29" fmla="*/ 1401959 h 1522471"/>
                      <a:gd name="connsiteX30" fmla="*/ 1344039 w 1613651"/>
                      <a:gd name="connsiteY30" fmla="*/ 1522471 h 1522471"/>
                      <a:gd name="connsiteX31" fmla="*/ 1335991 w 1613651"/>
                      <a:gd name="connsiteY31" fmla="*/ 1522471 h 1522471"/>
                      <a:gd name="connsiteX32" fmla="*/ 1158932 w 1613651"/>
                      <a:gd name="connsiteY32" fmla="*/ 1434095 h 1522471"/>
                      <a:gd name="connsiteX33" fmla="*/ 1150883 w 1613651"/>
                      <a:gd name="connsiteY33" fmla="*/ 1434095 h 1522471"/>
                      <a:gd name="connsiteX34" fmla="*/ 1128315 w 1613651"/>
                      <a:gd name="connsiteY34" fmla="*/ 1438774 h 1522471"/>
                      <a:gd name="connsiteX35" fmla="*/ 1113073 w 1613651"/>
                      <a:gd name="connsiteY35" fmla="*/ 1366790 h 1522471"/>
                      <a:gd name="connsiteX36" fmla="*/ 1161524 w 1613651"/>
                      <a:gd name="connsiteY36" fmla="*/ 1327023 h 1522471"/>
                      <a:gd name="connsiteX37" fmla="*/ 1345313 w 1613651"/>
                      <a:gd name="connsiteY37" fmla="*/ 885625 h 1522471"/>
                      <a:gd name="connsiteX38" fmla="*/ 717818 w 1613651"/>
                      <a:gd name="connsiteY38" fmla="*/ 261395 h 1522471"/>
                      <a:gd name="connsiteX39" fmla="*/ 197489 w 1613651"/>
                      <a:gd name="connsiteY39" fmla="*/ 536612 h 1522471"/>
                      <a:gd name="connsiteX40" fmla="*/ 163371 w 1613651"/>
                      <a:gd name="connsiteY40" fmla="*/ 592325 h 1522471"/>
                      <a:gd name="connsiteX41" fmla="*/ 94809 w 1613651"/>
                      <a:gd name="connsiteY41" fmla="*/ 583894 h 1522471"/>
                      <a:gd name="connsiteX42" fmla="*/ 108650 w 1613651"/>
                      <a:gd name="connsiteY42" fmla="*/ 550339 h 1522471"/>
                      <a:gd name="connsiteX43" fmla="*/ 0 w 1613651"/>
                      <a:gd name="connsiteY43" fmla="*/ 381622 h 1522471"/>
                      <a:gd name="connsiteX44" fmla="*/ 0 w 1613651"/>
                      <a:gd name="connsiteY44" fmla="*/ 365554 h 1522471"/>
                      <a:gd name="connsiteX45" fmla="*/ 100602 w 1613651"/>
                      <a:gd name="connsiteY45" fmla="*/ 245041 h 1522471"/>
                      <a:gd name="connsiteX46" fmla="*/ 112674 w 1613651"/>
                      <a:gd name="connsiteY46" fmla="*/ 245041 h 1522471"/>
                      <a:gd name="connsiteX47" fmla="*/ 297781 w 1613651"/>
                      <a:gd name="connsiteY47" fmla="*/ 329400 h 1522471"/>
                      <a:gd name="connsiteX48" fmla="*/ 358142 w 1613651"/>
                      <a:gd name="connsiteY48" fmla="*/ 289229 h 1522471"/>
                      <a:gd name="connsiteX49" fmla="*/ 346070 w 1613651"/>
                      <a:gd name="connsiteY49" fmla="*/ 84358 h 1522471"/>
                      <a:gd name="connsiteX50" fmla="*/ 350094 w 1613651"/>
                      <a:gd name="connsiteY50" fmla="*/ 80341 h 1522471"/>
                      <a:gd name="connsiteX51" fmla="*/ 503008 w 1613651"/>
                      <a:gd name="connsiteY51" fmla="*/ 24102 h 1522471"/>
                      <a:gd name="connsiteX52" fmla="*/ 515081 w 1613651"/>
                      <a:gd name="connsiteY52" fmla="*/ 28119 h 1522471"/>
                      <a:gd name="connsiteX53" fmla="*/ 627755 w 1613651"/>
                      <a:gd name="connsiteY53" fmla="*/ 196836 h 1522471"/>
                      <a:gd name="connsiteX54" fmla="*/ 704212 w 1613651"/>
                      <a:gd name="connsiteY54" fmla="*/ 188802 h 1522471"/>
                      <a:gd name="connsiteX55" fmla="*/ 796765 w 1613651"/>
                      <a:gd name="connsiteY55" fmla="*/ 4017 h 1522471"/>
                      <a:gd name="connsiteX56" fmla="*/ 804814 w 1613651"/>
                      <a:gd name="connsiteY56"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20496 w 1613651"/>
                      <a:gd name="connsiteY15" fmla="*/ 783329 h 1522471"/>
                      <a:gd name="connsiteX16" fmla="*/ 1416472 w 1613651"/>
                      <a:gd name="connsiteY16" fmla="*/ 791363 h 1522471"/>
                      <a:gd name="connsiteX17" fmla="*/ 1420496 w 1613651"/>
                      <a:gd name="connsiteY17" fmla="*/ 867688 h 1522471"/>
                      <a:gd name="connsiteX18" fmla="*/ 1432568 w 1613651"/>
                      <a:gd name="connsiteY18" fmla="*/ 879739 h 1522471"/>
                      <a:gd name="connsiteX19" fmla="*/ 1609627 w 1613651"/>
                      <a:gd name="connsiteY19" fmla="*/ 960081 h 1522471"/>
                      <a:gd name="connsiteX20" fmla="*/ 1613651 w 1613651"/>
                      <a:gd name="connsiteY20" fmla="*/ 968115 h 1522471"/>
                      <a:gd name="connsiteX21" fmla="*/ 1581459 w 1613651"/>
                      <a:gd name="connsiteY21" fmla="*/ 1124781 h 1522471"/>
                      <a:gd name="connsiteX22" fmla="*/ 1573411 w 1613651"/>
                      <a:gd name="connsiteY22" fmla="*/ 1132815 h 1522471"/>
                      <a:gd name="connsiteX23" fmla="*/ 1380255 w 1613651"/>
                      <a:gd name="connsiteY23" fmla="*/ 1144866 h 1522471"/>
                      <a:gd name="connsiteX24" fmla="*/ 1372207 w 1613651"/>
                      <a:gd name="connsiteY24" fmla="*/ 1148883 h 1522471"/>
                      <a:gd name="connsiteX25" fmla="*/ 1335991 w 1613651"/>
                      <a:gd name="connsiteY25" fmla="*/ 1221190 h 1522471"/>
                      <a:gd name="connsiteX26" fmla="*/ 1335991 w 1613651"/>
                      <a:gd name="connsiteY26" fmla="*/ 1229224 h 1522471"/>
                      <a:gd name="connsiteX27" fmla="*/ 1452688 w 1613651"/>
                      <a:gd name="connsiteY27" fmla="*/ 1389907 h 1522471"/>
                      <a:gd name="connsiteX28" fmla="*/ 1452688 w 1613651"/>
                      <a:gd name="connsiteY28" fmla="*/ 1401959 h 1522471"/>
                      <a:gd name="connsiteX29" fmla="*/ 1344039 w 1613651"/>
                      <a:gd name="connsiteY29" fmla="*/ 1522471 h 1522471"/>
                      <a:gd name="connsiteX30" fmla="*/ 1335991 w 1613651"/>
                      <a:gd name="connsiteY30" fmla="*/ 1522471 h 1522471"/>
                      <a:gd name="connsiteX31" fmla="*/ 1158932 w 1613651"/>
                      <a:gd name="connsiteY31" fmla="*/ 1434095 h 1522471"/>
                      <a:gd name="connsiteX32" fmla="*/ 1150883 w 1613651"/>
                      <a:gd name="connsiteY32" fmla="*/ 1434095 h 1522471"/>
                      <a:gd name="connsiteX33" fmla="*/ 1128315 w 1613651"/>
                      <a:gd name="connsiteY33" fmla="*/ 1438774 h 1522471"/>
                      <a:gd name="connsiteX34" fmla="*/ 1113073 w 1613651"/>
                      <a:gd name="connsiteY34" fmla="*/ 1366790 h 1522471"/>
                      <a:gd name="connsiteX35" fmla="*/ 1161524 w 1613651"/>
                      <a:gd name="connsiteY35" fmla="*/ 1327023 h 1522471"/>
                      <a:gd name="connsiteX36" fmla="*/ 1345313 w 1613651"/>
                      <a:gd name="connsiteY36" fmla="*/ 885625 h 1522471"/>
                      <a:gd name="connsiteX37" fmla="*/ 717818 w 1613651"/>
                      <a:gd name="connsiteY37" fmla="*/ 261395 h 1522471"/>
                      <a:gd name="connsiteX38" fmla="*/ 197489 w 1613651"/>
                      <a:gd name="connsiteY38" fmla="*/ 536612 h 1522471"/>
                      <a:gd name="connsiteX39" fmla="*/ 163371 w 1613651"/>
                      <a:gd name="connsiteY39" fmla="*/ 592325 h 1522471"/>
                      <a:gd name="connsiteX40" fmla="*/ 94809 w 1613651"/>
                      <a:gd name="connsiteY40" fmla="*/ 583894 h 1522471"/>
                      <a:gd name="connsiteX41" fmla="*/ 108650 w 1613651"/>
                      <a:gd name="connsiteY41" fmla="*/ 550339 h 1522471"/>
                      <a:gd name="connsiteX42" fmla="*/ 0 w 1613651"/>
                      <a:gd name="connsiteY42" fmla="*/ 381622 h 1522471"/>
                      <a:gd name="connsiteX43" fmla="*/ 0 w 1613651"/>
                      <a:gd name="connsiteY43" fmla="*/ 365554 h 1522471"/>
                      <a:gd name="connsiteX44" fmla="*/ 100602 w 1613651"/>
                      <a:gd name="connsiteY44" fmla="*/ 245041 h 1522471"/>
                      <a:gd name="connsiteX45" fmla="*/ 112674 w 1613651"/>
                      <a:gd name="connsiteY45" fmla="*/ 245041 h 1522471"/>
                      <a:gd name="connsiteX46" fmla="*/ 297781 w 1613651"/>
                      <a:gd name="connsiteY46" fmla="*/ 329400 h 1522471"/>
                      <a:gd name="connsiteX47" fmla="*/ 358142 w 1613651"/>
                      <a:gd name="connsiteY47" fmla="*/ 289229 h 1522471"/>
                      <a:gd name="connsiteX48" fmla="*/ 346070 w 1613651"/>
                      <a:gd name="connsiteY48" fmla="*/ 84358 h 1522471"/>
                      <a:gd name="connsiteX49" fmla="*/ 350094 w 1613651"/>
                      <a:gd name="connsiteY49" fmla="*/ 80341 h 1522471"/>
                      <a:gd name="connsiteX50" fmla="*/ 503008 w 1613651"/>
                      <a:gd name="connsiteY50" fmla="*/ 24102 h 1522471"/>
                      <a:gd name="connsiteX51" fmla="*/ 515081 w 1613651"/>
                      <a:gd name="connsiteY51" fmla="*/ 28119 h 1522471"/>
                      <a:gd name="connsiteX52" fmla="*/ 627755 w 1613651"/>
                      <a:gd name="connsiteY52" fmla="*/ 196836 h 1522471"/>
                      <a:gd name="connsiteX53" fmla="*/ 704212 w 1613651"/>
                      <a:gd name="connsiteY53" fmla="*/ 188802 h 1522471"/>
                      <a:gd name="connsiteX54" fmla="*/ 796765 w 1613651"/>
                      <a:gd name="connsiteY54" fmla="*/ 4017 h 1522471"/>
                      <a:gd name="connsiteX55" fmla="*/ 804814 w 1613651"/>
                      <a:gd name="connsiteY55"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432568 w 1613651"/>
                      <a:gd name="connsiteY17" fmla="*/ 879739 h 1522471"/>
                      <a:gd name="connsiteX18" fmla="*/ 1609627 w 1613651"/>
                      <a:gd name="connsiteY18" fmla="*/ 960081 h 1522471"/>
                      <a:gd name="connsiteX19" fmla="*/ 1613651 w 1613651"/>
                      <a:gd name="connsiteY19" fmla="*/ 968115 h 1522471"/>
                      <a:gd name="connsiteX20" fmla="*/ 1581459 w 1613651"/>
                      <a:gd name="connsiteY20" fmla="*/ 1124781 h 1522471"/>
                      <a:gd name="connsiteX21" fmla="*/ 1573411 w 1613651"/>
                      <a:gd name="connsiteY21" fmla="*/ 1132815 h 1522471"/>
                      <a:gd name="connsiteX22" fmla="*/ 1380255 w 1613651"/>
                      <a:gd name="connsiteY22" fmla="*/ 1144866 h 1522471"/>
                      <a:gd name="connsiteX23" fmla="*/ 1372207 w 1613651"/>
                      <a:gd name="connsiteY23" fmla="*/ 1148883 h 1522471"/>
                      <a:gd name="connsiteX24" fmla="*/ 1335991 w 1613651"/>
                      <a:gd name="connsiteY24" fmla="*/ 1221190 h 1522471"/>
                      <a:gd name="connsiteX25" fmla="*/ 1335991 w 1613651"/>
                      <a:gd name="connsiteY25" fmla="*/ 1229224 h 1522471"/>
                      <a:gd name="connsiteX26" fmla="*/ 1452688 w 1613651"/>
                      <a:gd name="connsiteY26" fmla="*/ 1389907 h 1522471"/>
                      <a:gd name="connsiteX27" fmla="*/ 1452688 w 1613651"/>
                      <a:gd name="connsiteY27" fmla="*/ 1401959 h 1522471"/>
                      <a:gd name="connsiteX28" fmla="*/ 1344039 w 1613651"/>
                      <a:gd name="connsiteY28" fmla="*/ 1522471 h 1522471"/>
                      <a:gd name="connsiteX29" fmla="*/ 1335991 w 1613651"/>
                      <a:gd name="connsiteY29" fmla="*/ 1522471 h 1522471"/>
                      <a:gd name="connsiteX30" fmla="*/ 1158932 w 1613651"/>
                      <a:gd name="connsiteY30" fmla="*/ 1434095 h 1522471"/>
                      <a:gd name="connsiteX31" fmla="*/ 1150883 w 1613651"/>
                      <a:gd name="connsiteY31" fmla="*/ 1434095 h 1522471"/>
                      <a:gd name="connsiteX32" fmla="*/ 1128315 w 1613651"/>
                      <a:gd name="connsiteY32" fmla="*/ 1438774 h 1522471"/>
                      <a:gd name="connsiteX33" fmla="*/ 1113073 w 1613651"/>
                      <a:gd name="connsiteY33" fmla="*/ 1366790 h 1522471"/>
                      <a:gd name="connsiteX34" fmla="*/ 1161524 w 1613651"/>
                      <a:gd name="connsiteY34" fmla="*/ 1327023 h 1522471"/>
                      <a:gd name="connsiteX35" fmla="*/ 1345313 w 1613651"/>
                      <a:gd name="connsiteY35" fmla="*/ 885625 h 1522471"/>
                      <a:gd name="connsiteX36" fmla="*/ 717818 w 1613651"/>
                      <a:gd name="connsiteY36" fmla="*/ 261395 h 1522471"/>
                      <a:gd name="connsiteX37" fmla="*/ 197489 w 1613651"/>
                      <a:gd name="connsiteY37" fmla="*/ 536612 h 1522471"/>
                      <a:gd name="connsiteX38" fmla="*/ 163371 w 1613651"/>
                      <a:gd name="connsiteY38" fmla="*/ 592325 h 1522471"/>
                      <a:gd name="connsiteX39" fmla="*/ 94809 w 1613651"/>
                      <a:gd name="connsiteY39" fmla="*/ 583894 h 1522471"/>
                      <a:gd name="connsiteX40" fmla="*/ 108650 w 1613651"/>
                      <a:gd name="connsiteY40" fmla="*/ 550339 h 1522471"/>
                      <a:gd name="connsiteX41" fmla="*/ 0 w 1613651"/>
                      <a:gd name="connsiteY41" fmla="*/ 381622 h 1522471"/>
                      <a:gd name="connsiteX42" fmla="*/ 0 w 1613651"/>
                      <a:gd name="connsiteY42" fmla="*/ 365554 h 1522471"/>
                      <a:gd name="connsiteX43" fmla="*/ 100602 w 1613651"/>
                      <a:gd name="connsiteY43" fmla="*/ 245041 h 1522471"/>
                      <a:gd name="connsiteX44" fmla="*/ 112674 w 1613651"/>
                      <a:gd name="connsiteY44" fmla="*/ 245041 h 1522471"/>
                      <a:gd name="connsiteX45" fmla="*/ 297781 w 1613651"/>
                      <a:gd name="connsiteY45" fmla="*/ 329400 h 1522471"/>
                      <a:gd name="connsiteX46" fmla="*/ 358142 w 1613651"/>
                      <a:gd name="connsiteY46" fmla="*/ 289229 h 1522471"/>
                      <a:gd name="connsiteX47" fmla="*/ 346070 w 1613651"/>
                      <a:gd name="connsiteY47" fmla="*/ 84358 h 1522471"/>
                      <a:gd name="connsiteX48" fmla="*/ 350094 w 1613651"/>
                      <a:gd name="connsiteY48" fmla="*/ 80341 h 1522471"/>
                      <a:gd name="connsiteX49" fmla="*/ 503008 w 1613651"/>
                      <a:gd name="connsiteY49" fmla="*/ 24102 h 1522471"/>
                      <a:gd name="connsiteX50" fmla="*/ 515081 w 1613651"/>
                      <a:gd name="connsiteY50" fmla="*/ 28119 h 1522471"/>
                      <a:gd name="connsiteX51" fmla="*/ 627755 w 1613651"/>
                      <a:gd name="connsiteY51" fmla="*/ 196836 h 1522471"/>
                      <a:gd name="connsiteX52" fmla="*/ 704212 w 1613651"/>
                      <a:gd name="connsiteY52" fmla="*/ 188802 h 1522471"/>
                      <a:gd name="connsiteX53" fmla="*/ 796765 w 1613651"/>
                      <a:gd name="connsiteY53" fmla="*/ 4017 h 1522471"/>
                      <a:gd name="connsiteX54" fmla="*/ 804814 w 1613651"/>
                      <a:gd name="connsiteY54"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609627 w 1613651"/>
                      <a:gd name="connsiteY17" fmla="*/ 960081 h 1522471"/>
                      <a:gd name="connsiteX18" fmla="*/ 1613651 w 1613651"/>
                      <a:gd name="connsiteY18" fmla="*/ 968115 h 1522471"/>
                      <a:gd name="connsiteX19" fmla="*/ 1581459 w 1613651"/>
                      <a:gd name="connsiteY19" fmla="*/ 1124781 h 1522471"/>
                      <a:gd name="connsiteX20" fmla="*/ 1573411 w 1613651"/>
                      <a:gd name="connsiteY20" fmla="*/ 1132815 h 1522471"/>
                      <a:gd name="connsiteX21" fmla="*/ 1380255 w 1613651"/>
                      <a:gd name="connsiteY21" fmla="*/ 1144866 h 1522471"/>
                      <a:gd name="connsiteX22" fmla="*/ 1372207 w 1613651"/>
                      <a:gd name="connsiteY22" fmla="*/ 1148883 h 1522471"/>
                      <a:gd name="connsiteX23" fmla="*/ 1335991 w 1613651"/>
                      <a:gd name="connsiteY23" fmla="*/ 1221190 h 1522471"/>
                      <a:gd name="connsiteX24" fmla="*/ 1335991 w 1613651"/>
                      <a:gd name="connsiteY24" fmla="*/ 1229224 h 1522471"/>
                      <a:gd name="connsiteX25" fmla="*/ 1452688 w 1613651"/>
                      <a:gd name="connsiteY25" fmla="*/ 1389907 h 1522471"/>
                      <a:gd name="connsiteX26" fmla="*/ 1452688 w 1613651"/>
                      <a:gd name="connsiteY26" fmla="*/ 1401959 h 1522471"/>
                      <a:gd name="connsiteX27" fmla="*/ 1344039 w 1613651"/>
                      <a:gd name="connsiteY27" fmla="*/ 1522471 h 1522471"/>
                      <a:gd name="connsiteX28" fmla="*/ 1335991 w 1613651"/>
                      <a:gd name="connsiteY28" fmla="*/ 1522471 h 1522471"/>
                      <a:gd name="connsiteX29" fmla="*/ 1158932 w 1613651"/>
                      <a:gd name="connsiteY29" fmla="*/ 1434095 h 1522471"/>
                      <a:gd name="connsiteX30" fmla="*/ 1150883 w 1613651"/>
                      <a:gd name="connsiteY30" fmla="*/ 1434095 h 1522471"/>
                      <a:gd name="connsiteX31" fmla="*/ 1128315 w 1613651"/>
                      <a:gd name="connsiteY31" fmla="*/ 1438774 h 1522471"/>
                      <a:gd name="connsiteX32" fmla="*/ 1113073 w 1613651"/>
                      <a:gd name="connsiteY32" fmla="*/ 1366790 h 1522471"/>
                      <a:gd name="connsiteX33" fmla="*/ 1161524 w 1613651"/>
                      <a:gd name="connsiteY33" fmla="*/ 1327023 h 1522471"/>
                      <a:gd name="connsiteX34" fmla="*/ 1345313 w 1613651"/>
                      <a:gd name="connsiteY34" fmla="*/ 885625 h 1522471"/>
                      <a:gd name="connsiteX35" fmla="*/ 717818 w 1613651"/>
                      <a:gd name="connsiteY35" fmla="*/ 261395 h 1522471"/>
                      <a:gd name="connsiteX36" fmla="*/ 197489 w 1613651"/>
                      <a:gd name="connsiteY36" fmla="*/ 536612 h 1522471"/>
                      <a:gd name="connsiteX37" fmla="*/ 163371 w 1613651"/>
                      <a:gd name="connsiteY37" fmla="*/ 592325 h 1522471"/>
                      <a:gd name="connsiteX38" fmla="*/ 94809 w 1613651"/>
                      <a:gd name="connsiteY38" fmla="*/ 583894 h 1522471"/>
                      <a:gd name="connsiteX39" fmla="*/ 108650 w 1613651"/>
                      <a:gd name="connsiteY39" fmla="*/ 550339 h 1522471"/>
                      <a:gd name="connsiteX40" fmla="*/ 0 w 1613651"/>
                      <a:gd name="connsiteY40" fmla="*/ 381622 h 1522471"/>
                      <a:gd name="connsiteX41" fmla="*/ 0 w 1613651"/>
                      <a:gd name="connsiteY41" fmla="*/ 365554 h 1522471"/>
                      <a:gd name="connsiteX42" fmla="*/ 100602 w 1613651"/>
                      <a:gd name="connsiteY42" fmla="*/ 245041 h 1522471"/>
                      <a:gd name="connsiteX43" fmla="*/ 112674 w 1613651"/>
                      <a:gd name="connsiteY43" fmla="*/ 245041 h 1522471"/>
                      <a:gd name="connsiteX44" fmla="*/ 297781 w 1613651"/>
                      <a:gd name="connsiteY44" fmla="*/ 329400 h 1522471"/>
                      <a:gd name="connsiteX45" fmla="*/ 358142 w 1613651"/>
                      <a:gd name="connsiteY45" fmla="*/ 289229 h 1522471"/>
                      <a:gd name="connsiteX46" fmla="*/ 346070 w 1613651"/>
                      <a:gd name="connsiteY46" fmla="*/ 84358 h 1522471"/>
                      <a:gd name="connsiteX47" fmla="*/ 350094 w 1613651"/>
                      <a:gd name="connsiteY47" fmla="*/ 80341 h 1522471"/>
                      <a:gd name="connsiteX48" fmla="*/ 503008 w 1613651"/>
                      <a:gd name="connsiteY48" fmla="*/ 24102 h 1522471"/>
                      <a:gd name="connsiteX49" fmla="*/ 515081 w 1613651"/>
                      <a:gd name="connsiteY49" fmla="*/ 28119 h 1522471"/>
                      <a:gd name="connsiteX50" fmla="*/ 627755 w 1613651"/>
                      <a:gd name="connsiteY50" fmla="*/ 196836 h 1522471"/>
                      <a:gd name="connsiteX51" fmla="*/ 704212 w 1613651"/>
                      <a:gd name="connsiteY51" fmla="*/ 188802 h 1522471"/>
                      <a:gd name="connsiteX52" fmla="*/ 796765 w 1613651"/>
                      <a:gd name="connsiteY52" fmla="*/ 4017 h 1522471"/>
                      <a:gd name="connsiteX53" fmla="*/ 804814 w 1613651"/>
                      <a:gd name="connsiteY53"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609627 w 1613651"/>
                      <a:gd name="connsiteY17" fmla="*/ 960081 h 1522471"/>
                      <a:gd name="connsiteX18" fmla="*/ 1613651 w 1613651"/>
                      <a:gd name="connsiteY18" fmla="*/ 968115 h 1522471"/>
                      <a:gd name="connsiteX19" fmla="*/ 1581459 w 1613651"/>
                      <a:gd name="connsiteY19" fmla="*/ 1124781 h 1522471"/>
                      <a:gd name="connsiteX20" fmla="*/ 1573411 w 1613651"/>
                      <a:gd name="connsiteY20" fmla="*/ 1132815 h 1522471"/>
                      <a:gd name="connsiteX21" fmla="*/ 1380255 w 1613651"/>
                      <a:gd name="connsiteY21" fmla="*/ 1144866 h 1522471"/>
                      <a:gd name="connsiteX22" fmla="*/ 1372207 w 1613651"/>
                      <a:gd name="connsiteY22" fmla="*/ 1148883 h 1522471"/>
                      <a:gd name="connsiteX23" fmla="*/ 1335991 w 1613651"/>
                      <a:gd name="connsiteY23" fmla="*/ 1221190 h 1522471"/>
                      <a:gd name="connsiteX24" fmla="*/ 1452688 w 1613651"/>
                      <a:gd name="connsiteY24" fmla="*/ 1389907 h 1522471"/>
                      <a:gd name="connsiteX25" fmla="*/ 1452688 w 1613651"/>
                      <a:gd name="connsiteY25" fmla="*/ 1401959 h 1522471"/>
                      <a:gd name="connsiteX26" fmla="*/ 1344039 w 1613651"/>
                      <a:gd name="connsiteY26" fmla="*/ 1522471 h 1522471"/>
                      <a:gd name="connsiteX27" fmla="*/ 1335991 w 1613651"/>
                      <a:gd name="connsiteY27" fmla="*/ 1522471 h 1522471"/>
                      <a:gd name="connsiteX28" fmla="*/ 1158932 w 1613651"/>
                      <a:gd name="connsiteY28" fmla="*/ 1434095 h 1522471"/>
                      <a:gd name="connsiteX29" fmla="*/ 1150883 w 1613651"/>
                      <a:gd name="connsiteY29" fmla="*/ 1434095 h 1522471"/>
                      <a:gd name="connsiteX30" fmla="*/ 1128315 w 1613651"/>
                      <a:gd name="connsiteY30" fmla="*/ 1438774 h 1522471"/>
                      <a:gd name="connsiteX31" fmla="*/ 1113073 w 1613651"/>
                      <a:gd name="connsiteY31" fmla="*/ 1366790 h 1522471"/>
                      <a:gd name="connsiteX32" fmla="*/ 1161524 w 1613651"/>
                      <a:gd name="connsiteY32" fmla="*/ 1327023 h 1522471"/>
                      <a:gd name="connsiteX33" fmla="*/ 1345313 w 1613651"/>
                      <a:gd name="connsiteY33" fmla="*/ 885625 h 1522471"/>
                      <a:gd name="connsiteX34" fmla="*/ 717818 w 1613651"/>
                      <a:gd name="connsiteY34" fmla="*/ 261395 h 1522471"/>
                      <a:gd name="connsiteX35" fmla="*/ 197489 w 1613651"/>
                      <a:gd name="connsiteY35" fmla="*/ 536612 h 1522471"/>
                      <a:gd name="connsiteX36" fmla="*/ 163371 w 1613651"/>
                      <a:gd name="connsiteY36" fmla="*/ 592325 h 1522471"/>
                      <a:gd name="connsiteX37" fmla="*/ 94809 w 1613651"/>
                      <a:gd name="connsiteY37" fmla="*/ 583894 h 1522471"/>
                      <a:gd name="connsiteX38" fmla="*/ 108650 w 1613651"/>
                      <a:gd name="connsiteY38" fmla="*/ 550339 h 1522471"/>
                      <a:gd name="connsiteX39" fmla="*/ 0 w 1613651"/>
                      <a:gd name="connsiteY39" fmla="*/ 381622 h 1522471"/>
                      <a:gd name="connsiteX40" fmla="*/ 0 w 1613651"/>
                      <a:gd name="connsiteY40" fmla="*/ 365554 h 1522471"/>
                      <a:gd name="connsiteX41" fmla="*/ 100602 w 1613651"/>
                      <a:gd name="connsiteY41" fmla="*/ 245041 h 1522471"/>
                      <a:gd name="connsiteX42" fmla="*/ 112674 w 1613651"/>
                      <a:gd name="connsiteY42" fmla="*/ 245041 h 1522471"/>
                      <a:gd name="connsiteX43" fmla="*/ 297781 w 1613651"/>
                      <a:gd name="connsiteY43" fmla="*/ 329400 h 1522471"/>
                      <a:gd name="connsiteX44" fmla="*/ 358142 w 1613651"/>
                      <a:gd name="connsiteY44" fmla="*/ 289229 h 1522471"/>
                      <a:gd name="connsiteX45" fmla="*/ 346070 w 1613651"/>
                      <a:gd name="connsiteY45" fmla="*/ 84358 h 1522471"/>
                      <a:gd name="connsiteX46" fmla="*/ 350094 w 1613651"/>
                      <a:gd name="connsiteY46" fmla="*/ 80341 h 1522471"/>
                      <a:gd name="connsiteX47" fmla="*/ 503008 w 1613651"/>
                      <a:gd name="connsiteY47" fmla="*/ 24102 h 1522471"/>
                      <a:gd name="connsiteX48" fmla="*/ 515081 w 1613651"/>
                      <a:gd name="connsiteY48" fmla="*/ 28119 h 1522471"/>
                      <a:gd name="connsiteX49" fmla="*/ 627755 w 1613651"/>
                      <a:gd name="connsiteY49" fmla="*/ 196836 h 1522471"/>
                      <a:gd name="connsiteX50" fmla="*/ 704212 w 1613651"/>
                      <a:gd name="connsiteY50" fmla="*/ 188802 h 1522471"/>
                      <a:gd name="connsiteX51" fmla="*/ 796765 w 1613651"/>
                      <a:gd name="connsiteY51" fmla="*/ 4017 h 1522471"/>
                      <a:gd name="connsiteX52" fmla="*/ 804814 w 1613651"/>
                      <a:gd name="connsiteY52"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609627 w 1613651"/>
                      <a:gd name="connsiteY17" fmla="*/ 960081 h 1522471"/>
                      <a:gd name="connsiteX18" fmla="*/ 1613651 w 1613651"/>
                      <a:gd name="connsiteY18" fmla="*/ 968115 h 1522471"/>
                      <a:gd name="connsiteX19" fmla="*/ 1581459 w 1613651"/>
                      <a:gd name="connsiteY19" fmla="*/ 1124781 h 1522471"/>
                      <a:gd name="connsiteX20" fmla="*/ 1573411 w 1613651"/>
                      <a:gd name="connsiteY20" fmla="*/ 1132815 h 1522471"/>
                      <a:gd name="connsiteX21" fmla="*/ 1372207 w 1613651"/>
                      <a:gd name="connsiteY21" fmla="*/ 1148883 h 1522471"/>
                      <a:gd name="connsiteX22" fmla="*/ 1335991 w 1613651"/>
                      <a:gd name="connsiteY22" fmla="*/ 1221190 h 1522471"/>
                      <a:gd name="connsiteX23" fmla="*/ 1452688 w 1613651"/>
                      <a:gd name="connsiteY23" fmla="*/ 1389907 h 1522471"/>
                      <a:gd name="connsiteX24" fmla="*/ 1452688 w 1613651"/>
                      <a:gd name="connsiteY24" fmla="*/ 1401959 h 1522471"/>
                      <a:gd name="connsiteX25" fmla="*/ 1344039 w 1613651"/>
                      <a:gd name="connsiteY25" fmla="*/ 1522471 h 1522471"/>
                      <a:gd name="connsiteX26" fmla="*/ 1335991 w 1613651"/>
                      <a:gd name="connsiteY26" fmla="*/ 1522471 h 1522471"/>
                      <a:gd name="connsiteX27" fmla="*/ 1158932 w 1613651"/>
                      <a:gd name="connsiteY27" fmla="*/ 1434095 h 1522471"/>
                      <a:gd name="connsiteX28" fmla="*/ 1150883 w 1613651"/>
                      <a:gd name="connsiteY28" fmla="*/ 1434095 h 1522471"/>
                      <a:gd name="connsiteX29" fmla="*/ 1128315 w 1613651"/>
                      <a:gd name="connsiteY29" fmla="*/ 1438774 h 1522471"/>
                      <a:gd name="connsiteX30" fmla="*/ 1113073 w 1613651"/>
                      <a:gd name="connsiteY30" fmla="*/ 1366790 h 1522471"/>
                      <a:gd name="connsiteX31" fmla="*/ 1161524 w 1613651"/>
                      <a:gd name="connsiteY31" fmla="*/ 1327023 h 1522471"/>
                      <a:gd name="connsiteX32" fmla="*/ 1345313 w 1613651"/>
                      <a:gd name="connsiteY32" fmla="*/ 885625 h 1522471"/>
                      <a:gd name="connsiteX33" fmla="*/ 717818 w 1613651"/>
                      <a:gd name="connsiteY33" fmla="*/ 261395 h 1522471"/>
                      <a:gd name="connsiteX34" fmla="*/ 197489 w 1613651"/>
                      <a:gd name="connsiteY34" fmla="*/ 536612 h 1522471"/>
                      <a:gd name="connsiteX35" fmla="*/ 163371 w 1613651"/>
                      <a:gd name="connsiteY35" fmla="*/ 592325 h 1522471"/>
                      <a:gd name="connsiteX36" fmla="*/ 94809 w 1613651"/>
                      <a:gd name="connsiteY36" fmla="*/ 583894 h 1522471"/>
                      <a:gd name="connsiteX37" fmla="*/ 108650 w 1613651"/>
                      <a:gd name="connsiteY37" fmla="*/ 550339 h 1522471"/>
                      <a:gd name="connsiteX38" fmla="*/ 0 w 1613651"/>
                      <a:gd name="connsiteY38" fmla="*/ 381622 h 1522471"/>
                      <a:gd name="connsiteX39" fmla="*/ 0 w 1613651"/>
                      <a:gd name="connsiteY39" fmla="*/ 365554 h 1522471"/>
                      <a:gd name="connsiteX40" fmla="*/ 100602 w 1613651"/>
                      <a:gd name="connsiteY40" fmla="*/ 245041 h 1522471"/>
                      <a:gd name="connsiteX41" fmla="*/ 112674 w 1613651"/>
                      <a:gd name="connsiteY41" fmla="*/ 245041 h 1522471"/>
                      <a:gd name="connsiteX42" fmla="*/ 297781 w 1613651"/>
                      <a:gd name="connsiteY42" fmla="*/ 329400 h 1522471"/>
                      <a:gd name="connsiteX43" fmla="*/ 358142 w 1613651"/>
                      <a:gd name="connsiteY43" fmla="*/ 289229 h 1522471"/>
                      <a:gd name="connsiteX44" fmla="*/ 346070 w 1613651"/>
                      <a:gd name="connsiteY44" fmla="*/ 84358 h 1522471"/>
                      <a:gd name="connsiteX45" fmla="*/ 350094 w 1613651"/>
                      <a:gd name="connsiteY45" fmla="*/ 80341 h 1522471"/>
                      <a:gd name="connsiteX46" fmla="*/ 503008 w 1613651"/>
                      <a:gd name="connsiteY46" fmla="*/ 24102 h 1522471"/>
                      <a:gd name="connsiteX47" fmla="*/ 515081 w 1613651"/>
                      <a:gd name="connsiteY47" fmla="*/ 28119 h 1522471"/>
                      <a:gd name="connsiteX48" fmla="*/ 627755 w 1613651"/>
                      <a:gd name="connsiteY48" fmla="*/ 196836 h 1522471"/>
                      <a:gd name="connsiteX49" fmla="*/ 704212 w 1613651"/>
                      <a:gd name="connsiteY49" fmla="*/ 188802 h 1522471"/>
                      <a:gd name="connsiteX50" fmla="*/ 796765 w 1613651"/>
                      <a:gd name="connsiteY50" fmla="*/ 4017 h 1522471"/>
                      <a:gd name="connsiteX51" fmla="*/ 804814 w 1613651"/>
                      <a:gd name="connsiteY51"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609627 w 1613651"/>
                      <a:gd name="connsiteY17" fmla="*/ 960081 h 1522471"/>
                      <a:gd name="connsiteX18" fmla="*/ 1613651 w 1613651"/>
                      <a:gd name="connsiteY18" fmla="*/ 968115 h 1522471"/>
                      <a:gd name="connsiteX19" fmla="*/ 1581459 w 1613651"/>
                      <a:gd name="connsiteY19" fmla="*/ 1124781 h 1522471"/>
                      <a:gd name="connsiteX20" fmla="*/ 1573411 w 1613651"/>
                      <a:gd name="connsiteY20" fmla="*/ 1132815 h 1522471"/>
                      <a:gd name="connsiteX21" fmla="*/ 1372207 w 1613651"/>
                      <a:gd name="connsiteY21" fmla="*/ 1148883 h 1522471"/>
                      <a:gd name="connsiteX22" fmla="*/ 1335991 w 1613651"/>
                      <a:gd name="connsiteY22" fmla="*/ 1221190 h 1522471"/>
                      <a:gd name="connsiteX23" fmla="*/ 1452688 w 1613651"/>
                      <a:gd name="connsiteY23" fmla="*/ 1389907 h 1522471"/>
                      <a:gd name="connsiteX24" fmla="*/ 1452688 w 1613651"/>
                      <a:gd name="connsiteY24" fmla="*/ 1401959 h 1522471"/>
                      <a:gd name="connsiteX25" fmla="*/ 1344039 w 1613651"/>
                      <a:gd name="connsiteY25" fmla="*/ 1522471 h 1522471"/>
                      <a:gd name="connsiteX26" fmla="*/ 1335991 w 1613651"/>
                      <a:gd name="connsiteY26" fmla="*/ 1522471 h 1522471"/>
                      <a:gd name="connsiteX27" fmla="*/ 1150883 w 1613651"/>
                      <a:gd name="connsiteY27" fmla="*/ 1434095 h 1522471"/>
                      <a:gd name="connsiteX28" fmla="*/ 1128315 w 1613651"/>
                      <a:gd name="connsiteY28" fmla="*/ 1438774 h 1522471"/>
                      <a:gd name="connsiteX29" fmla="*/ 1113073 w 1613651"/>
                      <a:gd name="connsiteY29" fmla="*/ 1366790 h 1522471"/>
                      <a:gd name="connsiteX30" fmla="*/ 1161524 w 1613651"/>
                      <a:gd name="connsiteY30" fmla="*/ 1327023 h 1522471"/>
                      <a:gd name="connsiteX31" fmla="*/ 1345313 w 1613651"/>
                      <a:gd name="connsiteY31" fmla="*/ 885625 h 1522471"/>
                      <a:gd name="connsiteX32" fmla="*/ 717818 w 1613651"/>
                      <a:gd name="connsiteY32" fmla="*/ 261395 h 1522471"/>
                      <a:gd name="connsiteX33" fmla="*/ 197489 w 1613651"/>
                      <a:gd name="connsiteY33" fmla="*/ 536612 h 1522471"/>
                      <a:gd name="connsiteX34" fmla="*/ 163371 w 1613651"/>
                      <a:gd name="connsiteY34" fmla="*/ 592325 h 1522471"/>
                      <a:gd name="connsiteX35" fmla="*/ 94809 w 1613651"/>
                      <a:gd name="connsiteY35" fmla="*/ 583894 h 1522471"/>
                      <a:gd name="connsiteX36" fmla="*/ 108650 w 1613651"/>
                      <a:gd name="connsiteY36" fmla="*/ 550339 h 1522471"/>
                      <a:gd name="connsiteX37" fmla="*/ 0 w 1613651"/>
                      <a:gd name="connsiteY37" fmla="*/ 381622 h 1522471"/>
                      <a:gd name="connsiteX38" fmla="*/ 0 w 1613651"/>
                      <a:gd name="connsiteY38" fmla="*/ 365554 h 1522471"/>
                      <a:gd name="connsiteX39" fmla="*/ 100602 w 1613651"/>
                      <a:gd name="connsiteY39" fmla="*/ 245041 h 1522471"/>
                      <a:gd name="connsiteX40" fmla="*/ 112674 w 1613651"/>
                      <a:gd name="connsiteY40" fmla="*/ 245041 h 1522471"/>
                      <a:gd name="connsiteX41" fmla="*/ 297781 w 1613651"/>
                      <a:gd name="connsiteY41" fmla="*/ 329400 h 1522471"/>
                      <a:gd name="connsiteX42" fmla="*/ 358142 w 1613651"/>
                      <a:gd name="connsiteY42" fmla="*/ 289229 h 1522471"/>
                      <a:gd name="connsiteX43" fmla="*/ 346070 w 1613651"/>
                      <a:gd name="connsiteY43" fmla="*/ 84358 h 1522471"/>
                      <a:gd name="connsiteX44" fmla="*/ 350094 w 1613651"/>
                      <a:gd name="connsiteY44" fmla="*/ 80341 h 1522471"/>
                      <a:gd name="connsiteX45" fmla="*/ 503008 w 1613651"/>
                      <a:gd name="connsiteY45" fmla="*/ 24102 h 1522471"/>
                      <a:gd name="connsiteX46" fmla="*/ 515081 w 1613651"/>
                      <a:gd name="connsiteY46" fmla="*/ 28119 h 1522471"/>
                      <a:gd name="connsiteX47" fmla="*/ 627755 w 1613651"/>
                      <a:gd name="connsiteY47" fmla="*/ 196836 h 1522471"/>
                      <a:gd name="connsiteX48" fmla="*/ 704212 w 1613651"/>
                      <a:gd name="connsiteY48" fmla="*/ 188802 h 1522471"/>
                      <a:gd name="connsiteX49" fmla="*/ 796765 w 1613651"/>
                      <a:gd name="connsiteY49" fmla="*/ 4017 h 1522471"/>
                      <a:gd name="connsiteX50" fmla="*/ 804814 w 1613651"/>
                      <a:gd name="connsiteY50" fmla="*/ 0 h 1522471"/>
                      <a:gd name="connsiteX0" fmla="*/ 804814 w 1613651"/>
                      <a:gd name="connsiteY0" fmla="*/ 0 h 1522471"/>
                      <a:gd name="connsiteX1" fmla="*/ 965776 w 1613651"/>
                      <a:gd name="connsiteY1" fmla="*/ 28119 h 1522471"/>
                      <a:gd name="connsiteX2" fmla="*/ 973824 w 1613651"/>
                      <a:gd name="connsiteY2" fmla="*/ 40171 h 1522471"/>
                      <a:gd name="connsiteX3" fmla="*/ 993945 w 1613651"/>
                      <a:gd name="connsiteY3" fmla="*/ 241024 h 1522471"/>
                      <a:gd name="connsiteX4" fmla="*/ 1058330 w 1613651"/>
                      <a:gd name="connsiteY4" fmla="*/ 277178 h 1522471"/>
                      <a:gd name="connsiteX5" fmla="*/ 1231365 w 1613651"/>
                      <a:gd name="connsiteY5" fmla="*/ 160683 h 1522471"/>
                      <a:gd name="connsiteX6" fmla="*/ 1243437 w 1613651"/>
                      <a:gd name="connsiteY6" fmla="*/ 160683 h 1522471"/>
                      <a:gd name="connsiteX7" fmla="*/ 1364159 w 1613651"/>
                      <a:gd name="connsiteY7" fmla="*/ 265127 h 1522471"/>
                      <a:gd name="connsiteX8" fmla="*/ 1364159 w 1613651"/>
                      <a:gd name="connsiteY8" fmla="*/ 277178 h 1522471"/>
                      <a:gd name="connsiteX9" fmla="*/ 1279654 w 1613651"/>
                      <a:gd name="connsiteY9" fmla="*/ 461963 h 1522471"/>
                      <a:gd name="connsiteX10" fmla="*/ 1319894 w 1613651"/>
                      <a:gd name="connsiteY10" fmla="*/ 522220 h 1522471"/>
                      <a:gd name="connsiteX11" fmla="*/ 1529146 w 1613651"/>
                      <a:gd name="connsiteY11" fmla="*/ 506151 h 1522471"/>
                      <a:gd name="connsiteX12" fmla="*/ 1533170 w 1613651"/>
                      <a:gd name="connsiteY12" fmla="*/ 518202 h 1522471"/>
                      <a:gd name="connsiteX13" fmla="*/ 1589507 w 1613651"/>
                      <a:gd name="connsiteY13" fmla="*/ 666834 h 1522471"/>
                      <a:gd name="connsiteX14" fmla="*/ 1581459 w 1613651"/>
                      <a:gd name="connsiteY14" fmla="*/ 678885 h 1522471"/>
                      <a:gd name="connsiteX15" fmla="*/ 1416472 w 1613651"/>
                      <a:gd name="connsiteY15" fmla="*/ 791363 h 1522471"/>
                      <a:gd name="connsiteX16" fmla="*/ 1420496 w 1613651"/>
                      <a:gd name="connsiteY16" fmla="*/ 867688 h 1522471"/>
                      <a:gd name="connsiteX17" fmla="*/ 1609627 w 1613651"/>
                      <a:gd name="connsiteY17" fmla="*/ 960081 h 1522471"/>
                      <a:gd name="connsiteX18" fmla="*/ 1613651 w 1613651"/>
                      <a:gd name="connsiteY18" fmla="*/ 968115 h 1522471"/>
                      <a:gd name="connsiteX19" fmla="*/ 1581459 w 1613651"/>
                      <a:gd name="connsiteY19" fmla="*/ 1124781 h 1522471"/>
                      <a:gd name="connsiteX20" fmla="*/ 1573411 w 1613651"/>
                      <a:gd name="connsiteY20" fmla="*/ 1132815 h 1522471"/>
                      <a:gd name="connsiteX21" fmla="*/ 1372207 w 1613651"/>
                      <a:gd name="connsiteY21" fmla="*/ 1148883 h 1522471"/>
                      <a:gd name="connsiteX22" fmla="*/ 1335991 w 1613651"/>
                      <a:gd name="connsiteY22" fmla="*/ 1221190 h 1522471"/>
                      <a:gd name="connsiteX23" fmla="*/ 1452688 w 1613651"/>
                      <a:gd name="connsiteY23" fmla="*/ 1389907 h 1522471"/>
                      <a:gd name="connsiteX24" fmla="*/ 1452688 w 1613651"/>
                      <a:gd name="connsiteY24" fmla="*/ 1401959 h 1522471"/>
                      <a:gd name="connsiteX25" fmla="*/ 1344039 w 1613651"/>
                      <a:gd name="connsiteY25" fmla="*/ 1522471 h 1522471"/>
                      <a:gd name="connsiteX26" fmla="*/ 1335991 w 1613651"/>
                      <a:gd name="connsiteY26" fmla="*/ 1522471 h 1522471"/>
                      <a:gd name="connsiteX27" fmla="*/ 1150883 w 1613651"/>
                      <a:gd name="connsiteY27" fmla="*/ 1434095 h 1522471"/>
                      <a:gd name="connsiteX28" fmla="*/ 1128315 w 1613651"/>
                      <a:gd name="connsiteY28" fmla="*/ 1438774 h 1522471"/>
                      <a:gd name="connsiteX29" fmla="*/ 1113073 w 1613651"/>
                      <a:gd name="connsiteY29" fmla="*/ 1366790 h 1522471"/>
                      <a:gd name="connsiteX30" fmla="*/ 1161524 w 1613651"/>
                      <a:gd name="connsiteY30" fmla="*/ 1327023 h 1522471"/>
                      <a:gd name="connsiteX31" fmla="*/ 1345313 w 1613651"/>
                      <a:gd name="connsiteY31" fmla="*/ 885625 h 1522471"/>
                      <a:gd name="connsiteX32" fmla="*/ 717818 w 1613651"/>
                      <a:gd name="connsiteY32" fmla="*/ 261395 h 1522471"/>
                      <a:gd name="connsiteX33" fmla="*/ 197489 w 1613651"/>
                      <a:gd name="connsiteY33" fmla="*/ 536612 h 1522471"/>
                      <a:gd name="connsiteX34" fmla="*/ 163371 w 1613651"/>
                      <a:gd name="connsiteY34" fmla="*/ 592325 h 1522471"/>
                      <a:gd name="connsiteX35" fmla="*/ 94809 w 1613651"/>
                      <a:gd name="connsiteY35" fmla="*/ 583894 h 1522471"/>
                      <a:gd name="connsiteX36" fmla="*/ 108650 w 1613651"/>
                      <a:gd name="connsiteY36" fmla="*/ 550339 h 1522471"/>
                      <a:gd name="connsiteX37" fmla="*/ 1717 w 1613651"/>
                      <a:gd name="connsiteY37" fmla="*/ 385478 h 1522471"/>
                      <a:gd name="connsiteX38" fmla="*/ 0 w 1613651"/>
                      <a:gd name="connsiteY38" fmla="*/ 365554 h 1522471"/>
                      <a:gd name="connsiteX39" fmla="*/ 100602 w 1613651"/>
                      <a:gd name="connsiteY39" fmla="*/ 245041 h 1522471"/>
                      <a:gd name="connsiteX40" fmla="*/ 112674 w 1613651"/>
                      <a:gd name="connsiteY40" fmla="*/ 245041 h 1522471"/>
                      <a:gd name="connsiteX41" fmla="*/ 297781 w 1613651"/>
                      <a:gd name="connsiteY41" fmla="*/ 329400 h 1522471"/>
                      <a:gd name="connsiteX42" fmla="*/ 358142 w 1613651"/>
                      <a:gd name="connsiteY42" fmla="*/ 289229 h 1522471"/>
                      <a:gd name="connsiteX43" fmla="*/ 346070 w 1613651"/>
                      <a:gd name="connsiteY43" fmla="*/ 84358 h 1522471"/>
                      <a:gd name="connsiteX44" fmla="*/ 350094 w 1613651"/>
                      <a:gd name="connsiteY44" fmla="*/ 80341 h 1522471"/>
                      <a:gd name="connsiteX45" fmla="*/ 503008 w 1613651"/>
                      <a:gd name="connsiteY45" fmla="*/ 24102 h 1522471"/>
                      <a:gd name="connsiteX46" fmla="*/ 515081 w 1613651"/>
                      <a:gd name="connsiteY46" fmla="*/ 28119 h 1522471"/>
                      <a:gd name="connsiteX47" fmla="*/ 627755 w 1613651"/>
                      <a:gd name="connsiteY47" fmla="*/ 196836 h 1522471"/>
                      <a:gd name="connsiteX48" fmla="*/ 704212 w 1613651"/>
                      <a:gd name="connsiteY48" fmla="*/ 188802 h 1522471"/>
                      <a:gd name="connsiteX49" fmla="*/ 796765 w 1613651"/>
                      <a:gd name="connsiteY49" fmla="*/ 4017 h 1522471"/>
                      <a:gd name="connsiteX50" fmla="*/ 804814 w 1613651"/>
                      <a:gd name="connsiteY50" fmla="*/ 0 h 1522471"/>
                      <a:gd name="connsiteX0" fmla="*/ 806636 w 1615473"/>
                      <a:gd name="connsiteY0" fmla="*/ 0 h 1522471"/>
                      <a:gd name="connsiteX1" fmla="*/ 967598 w 1615473"/>
                      <a:gd name="connsiteY1" fmla="*/ 28119 h 1522471"/>
                      <a:gd name="connsiteX2" fmla="*/ 975646 w 1615473"/>
                      <a:gd name="connsiteY2" fmla="*/ 40171 h 1522471"/>
                      <a:gd name="connsiteX3" fmla="*/ 995767 w 1615473"/>
                      <a:gd name="connsiteY3" fmla="*/ 241024 h 1522471"/>
                      <a:gd name="connsiteX4" fmla="*/ 1060152 w 1615473"/>
                      <a:gd name="connsiteY4" fmla="*/ 277178 h 1522471"/>
                      <a:gd name="connsiteX5" fmla="*/ 1233187 w 1615473"/>
                      <a:gd name="connsiteY5" fmla="*/ 160683 h 1522471"/>
                      <a:gd name="connsiteX6" fmla="*/ 1245259 w 1615473"/>
                      <a:gd name="connsiteY6" fmla="*/ 160683 h 1522471"/>
                      <a:gd name="connsiteX7" fmla="*/ 1365981 w 1615473"/>
                      <a:gd name="connsiteY7" fmla="*/ 265127 h 1522471"/>
                      <a:gd name="connsiteX8" fmla="*/ 1365981 w 1615473"/>
                      <a:gd name="connsiteY8" fmla="*/ 277178 h 1522471"/>
                      <a:gd name="connsiteX9" fmla="*/ 1281476 w 1615473"/>
                      <a:gd name="connsiteY9" fmla="*/ 461963 h 1522471"/>
                      <a:gd name="connsiteX10" fmla="*/ 1321716 w 1615473"/>
                      <a:gd name="connsiteY10" fmla="*/ 522220 h 1522471"/>
                      <a:gd name="connsiteX11" fmla="*/ 1530968 w 1615473"/>
                      <a:gd name="connsiteY11" fmla="*/ 506151 h 1522471"/>
                      <a:gd name="connsiteX12" fmla="*/ 1534992 w 1615473"/>
                      <a:gd name="connsiteY12" fmla="*/ 518202 h 1522471"/>
                      <a:gd name="connsiteX13" fmla="*/ 1591329 w 1615473"/>
                      <a:gd name="connsiteY13" fmla="*/ 666834 h 1522471"/>
                      <a:gd name="connsiteX14" fmla="*/ 1583281 w 1615473"/>
                      <a:gd name="connsiteY14" fmla="*/ 678885 h 1522471"/>
                      <a:gd name="connsiteX15" fmla="*/ 1418294 w 1615473"/>
                      <a:gd name="connsiteY15" fmla="*/ 791363 h 1522471"/>
                      <a:gd name="connsiteX16" fmla="*/ 1422318 w 1615473"/>
                      <a:gd name="connsiteY16" fmla="*/ 867688 h 1522471"/>
                      <a:gd name="connsiteX17" fmla="*/ 1611449 w 1615473"/>
                      <a:gd name="connsiteY17" fmla="*/ 960081 h 1522471"/>
                      <a:gd name="connsiteX18" fmla="*/ 1615473 w 1615473"/>
                      <a:gd name="connsiteY18" fmla="*/ 968115 h 1522471"/>
                      <a:gd name="connsiteX19" fmla="*/ 1583281 w 1615473"/>
                      <a:gd name="connsiteY19" fmla="*/ 1124781 h 1522471"/>
                      <a:gd name="connsiteX20" fmla="*/ 1575233 w 1615473"/>
                      <a:gd name="connsiteY20" fmla="*/ 1132815 h 1522471"/>
                      <a:gd name="connsiteX21" fmla="*/ 1374029 w 1615473"/>
                      <a:gd name="connsiteY21" fmla="*/ 1148883 h 1522471"/>
                      <a:gd name="connsiteX22" fmla="*/ 1337813 w 1615473"/>
                      <a:gd name="connsiteY22" fmla="*/ 1221190 h 1522471"/>
                      <a:gd name="connsiteX23" fmla="*/ 1454510 w 1615473"/>
                      <a:gd name="connsiteY23" fmla="*/ 1389907 h 1522471"/>
                      <a:gd name="connsiteX24" fmla="*/ 1454510 w 1615473"/>
                      <a:gd name="connsiteY24" fmla="*/ 1401959 h 1522471"/>
                      <a:gd name="connsiteX25" fmla="*/ 1345861 w 1615473"/>
                      <a:gd name="connsiteY25" fmla="*/ 1522471 h 1522471"/>
                      <a:gd name="connsiteX26" fmla="*/ 1337813 w 1615473"/>
                      <a:gd name="connsiteY26" fmla="*/ 1522471 h 1522471"/>
                      <a:gd name="connsiteX27" fmla="*/ 1152705 w 1615473"/>
                      <a:gd name="connsiteY27" fmla="*/ 1434095 h 1522471"/>
                      <a:gd name="connsiteX28" fmla="*/ 1130137 w 1615473"/>
                      <a:gd name="connsiteY28" fmla="*/ 1438774 h 1522471"/>
                      <a:gd name="connsiteX29" fmla="*/ 1114895 w 1615473"/>
                      <a:gd name="connsiteY29" fmla="*/ 1366790 h 1522471"/>
                      <a:gd name="connsiteX30" fmla="*/ 1163346 w 1615473"/>
                      <a:gd name="connsiteY30" fmla="*/ 1327023 h 1522471"/>
                      <a:gd name="connsiteX31" fmla="*/ 1347135 w 1615473"/>
                      <a:gd name="connsiteY31" fmla="*/ 885625 h 1522471"/>
                      <a:gd name="connsiteX32" fmla="*/ 719640 w 1615473"/>
                      <a:gd name="connsiteY32" fmla="*/ 261395 h 1522471"/>
                      <a:gd name="connsiteX33" fmla="*/ 199311 w 1615473"/>
                      <a:gd name="connsiteY33" fmla="*/ 536612 h 1522471"/>
                      <a:gd name="connsiteX34" fmla="*/ 165193 w 1615473"/>
                      <a:gd name="connsiteY34" fmla="*/ 592325 h 1522471"/>
                      <a:gd name="connsiteX35" fmla="*/ 96631 w 1615473"/>
                      <a:gd name="connsiteY35" fmla="*/ 583894 h 1522471"/>
                      <a:gd name="connsiteX36" fmla="*/ 110472 w 1615473"/>
                      <a:gd name="connsiteY36" fmla="*/ 550339 h 1522471"/>
                      <a:gd name="connsiteX37" fmla="*/ 3539 w 1615473"/>
                      <a:gd name="connsiteY37" fmla="*/ 385478 h 1522471"/>
                      <a:gd name="connsiteX38" fmla="*/ 1822 w 1615473"/>
                      <a:gd name="connsiteY38" fmla="*/ 365554 h 1522471"/>
                      <a:gd name="connsiteX39" fmla="*/ 102424 w 1615473"/>
                      <a:gd name="connsiteY39" fmla="*/ 245041 h 1522471"/>
                      <a:gd name="connsiteX40" fmla="*/ 114496 w 1615473"/>
                      <a:gd name="connsiteY40" fmla="*/ 245041 h 1522471"/>
                      <a:gd name="connsiteX41" fmla="*/ 299603 w 1615473"/>
                      <a:gd name="connsiteY41" fmla="*/ 329400 h 1522471"/>
                      <a:gd name="connsiteX42" fmla="*/ 359964 w 1615473"/>
                      <a:gd name="connsiteY42" fmla="*/ 289229 h 1522471"/>
                      <a:gd name="connsiteX43" fmla="*/ 347892 w 1615473"/>
                      <a:gd name="connsiteY43" fmla="*/ 84358 h 1522471"/>
                      <a:gd name="connsiteX44" fmla="*/ 351916 w 1615473"/>
                      <a:gd name="connsiteY44" fmla="*/ 80341 h 1522471"/>
                      <a:gd name="connsiteX45" fmla="*/ 504830 w 1615473"/>
                      <a:gd name="connsiteY45" fmla="*/ 24102 h 1522471"/>
                      <a:gd name="connsiteX46" fmla="*/ 516903 w 1615473"/>
                      <a:gd name="connsiteY46" fmla="*/ 28119 h 1522471"/>
                      <a:gd name="connsiteX47" fmla="*/ 629577 w 1615473"/>
                      <a:gd name="connsiteY47" fmla="*/ 196836 h 1522471"/>
                      <a:gd name="connsiteX48" fmla="*/ 706034 w 1615473"/>
                      <a:gd name="connsiteY48" fmla="*/ 188802 h 1522471"/>
                      <a:gd name="connsiteX49" fmla="*/ 798587 w 1615473"/>
                      <a:gd name="connsiteY49" fmla="*/ 4017 h 1522471"/>
                      <a:gd name="connsiteX50" fmla="*/ 806636 w 1615473"/>
                      <a:gd name="connsiteY50" fmla="*/ 0 h 1522471"/>
                      <a:gd name="connsiteX0" fmla="*/ 807643 w 1616480"/>
                      <a:gd name="connsiteY0" fmla="*/ 0 h 1522471"/>
                      <a:gd name="connsiteX1" fmla="*/ 968605 w 1616480"/>
                      <a:gd name="connsiteY1" fmla="*/ 28119 h 1522471"/>
                      <a:gd name="connsiteX2" fmla="*/ 976653 w 1616480"/>
                      <a:gd name="connsiteY2" fmla="*/ 40171 h 1522471"/>
                      <a:gd name="connsiteX3" fmla="*/ 996774 w 1616480"/>
                      <a:gd name="connsiteY3" fmla="*/ 241024 h 1522471"/>
                      <a:gd name="connsiteX4" fmla="*/ 1061159 w 1616480"/>
                      <a:gd name="connsiteY4" fmla="*/ 277178 h 1522471"/>
                      <a:gd name="connsiteX5" fmla="*/ 1234194 w 1616480"/>
                      <a:gd name="connsiteY5" fmla="*/ 160683 h 1522471"/>
                      <a:gd name="connsiteX6" fmla="*/ 1246266 w 1616480"/>
                      <a:gd name="connsiteY6" fmla="*/ 160683 h 1522471"/>
                      <a:gd name="connsiteX7" fmla="*/ 1366988 w 1616480"/>
                      <a:gd name="connsiteY7" fmla="*/ 265127 h 1522471"/>
                      <a:gd name="connsiteX8" fmla="*/ 1366988 w 1616480"/>
                      <a:gd name="connsiteY8" fmla="*/ 277178 h 1522471"/>
                      <a:gd name="connsiteX9" fmla="*/ 1282483 w 1616480"/>
                      <a:gd name="connsiteY9" fmla="*/ 461963 h 1522471"/>
                      <a:gd name="connsiteX10" fmla="*/ 1322723 w 1616480"/>
                      <a:gd name="connsiteY10" fmla="*/ 522220 h 1522471"/>
                      <a:gd name="connsiteX11" fmla="*/ 1531975 w 1616480"/>
                      <a:gd name="connsiteY11" fmla="*/ 506151 h 1522471"/>
                      <a:gd name="connsiteX12" fmla="*/ 1535999 w 1616480"/>
                      <a:gd name="connsiteY12" fmla="*/ 518202 h 1522471"/>
                      <a:gd name="connsiteX13" fmla="*/ 1592336 w 1616480"/>
                      <a:gd name="connsiteY13" fmla="*/ 666834 h 1522471"/>
                      <a:gd name="connsiteX14" fmla="*/ 1584288 w 1616480"/>
                      <a:gd name="connsiteY14" fmla="*/ 678885 h 1522471"/>
                      <a:gd name="connsiteX15" fmla="*/ 1419301 w 1616480"/>
                      <a:gd name="connsiteY15" fmla="*/ 791363 h 1522471"/>
                      <a:gd name="connsiteX16" fmla="*/ 1423325 w 1616480"/>
                      <a:gd name="connsiteY16" fmla="*/ 867688 h 1522471"/>
                      <a:gd name="connsiteX17" fmla="*/ 1612456 w 1616480"/>
                      <a:gd name="connsiteY17" fmla="*/ 960081 h 1522471"/>
                      <a:gd name="connsiteX18" fmla="*/ 1616480 w 1616480"/>
                      <a:gd name="connsiteY18" fmla="*/ 968115 h 1522471"/>
                      <a:gd name="connsiteX19" fmla="*/ 1584288 w 1616480"/>
                      <a:gd name="connsiteY19" fmla="*/ 1124781 h 1522471"/>
                      <a:gd name="connsiteX20" fmla="*/ 1576240 w 1616480"/>
                      <a:gd name="connsiteY20" fmla="*/ 1132815 h 1522471"/>
                      <a:gd name="connsiteX21" fmla="*/ 1375036 w 1616480"/>
                      <a:gd name="connsiteY21" fmla="*/ 1148883 h 1522471"/>
                      <a:gd name="connsiteX22" fmla="*/ 1338820 w 1616480"/>
                      <a:gd name="connsiteY22" fmla="*/ 1221190 h 1522471"/>
                      <a:gd name="connsiteX23" fmla="*/ 1455517 w 1616480"/>
                      <a:gd name="connsiteY23" fmla="*/ 1389907 h 1522471"/>
                      <a:gd name="connsiteX24" fmla="*/ 1455517 w 1616480"/>
                      <a:gd name="connsiteY24" fmla="*/ 1401959 h 1522471"/>
                      <a:gd name="connsiteX25" fmla="*/ 1346868 w 1616480"/>
                      <a:gd name="connsiteY25" fmla="*/ 1522471 h 1522471"/>
                      <a:gd name="connsiteX26" fmla="*/ 1338820 w 1616480"/>
                      <a:gd name="connsiteY26" fmla="*/ 1522471 h 1522471"/>
                      <a:gd name="connsiteX27" fmla="*/ 1153712 w 1616480"/>
                      <a:gd name="connsiteY27" fmla="*/ 1434095 h 1522471"/>
                      <a:gd name="connsiteX28" fmla="*/ 1131144 w 1616480"/>
                      <a:gd name="connsiteY28" fmla="*/ 1438774 h 1522471"/>
                      <a:gd name="connsiteX29" fmla="*/ 1115902 w 1616480"/>
                      <a:gd name="connsiteY29" fmla="*/ 1366790 h 1522471"/>
                      <a:gd name="connsiteX30" fmla="*/ 1164353 w 1616480"/>
                      <a:gd name="connsiteY30" fmla="*/ 1327023 h 1522471"/>
                      <a:gd name="connsiteX31" fmla="*/ 1348142 w 1616480"/>
                      <a:gd name="connsiteY31" fmla="*/ 885625 h 1522471"/>
                      <a:gd name="connsiteX32" fmla="*/ 720647 w 1616480"/>
                      <a:gd name="connsiteY32" fmla="*/ 261395 h 1522471"/>
                      <a:gd name="connsiteX33" fmla="*/ 200318 w 1616480"/>
                      <a:gd name="connsiteY33" fmla="*/ 536612 h 1522471"/>
                      <a:gd name="connsiteX34" fmla="*/ 166200 w 1616480"/>
                      <a:gd name="connsiteY34" fmla="*/ 592325 h 1522471"/>
                      <a:gd name="connsiteX35" fmla="*/ 97638 w 1616480"/>
                      <a:gd name="connsiteY35" fmla="*/ 583894 h 1522471"/>
                      <a:gd name="connsiteX36" fmla="*/ 111479 w 1616480"/>
                      <a:gd name="connsiteY36" fmla="*/ 550339 h 1522471"/>
                      <a:gd name="connsiteX37" fmla="*/ 4546 w 1616480"/>
                      <a:gd name="connsiteY37" fmla="*/ 385478 h 1522471"/>
                      <a:gd name="connsiteX38" fmla="*/ 2829 w 1616480"/>
                      <a:gd name="connsiteY38" fmla="*/ 365554 h 1522471"/>
                      <a:gd name="connsiteX39" fmla="*/ 103431 w 1616480"/>
                      <a:gd name="connsiteY39" fmla="*/ 245041 h 1522471"/>
                      <a:gd name="connsiteX40" fmla="*/ 115503 w 1616480"/>
                      <a:gd name="connsiteY40" fmla="*/ 245041 h 1522471"/>
                      <a:gd name="connsiteX41" fmla="*/ 300610 w 1616480"/>
                      <a:gd name="connsiteY41" fmla="*/ 329400 h 1522471"/>
                      <a:gd name="connsiteX42" fmla="*/ 360971 w 1616480"/>
                      <a:gd name="connsiteY42" fmla="*/ 289229 h 1522471"/>
                      <a:gd name="connsiteX43" fmla="*/ 348899 w 1616480"/>
                      <a:gd name="connsiteY43" fmla="*/ 84358 h 1522471"/>
                      <a:gd name="connsiteX44" fmla="*/ 352923 w 1616480"/>
                      <a:gd name="connsiteY44" fmla="*/ 80341 h 1522471"/>
                      <a:gd name="connsiteX45" fmla="*/ 505837 w 1616480"/>
                      <a:gd name="connsiteY45" fmla="*/ 24102 h 1522471"/>
                      <a:gd name="connsiteX46" fmla="*/ 517910 w 1616480"/>
                      <a:gd name="connsiteY46" fmla="*/ 28119 h 1522471"/>
                      <a:gd name="connsiteX47" fmla="*/ 630584 w 1616480"/>
                      <a:gd name="connsiteY47" fmla="*/ 196836 h 1522471"/>
                      <a:gd name="connsiteX48" fmla="*/ 707041 w 1616480"/>
                      <a:gd name="connsiteY48" fmla="*/ 188802 h 1522471"/>
                      <a:gd name="connsiteX49" fmla="*/ 799594 w 1616480"/>
                      <a:gd name="connsiteY49" fmla="*/ 4017 h 1522471"/>
                      <a:gd name="connsiteX50" fmla="*/ 807643 w 1616480"/>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4854 w 1615831"/>
                      <a:gd name="connsiteY40" fmla="*/ 245041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2782 w 1615831"/>
                      <a:gd name="connsiteY39" fmla="*/ 245041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1551 w 1615831"/>
                      <a:gd name="connsiteY39" fmla="*/ 246167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1551 w 1615831"/>
                      <a:gd name="connsiteY39" fmla="*/ 246167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6994 w 1615831"/>
                      <a:gd name="connsiteY0" fmla="*/ 0 h 1522471"/>
                      <a:gd name="connsiteX1" fmla="*/ 967956 w 1615831"/>
                      <a:gd name="connsiteY1" fmla="*/ 28119 h 1522471"/>
                      <a:gd name="connsiteX2" fmla="*/ 976004 w 1615831"/>
                      <a:gd name="connsiteY2" fmla="*/ 40171 h 1522471"/>
                      <a:gd name="connsiteX3" fmla="*/ 996125 w 1615831"/>
                      <a:gd name="connsiteY3" fmla="*/ 241024 h 1522471"/>
                      <a:gd name="connsiteX4" fmla="*/ 1060510 w 1615831"/>
                      <a:gd name="connsiteY4" fmla="*/ 277178 h 1522471"/>
                      <a:gd name="connsiteX5" fmla="*/ 1233545 w 1615831"/>
                      <a:gd name="connsiteY5" fmla="*/ 160683 h 1522471"/>
                      <a:gd name="connsiteX6" fmla="*/ 1245617 w 1615831"/>
                      <a:gd name="connsiteY6" fmla="*/ 160683 h 1522471"/>
                      <a:gd name="connsiteX7" fmla="*/ 1366339 w 1615831"/>
                      <a:gd name="connsiteY7" fmla="*/ 265127 h 1522471"/>
                      <a:gd name="connsiteX8" fmla="*/ 1366339 w 1615831"/>
                      <a:gd name="connsiteY8" fmla="*/ 277178 h 1522471"/>
                      <a:gd name="connsiteX9" fmla="*/ 1281834 w 1615831"/>
                      <a:gd name="connsiteY9" fmla="*/ 461963 h 1522471"/>
                      <a:gd name="connsiteX10" fmla="*/ 1322074 w 1615831"/>
                      <a:gd name="connsiteY10" fmla="*/ 522220 h 1522471"/>
                      <a:gd name="connsiteX11" fmla="*/ 1531326 w 1615831"/>
                      <a:gd name="connsiteY11" fmla="*/ 506151 h 1522471"/>
                      <a:gd name="connsiteX12" fmla="*/ 1535350 w 1615831"/>
                      <a:gd name="connsiteY12" fmla="*/ 518202 h 1522471"/>
                      <a:gd name="connsiteX13" fmla="*/ 1591687 w 1615831"/>
                      <a:gd name="connsiteY13" fmla="*/ 666834 h 1522471"/>
                      <a:gd name="connsiteX14" fmla="*/ 1583639 w 1615831"/>
                      <a:gd name="connsiteY14" fmla="*/ 678885 h 1522471"/>
                      <a:gd name="connsiteX15" fmla="*/ 1418652 w 1615831"/>
                      <a:gd name="connsiteY15" fmla="*/ 791363 h 1522471"/>
                      <a:gd name="connsiteX16" fmla="*/ 1422676 w 1615831"/>
                      <a:gd name="connsiteY16" fmla="*/ 867688 h 1522471"/>
                      <a:gd name="connsiteX17" fmla="*/ 1611807 w 1615831"/>
                      <a:gd name="connsiteY17" fmla="*/ 960081 h 1522471"/>
                      <a:gd name="connsiteX18" fmla="*/ 1615831 w 1615831"/>
                      <a:gd name="connsiteY18" fmla="*/ 968115 h 1522471"/>
                      <a:gd name="connsiteX19" fmla="*/ 1583639 w 1615831"/>
                      <a:gd name="connsiteY19" fmla="*/ 1124781 h 1522471"/>
                      <a:gd name="connsiteX20" fmla="*/ 1575591 w 1615831"/>
                      <a:gd name="connsiteY20" fmla="*/ 1132815 h 1522471"/>
                      <a:gd name="connsiteX21" fmla="*/ 1374387 w 1615831"/>
                      <a:gd name="connsiteY21" fmla="*/ 1148883 h 1522471"/>
                      <a:gd name="connsiteX22" fmla="*/ 1338171 w 1615831"/>
                      <a:gd name="connsiteY22" fmla="*/ 1221190 h 1522471"/>
                      <a:gd name="connsiteX23" fmla="*/ 1454868 w 1615831"/>
                      <a:gd name="connsiteY23" fmla="*/ 1389907 h 1522471"/>
                      <a:gd name="connsiteX24" fmla="*/ 1454868 w 1615831"/>
                      <a:gd name="connsiteY24" fmla="*/ 1401959 h 1522471"/>
                      <a:gd name="connsiteX25" fmla="*/ 1346219 w 1615831"/>
                      <a:gd name="connsiteY25" fmla="*/ 1522471 h 1522471"/>
                      <a:gd name="connsiteX26" fmla="*/ 1338171 w 1615831"/>
                      <a:gd name="connsiteY26" fmla="*/ 1522471 h 1522471"/>
                      <a:gd name="connsiteX27" fmla="*/ 1153063 w 1615831"/>
                      <a:gd name="connsiteY27" fmla="*/ 1434095 h 1522471"/>
                      <a:gd name="connsiteX28" fmla="*/ 1130495 w 1615831"/>
                      <a:gd name="connsiteY28" fmla="*/ 1438774 h 1522471"/>
                      <a:gd name="connsiteX29" fmla="*/ 1115253 w 1615831"/>
                      <a:gd name="connsiteY29" fmla="*/ 1366790 h 1522471"/>
                      <a:gd name="connsiteX30" fmla="*/ 1163704 w 1615831"/>
                      <a:gd name="connsiteY30" fmla="*/ 1327023 h 1522471"/>
                      <a:gd name="connsiteX31" fmla="*/ 1347493 w 1615831"/>
                      <a:gd name="connsiteY31" fmla="*/ 885625 h 1522471"/>
                      <a:gd name="connsiteX32" fmla="*/ 719998 w 1615831"/>
                      <a:gd name="connsiteY32" fmla="*/ 261395 h 1522471"/>
                      <a:gd name="connsiteX33" fmla="*/ 199669 w 1615831"/>
                      <a:gd name="connsiteY33" fmla="*/ 536612 h 1522471"/>
                      <a:gd name="connsiteX34" fmla="*/ 165551 w 1615831"/>
                      <a:gd name="connsiteY34" fmla="*/ 592325 h 1522471"/>
                      <a:gd name="connsiteX35" fmla="*/ 96989 w 1615831"/>
                      <a:gd name="connsiteY35" fmla="*/ 583894 h 1522471"/>
                      <a:gd name="connsiteX36" fmla="*/ 110830 w 1615831"/>
                      <a:gd name="connsiteY36" fmla="*/ 550339 h 1522471"/>
                      <a:gd name="connsiteX37" fmla="*/ 3897 w 1615831"/>
                      <a:gd name="connsiteY37" fmla="*/ 385478 h 1522471"/>
                      <a:gd name="connsiteX38" fmla="*/ 2180 w 1615831"/>
                      <a:gd name="connsiteY38" fmla="*/ 365554 h 1522471"/>
                      <a:gd name="connsiteX39" fmla="*/ 101551 w 1615831"/>
                      <a:gd name="connsiteY39" fmla="*/ 246167 h 1522471"/>
                      <a:gd name="connsiteX40" fmla="*/ 117640 w 1615831"/>
                      <a:gd name="connsiteY40" fmla="*/ 246110 h 1522471"/>
                      <a:gd name="connsiteX41" fmla="*/ 299961 w 1615831"/>
                      <a:gd name="connsiteY41" fmla="*/ 329400 h 1522471"/>
                      <a:gd name="connsiteX42" fmla="*/ 360322 w 1615831"/>
                      <a:gd name="connsiteY42" fmla="*/ 289229 h 1522471"/>
                      <a:gd name="connsiteX43" fmla="*/ 348250 w 1615831"/>
                      <a:gd name="connsiteY43" fmla="*/ 84358 h 1522471"/>
                      <a:gd name="connsiteX44" fmla="*/ 352274 w 1615831"/>
                      <a:gd name="connsiteY44" fmla="*/ 80341 h 1522471"/>
                      <a:gd name="connsiteX45" fmla="*/ 505188 w 1615831"/>
                      <a:gd name="connsiteY45" fmla="*/ 24102 h 1522471"/>
                      <a:gd name="connsiteX46" fmla="*/ 517261 w 1615831"/>
                      <a:gd name="connsiteY46" fmla="*/ 28119 h 1522471"/>
                      <a:gd name="connsiteX47" fmla="*/ 629935 w 1615831"/>
                      <a:gd name="connsiteY47" fmla="*/ 196836 h 1522471"/>
                      <a:gd name="connsiteX48" fmla="*/ 706392 w 1615831"/>
                      <a:gd name="connsiteY48" fmla="*/ 188802 h 1522471"/>
                      <a:gd name="connsiteX49" fmla="*/ 798945 w 1615831"/>
                      <a:gd name="connsiteY49" fmla="*/ 4017 h 1522471"/>
                      <a:gd name="connsiteX50" fmla="*/ 806994 w 1615831"/>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334 w 1615915"/>
                      <a:gd name="connsiteY43" fmla="*/ 84358 h 1522471"/>
                      <a:gd name="connsiteX44" fmla="*/ 352358 w 1615915"/>
                      <a:gd name="connsiteY44" fmla="*/ 80341 h 1522471"/>
                      <a:gd name="connsiteX45" fmla="*/ 505272 w 1615915"/>
                      <a:gd name="connsiteY45" fmla="*/ 24102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334 w 1615915"/>
                      <a:gd name="connsiteY43" fmla="*/ 84358 h 1522471"/>
                      <a:gd name="connsiteX44" fmla="*/ 352358 w 1615915"/>
                      <a:gd name="connsiteY44" fmla="*/ 80341 h 1522471"/>
                      <a:gd name="connsiteX45" fmla="*/ 505272 w 1615915"/>
                      <a:gd name="connsiteY45" fmla="*/ 24102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334 w 1615915"/>
                      <a:gd name="connsiteY43" fmla="*/ 84358 h 1522471"/>
                      <a:gd name="connsiteX44" fmla="*/ 352358 w 1615915"/>
                      <a:gd name="connsiteY44" fmla="*/ 80341 h 1522471"/>
                      <a:gd name="connsiteX45" fmla="*/ 505272 w 1615915"/>
                      <a:gd name="connsiteY45" fmla="*/ 24102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2358 w 1615915"/>
                      <a:gd name="connsiteY44" fmla="*/ 80341 h 1522471"/>
                      <a:gd name="connsiteX45" fmla="*/ 505272 w 1615915"/>
                      <a:gd name="connsiteY45" fmla="*/ 24102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6911 w 1615915"/>
                      <a:gd name="connsiteY44" fmla="*/ 78892 h 1522471"/>
                      <a:gd name="connsiteX45" fmla="*/ 505272 w 1615915"/>
                      <a:gd name="connsiteY45" fmla="*/ 24102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6911 w 1615915"/>
                      <a:gd name="connsiteY44" fmla="*/ 78892 h 1522471"/>
                      <a:gd name="connsiteX45" fmla="*/ 500934 w 1615915"/>
                      <a:gd name="connsiteY45" fmla="*/ 26033 h 1522471"/>
                      <a:gd name="connsiteX46" fmla="*/ 517345 w 1615915"/>
                      <a:gd name="connsiteY46" fmla="*/ 28119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714 w 1615915"/>
                      <a:gd name="connsiteY43" fmla="*/ 9169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7559 w 1615915"/>
                      <a:gd name="connsiteY46" fmla="*/ 28601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6088 w 1615915"/>
                      <a:gd name="connsiteY2" fmla="*/ 40171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8040 w 1615915"/>
                      <a:gd name="connsiteY1" fmla="*/ 28119 h 1522471"/>
                      <a:gd name="connsiteX2" fmla="*/ 977003 w 1615915"/>
                      <a:gd name="connsiteY2" fmla="*/ 46117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3593 w 1615915"/>
                      <a:gd name="connsiteY1" fmla="*/ 27211 h 1522471"/>
                      <a:gd name="connsiteX2" fmla="*/ 977003 w 1615915"/>
                      <a:gd name="connsiteY2" fmla="*/ 46117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9029 w 1615915"/>
                      <a:gd name="connsiteY49" fmla="*/ 4017 h 1522471"/>
                      <a:gd name="connsiteX50" fmla="*/ 807078 w 1615915"/>
                      <a:gd name="connsiteY50" fmla="*/ 0 h 1522471"/>
                      <a:gd name="connsiteX0" fmla="*/ 807078 w 1615915"/>
                      <a:gd name="connsiteY0" fmla="*/ 0 h 1522471"/>
                      <a:gd name="connsiteX1" fmla="*/ 963593 w 1615915"/>
                      <a:gd name="connsiteY1" fmla="*/ 27211 h 1522471"/>
                      <a:gd name="connsiteX2" fmla="*/ 977003 w 1615915"/>
                      <a:gd name="connsiteY2" fmla="*/ 46117 h 1522471"/>
                      <a:gd name="connsiteX3" fmla="*/ 996209 w 1615915"/>
                      <a:gd name="connsiteY3" fmla="*/ 241024 h 1522471"/>
                      <a:gd name="connsiteX4" fmla="*/ 1060594 w 1615915"/>
                      <a:gd name="connsiteY4" fmla="*/ 277178 h 1522471"/>
                      <a:gd name="connsiteX5" fmla="*/ 1233629 w 1615915"/>
                      <a:gd name="connsiteY5" fmla="*/ 160683 h 1522471"/>
                      <a:gd name="connsiteX6" fmla="*/ 1245701 w 1615915"/>
                      <a:gd name="connsiteY6" fmla="*/ 160683 h 1522471"/>
                      <a:gd name="connsiteX7" fmla="*/ 1366423 w 1615915"/>
                      <a:gd name="connsiteY7" fmla="*/ 265127 h 1522471"/>
                      <a:gd name="connsiteX8" fmla="*/ 1366423 w 1615915"/>
                      <a:gd name="connsiteY8" fmla="*/ 277178 h 1522471"/>
                      <a:gd name="connsiteX9" fmla="*/ 1281918 w 1615915"/>
                      <a:gd name="connsiteY9" fmla="*/ 461963 h 1522471"/>
                      <a:gd name="connsiteX10" fmla="*/ 1322158 w 1615915"/>
                      <a:gd name="connsiteY10" fmla="*/ 522220 h 1522471"/>
                      <a:gd name="connsiteX11" fmla="*/ 1531410 w 1615915"/>
                      <a:gd name="connsiteY11" fmla="*/ 506151 h 1522471"/>
                      <a:gd name="connsiteX12" fmla="*/ 1535434 w 1615915"/>
                      <a:gd name="connsiteY12" fmla="*/ 518202 h 1522471"/>
                      <a:gd name="connsiteX13" fmla="*/ 1591771 w 1615915"/>
                      <a:gd name="connsiteY13" fmla="*/ 666834 h 1522471"/>
                      <a:gd name="connsiteX14" fmla="*/ 1583723 w 1615915"/>
                      <a:gd name="connsiteY14" fmla="*/ 678885 h 1522471"/>
                      <a:gd name="connsiteX15" fmla="*/ 1418736 w 1615915"/>
                      <a:gd name="connsiteY15" fmla="*/ 791363 h 1522471"/>
                      <a:gd name="connsiteX16" fmla="*/ 1422760 w 1615915"/>
                      <a:gd name="connsiteY16" fmla="*/ 867688 h 1522471"/>
                      <a:gd name="connsiteX17" fmla="*/ 1611891 w 1615915"/>
                      <a:gd name="connsiteY17" fmla="*/ 960081 h 1522471"/>
                      <a:gd name="connsiteX18" fmla="*/ 1615915 w 1615915"/>
                      <a:gd name="connsiteY18" fmla="*/ 968115 h 1522471"/>
                      <a:gd name="connsiteX19" fmla="*/ 1583723 w 1615915"/>
                      <a:gd name="connsiteY19" fmla="*/ 1124781 h 1522471"/>
                      <a:gd name="connsiteX20" fmla="*/ 1575675 w 1615915"/>
                      <a:gd name="connsiteY20" fmla="*/ 1132815 h 1522471"/>
                      <a:gd name="connsiteX21" fmla="*/ 1374471 w 1615915"/>
                      <a:gd name="connsiteY21" fmla="*/ 1148883 h 1522471"/>
                      <a:gd name="connsiteX22" fmla="*/ 1338255 w 1615915"/>
                      <a:gd name="connsiteY22" fmla="*/ 1221190 h 1522471"/>
                      <a:gd name="connsiteX23" fmla="*/ 1454952 w 1615915"/>
                      <a:gd name="connsiteY23" fmla="*/ 1389907 h 1522471"/>
                      <a:gd name="connsiteX24" fmla="*/ 1454952 w 1615915"/>
                      <a:gd name="connsiteY24" fmla="*/ 1401959 h 1522471"/>
                      <a:gd name="connsiteX25" fmla="*/ 1346303 w 1615915"/>
                      <a:gd name="connsiteY25" fmla="*/ 1522471 h 1522471"/>
                      <a:gd name="connsiteX26" fmla="*/ 1338255 w 1615915"/>
                      <a:gd name="connsiteY26" fmla="*/ 1522471 h 1522471"/>
                      <a:gd name="connsiteX27" fmla="*/ 1153147 w 1615915"/>
                      <a:gd name="connsiteY27" fmla="*/ 1434095 h 1522471"/>
                      <a:gd name="connsiteX28" fmla="*/ 1130579 w 1615915"/>
                      <a:gd name="connsiteY28" fmla="*/ 1438774 h 1522471"/>
                      <a:gd name="connsiteX29" fmla="*/ 1115337 w 1615915"/>
                      <a:gd name="connsiteY29" fmla="*/ 1366790 h 1522471"/>
                      <a:gd name="connsiteX30" fmla="*/ 1163788 w 1615915"/>
                      <a:gd name="connsiteY30" fmla="*/ 1327023 h 1522471"/>
                      <a:gd name="connsiteX31" fmla="*/ 1347577 w 1615915"/>
                      <a:gd name="connsiteY31" fmla="*/ 885625 h 1522471"/>
                      <a:gd name="connsiteX32" fmla="*/ 720082 w 1615915"/>
                      <a:gd name="connsiteY32" fmla="*/ 261395 h 1522471"/>
                      <a:gd name="connsiteX33" fmla="*/ 199753 w 1615915"/>
                      <a:gd name="connsiteY33" fmla="*/ 536612 h 1522471"/>
                      <a:gd name="connsiteX34" fmla="*/ 165635 w 1615915"/>
                      <a:gd name="connsiteY34" fmla="*/ 592325 h 1522471"/>
                      <a:gd name="connsiteX35" fmla="*/ 97073 w 1615915"/>
                      <a:gd name="connsiteY35" fmla="*/ 583894 h 1522471"/>
                      <a:gd name="connsiteX36" fmla="*/ 110914 w 1615915"/>
                      <a:gd name="connsiteY36" fmla="*/ 550339 h 1522471"/>
                      <a:gd name="connsiteX37" fmla="*/ 3981 w 1615915"/>
                      <a:gd name="connsiteY37" fmla="*/ 385478 h 1522471"/>
                      <a:gd name="connsiteX38" fmla="*/ 2264 w 1615915"/>
                      <a:gd name="connsiteY38" fmla="*/ 365554 h 1522471"/>
                      <a:gd name="connsiteX39" fmla="*/ 101635 w 1615915"/>
                      <a:gd name="connsiteY39" fmla="*/ 246167 h 1522471"/>
                      <a:gd name="connsiteX40" fmla="*/ 117724 w 1615915"/>
                      <a:gd name="connsiteY40" fmla="*/ 246110 h 1522471"/>
                      <a:gd name="connsiteX41" fmla="*/ 300045 w 1615915"/>
                      <a:gd name="connsiteY41" fmla="*/ 329400 h 1522471"/>
                      <a:gd name="connsiteX42" fmla="*/ 360406 w 1615915"/>
                      <a:gd name="connsiteY42" fmla="*/ 289229 h 1522471"/>
                      <a:gd name="connsiteX43" fmla="*/ 348876 w 1615915"/>
                      <a:gd name="connsiteY43" fmla="*/ 93357 h 1522471"/>
                      <a:gd name="connsiteX44" fmla="*/ 356911 w 1615915"/>
                      <a:gd name="connsiteY44" fmla="*/ 78892 h 1522471"/>
                      <a:gd name="connsiteX45" fmla="*/ 500934 w 1615915"/>
                      <a:gd name="connsiteY45" fmla="*/ 26033 h 1522471"/>
                      <a:gd name="connsiteX46" fmla="*/ 518685 w 1615915"/>
                      <a:gd name="connsiteY46" fmla="*/ 29832 h 1522471"/>
                      <a:gd name="connsiteX47" fmla="*/ 630019 w 1615915"/>
                      <a:gd name="connsiteY47" fmla="*/ 196836 h 1522471"/>
                      <a:gd name="connsiteX48" fmla="*/ 706476 w 1615915"/>
                      <a:gd name="connsiteY48" fmla="*/ 188802 h 1522471"/>
                      <a:gd name="connsiteX49" fmla="*/ 796675 w 1615915"/>
                      <a:gd name="connsiteY49" fmla="*/ 9108 h 1522471"/>
                      <a:gd name="connsiteX50" fmla="*/ 807078 w 1615915"/>
                      <a:gd name="connsiteY50" fmla="*/ 0 h 1522471"/>
                      <a:gd name="connsiteX0" fmla="*/ 810828 w 1615915"/>
                      <a:gd name="connsiteY0" fmla="*/ 0 h 1521831"/>
                      <a:gd name="connsiteX1" fmla="*/ 963593 w 1615915"/>
                      <a:gd name="connsiteY1" fmla="*/ 26571 h 1521831"/>
                      <a:gd name="connsiteX2" fmla="*/ 977003 w 1615915"/>
                      <a:gd name="connsiteY2" fmla="*/ 45477 h 1521831"/>
                      <a:gd name="connsiteX3" fmla="*/ 996209 w 1615915"/>
                      <a:gd name="connsiteY3" fmla="*/ 240384 h 1521831"/>
                      <a:gd name="connsiteX4" fmla="*/ 1060594 w 1615915"/>
                      <a:gd name="connsiteY4" fmla="*/ 276538 h 1521831"/>
                      <a:gd name="connsiteX5" fmla="*/ 1233629 w 1615915"/>
                      <a:gd name="connsiteY5" fmla="*/ 160043 h 1521831"/>
                      <a:gd name="connsiteX6" fmla="*/ 1245701 w 1615915"/>
                      <a:gd name="connsiteY6" fmla="*/ 160043 h 1521831"/>
                      <a:gd name="connsiteX7" fmla="*/ 1366423 w 1615915"/>
                      <a:gd name="connsiteY7" fmla="*/ 264487 h 1521831"/>
                      <a:gd name="connsiteX8" fmla="*/ 1366423 w 1615915"/>
                      <a:gd name="connsiteY8" fmla="*/ 276538 h 1521831"/>
                      <a:gd name="connsiteX9" fmla="*/ 1281918 w 1615915"/>
                      <a:gd name="connsiteY9" fmla="*/ 461323 h 1521831"/>
                      <a:gd name="connsiteX10" fmla="*/ 1322158 w 1615915"/>
                      <a:gd name="connsiteY10" fmla="*/ 521580 h 1521831"/>
                      <a:gd name="connsiteX11" fmla="*/ 1531410 w 1615915"/>
                      <a:gd name="connsiteY11" fmla="*/ 505511 h 1521831"/>
                      <a:gd name="connsiteX12" fmla="*/ 1535434 w 1615915"/>
                      <a:gd name="connsiteY12" fmla="*/ 517562 h 1521831"/>
                      <a:gd name="connsiteX13" fmla="*/ 1591771 w 1615915"/>
                      <a:gd name="connsiteY13" fmla="*/ 666194 h 1521831"/>
                      <a:gd name="connsiteX14" fmla="*/ 1583723 w 1615915"/>
                      <a:gd name="connsiteY14" fmla="*/ 678245 h 1521831"/>
                      <a:gd name="connsiteX15" fmla="*/ 1418736 w 1615915"/>
                      <a:gd name="connsiteY15" fmla="*/ 790723 h 1521831"/>
                      <a:gd name="connsiteX16" fmla="*/ 1422760 w 1615915"/>
                      <a:gd name="connsiteY16" fmla="*/ 867048 h 1521831"/>
                      <a:gd name="connsiteX17" fmla="*/ 1611891 w 1615915"/>
                      <a:gd name="connsiteY17" fmla="*/ 959441 h 1521831"/>
                      <a:gd name="connsiteX18" fmla="*/ 1615915 w 1615915"/>
                      <a:gd name="connsiteY18" fmla="*/ 967475 h 1521831"/>
                      <a:gd name="connsiteX19" fmla="*/ 1583723 w 1615915"/>
                      <a:gd name="connsiteY19" fmla="*/ 1124141 h 1521831"/>
                      <a:gd name="connsiteX20" fmla="*/ 1575675 w 1615915"/>
                      <a:gd name="connsiteY20" fmla="*/ 1132175 h 1521831"/>
                      <a:gd name="connsiteX21" fmla="*/ 1374471 w 1615915"/>
                      <a:gd name="connsiteY21" fmla="*/ 1148243 h 1521831"/>
                      <a:gd name="connsiteX22" fmla="*/ 1338255 w 1615915"/>
                      <a:gd name="connsiteY22" fmla="*/ 1220550 h 1521831"/>
                      <a:gd name="connsiteX23" fmla="*/ 1454952 w 1615915"/>
                      <a:gd name="connsiteY23" fmla="*/ 1389267 h 1521831"/>
                      <a:gd name="connsiteX24" fmla="*/ 1454952 w 1615915"/>
                      <a:gd name="connsiteY24" fmla="*/ 1401319 h 1521831"/>
                      <a:gd name="connsiteX25" fmla="*/ 1346303 w 1615915"/>
                      <a:gd name="connsiteY25" fmla="*/ 1521831 h 1521831"/>
                      <a:gd name="connsiteX26" fmla="*/ 1338255 w 1615915"/>
                      <a:gd name="connsiteY26" fmla="*/ 1521831 h 1521831"/>
                      <a:gd name="connsiteX27" fmla="*/ 1153147 w 1615915"/>
                      <a:gd name="connsiteY27" fmla="*/ 1433455 h 1521831"/>
                      <a:gd name="connsiteX28" fmla="*/ 1130579 w 1615915"/>
                      <a:gd name="connsiteY28" fmla="*/ 1438134 h 1521831"/>
                      <a:gd name="connsiteX29" fmla="*/ 1115337 w 1615915"/>
                      <a:gd name="connsiteY29" fmla="*/ 1366150 h 1521831"/>
                      <a:gd name="connsiteX30" fmla="*/ 1163788 w 1615915"/>
                      <a:gd name="connsiteY30" fmla="*/ 1326383 h 1521831"/>
                      <a:gd name="connsiteX31" fmla="*/ 1347577 w 1615915"/>
                      <a:gd name="connsiteY31" fmla="*/ 884985 h 1521831"/>
                      <a:gd name="connsiteX32" fmla="*/ 720082 w 1615915"/>
                      <a:gd name="connsiteY32" fmla="*/ 260755 h 1521831"/>
                      <a:gd name="connsiteX33" fmla="*/ 199753 w 1615915"/>
                      <a:gd name="connsiteY33" fmla="*/ 535972 h 1521831"/>
                      <a:gd name="connsiteX34" fmla="*/ 165635 w 1615915"/>
                      <a:gd name="connsiteY34" fmla="*/ 591685 h 1521831"/>
                      <a:gd name="connsiteX35" fmla="*/ 97073 w 1615915"/>
                      <a:gd name="connsiteY35" fmla="*/ 583254 h 1521831"/>
                      <a:gd name="connsiteX36" fmla="*/ 110914 w 1615915"/>
                      <a:gd name="connsiteY36" fmla="*/ 549699 h 1521831"/>
                      <a:gd name="connsiteX37" fmla="*/ 3981 w 1615915"/>
                      <a:gd name="connsiteY37" fmla="*/ 384838 h 1521831"/>
                      <a:gd name="connsiteX38" fmla="*/ 2264 w 1615915"/>
                      <a:gd name="connsiteY38" fmla="*/ 364914 h 1521831"/>
                      <a:gd name="connsiteX39" fmla="*/ 101635 w 1615915"/>
                      <a:gd name="connsiteY39" fmla="*/ 245527 h 1521831"/>
                      <a:gd name="connsiteX40" fmla="*/ 117724 w 1615915"/>
                      <a:gd name="connsiteY40" fmla="*/ 245470 h 1521831"/>
                      <a:gd name="connsiteX41" fmla="*/ 300045 w 1615915"/>
                      <a:gd name="connsiteY41" fmla="*/ 328760 h 1521831"/>
                      <a:gd name="connsiteX42" fmla="*/ 360406 w 1615915"/>
                      <a:gd name="connsiteY42" fmla="*/ 288589 h 1521831"/>
                      <a:gd name="connsiteX43" fmla="*/ 348876 w 1615915"/>
                      <a:gd name="connsiteY43" fmla="*/ 92717 h 1521831"/>
                      <a:gd name="connsiteX44" fmla="*/ 356911 w 1615915"/>
                      <a:gd name="connsiteY44" fmla="*/ 78252 h 1521831"/>
                      <a:gd name="connsiteX45" fmla="*/ 500934 w 1615915"/>
                      <a:gd name="connsiteY45" fmla="*/ 25393 h 1521831"/>
                      <a:gd name="connsiteX46" fmla="*/ 518685 w 1615915"/>
                      <a:gd name="connsiteY46" fmla="*/ 29192 h 1521831"/>
                      <a:gd name="connsiteX47" fmla="*/ 630019 w 1615915"/>
                      <a:gd name="connsiteY47" fmla="*/ 196196 h 1521831"/>
                      <a:gd name="connsiteX48" fmla="*/ 706476 w 1615915"/>
                      <a:gd name="connsiteY48" fmla="*/ 188162 h 1521831"/>
                      <a:gd name="connsiteX49" fmla="*/ 796675 w 1615915"/>
                      <a:gd name="connsiteY49" fmla="*/ 8468 h 1521831"/>
                      <a:gd name="connsiteX50" fmla="*/ 810828 w 1615915"/>
                      <a:gd name="connsiteY50" fmla="*/ 0 h 1521831"/>
                      <a:gd name="connsiteX0" fmla="*/ 810828 w 1615915"/>
                      <a:gd name="connsiteY0" fmla="*/ 0 h 1521831"/>
                      <a:gd name="connsiteX1" fmla="*/ 963593 w 1615915"/>
                      <a:gd name="connsiteY1" fmla="*/ 26571 h 1521831"/>
                      <a:gd name="connsiteX2" fmla="*/ 977003 w 1615915"/>
                      <a:gd name="connsiteY2" fmla="*/ 45477 h 1521831"/>
                      <a:gd name="connsiteX3" fmla="*/ 996209 w 1615915"/>
                      <a:gd name="connsiteY3" fmla="*/ 240384 h 1521831"/>
                      <a:gd name="connsiteX4" fmla="*/ 1060594 w 1615915"/>
                      <a:gd name="connsiteY4" fmla="*/ 276538 h 1521831"/>
                      <a:gd name="connsiteX5" fmla="*/ 1233629 w 1615915"/>
                      <a:gd name="connsiteY5" fmla="*/ 160043 h 1521831"/>
                      <a:gd name="connsiteX6" fmla="*/ 1245701 w 1615915"/>
                      <a:gd name="connsiteY6" fmla="*/ 160043 h 1521831"/>
                      <a:gd name="connsiteX7" fmla="*/ 1366423 w 1615915"/>
                      <a:gd name="connsiteY7" fmla="*/ 264487 h 1521831"/>
                      <a:gd name="connsiteX8" fmla="*/ 1366423 w 1615915"/>
                      <a:gd name="connsiteY8" fmla="*/ 276538 h 1521831"/>
                      <a:gd name="connsiteX9" fmla="*/ 1281918 w 1615915"/>
                      <a:gd name="connsiteY9" fmla="*/ 461323 h 1521831"/>
                      <a:gd name="connsiteX10" fmla="*/ 1322158 w 1615915"/>
                      <a:gd name="connsiteY10" fmla="*/ 521580 h 1521831"/>
                      <a:gd name="connsiteX11" fmla="*/ 1531410 w 1615915"/>
                      <a:gd name="connsiteY11" fmla="*/ 505511 h 1521831"/>
                      <a:gd name="connsiteX12" fmla="*/ 1535434 w 1615915"/>
                      <a:gd name="connsiteY12" fmla="*/ 517562 h 1521831"/>
                      <a:gd name="connsiteX13" fmla="*/ 1591771 w 1615915"/>
                      <a:gd name="connsiteY13" fmla="*/ 666194 h 1521831"/>
                      <a:gd name="connsiteX14" fmla="*/ 1583723 w 1615915"/>
                      <a:gd name="connsiteY14" fmla="*/ 678245 h 1521831"/>
                      <a:gd name="connsiteX15" fmla="*/ 1418736 w 1615915"/>
                      <a:gd name="connsiteY15" fmla="*/ 790723 h 1521831"/>
                      <a:gd name="connsiteX16" fmla="*/ 1422760 w 1615915"/>
                      <a:gd name="connsiteY16" fmla="*/ 867048 h 1521831"/>
                      <a:gd name="connsiteX17" fmla="*/ 1611891 w 1615915"/>
                      <a:gd name="connsiteY17" fmla="*/ 959441 h 1521831"/>
                      <a:gd name="connsiteX18" fmla="*/ 1615915 w 1615915"/>
                      <a:gd name="connsiteY18" fmla="*/ 967475 h 1521831"/>
                      <a:gd name="connsiteX19" fmla="*/ 1583723 w 1615915"/>
                      <a:gd name="connsiteY19" fmla="*/ 1124141 h 1521831"/>
                      <a:gd name="connsiteX20" fmla="*/ 1575675 w 1615915"/>
                      <a:gd name="connsiteY20" fmla="*/ 1132175 h 1521831"/>
                      <a:gd name="connsiteX21" fmla="*/ 1374471 w 1615915"/>
                      <a:gd name="connsiteY21" fmla="*/ 1148243 h 1521831"/>
                      <a:gd name="connsiteX22" fmla="*/ 1338255 w 1615915"/>
                      <a:gd name="connsiteY22" fmla="*/ 1220550 h 1521831"/>
                      <a:gd name="connsiteX23" fmla="*/ 1454952 w 1615915"/>
                      <a:gd name="connsiteY23" fmla="*/ 1389267 h 1521831"/>
                      <a:gd name="connsiteX24" fmla="*/ 1454952 w 1615915"/>
                      <a:gd name="connsiteY24" fmla="*/ 1401319 h 1521831"/>
                      <a:gd name="connsiteX25" fmla="*/ 1346303 w 1615915"/>
                      <a:gd name="connsiteY25" fmla="*/ 1521831 h 1521831"/>
                      <a:gd name="connsiteX26" fmla="*/ 1338255 w 1615915"/>
                      <a:gd name="connsiteY26" fmla="*/ 1521831 h 1521831"/>
                      <a:gd name="connsiteX27" fmla="*/ 1153147 w 1615915"/>
                      <a:gd name="connsiteY27" fmla="*/ 1433455 h 1521831"/>
                      <a:gd name="connsiteX28" fmla="*/ 1130579 w 1615915"/>
                      <a:gd name="connsiteY28" fmla="*/ 1438134 h 1521831"/>
                      <a:gd name="connsiteX29" fmla="*/ 1115337 w 1615915"/>
                      <a:gd name="connsiteY29" fmla="*/ 1366150 h 1521831"/>
                      <a:gd name="connsiteX30" fmla="*/ 1163788 w 1615915"/>
                      <a:gd name="connsiteY30" fmla="*/ 1326383 h 1521831"/>
                      <a:gd name="connsiteX31" fmla="*/ 1347577 w 1615915"/>
                      <a:gd name="connsiteY31" fmla="*/ 884985 h 1521831"/>
                      <a:gd name="connsiteX32" fmla="*/ 720082 w 1615915"/>
                      <a:gd name="connsiteY32" fmla="*/ 260755 h 1521831"/>
                      <a:gd name="connsiteX33" fmla="*/ 199753 w 1615915"/>
                      <a:gd name="connsiteY33" fmla="*/ 535972 h 1521831"/>
                      <a:gd name="connsiteX34" fmla="*/ 165635 w 1615915"/>
                      <a:gd name="connsiteY34" fmla="*/ 591685 h 1521831"/>
                      <a:gd name="connsiteX35" fmla="*/ 97073 w 1615915"/>
                      <a:gd name="connsiteY35" fmla="*/ 583254 h 1521831"/>
                      <a:gd name="connsiteX36" fmla="*/ 110914 w 1615915"/>
                      <a:gd name="connsiteY36" fmla="*/ 549699 h 1521831"/>
                      <a:gd name="connsiteX37" fmla="*/ 3981 w 1615915"/>
                      <a:gd name="connsiteY37" fmla="*/ 384838 h 1521831"/>
                      <a:gd name="connsiteX38" fmla="*/ 2264 w 1615915"/>
                      <a:gd name="connsiteY38" fmla="*/ 364914 h 1521831"/>
                      <a:gd name="connsiteX39" fmla="*/ 101635 w 1615915"/>
                      <a:gd name="connsiteY39" fmla="*/ 245527 h 1521831"/>
                      <a:gd name="connsiteX40" fmla="*/ 117724 w 1615915"/>
                      <a:gd name="connsiteY40" fmla="*/ 245470 h 1521831"/>
                      <a:gd name="connsiteX41" fmla="*/ 300045 w 1615915"/>
                      <a:gd name="connsiteY41" fmla="*/ 328760 h 1521831"/>
                      <a:gd name="connsiteX42" fmla="*/ 360406 w 1615915"/>
                      <a:gd name="connsiteY42" fmla="*/ 288589 h 1521831"/>
                      <a:gd name="connsiteX43" fmla="*/ 348876 w 1615915"/>
                      <a:gd name="connsiteY43" fmla="*/ 92717 h 1521831"/>
                      <a:gd name="connsiteX44" fmla="*/ 356911 w 1615915"/>
                      <a:gd name="connsiteY44" fmla="*/ 78252 h 1521831"/>
                      <a:gd name="connsiteX45" fmla="*/ 500934 w 1615915"/>
                      <a:gd name="connsiteY45" fmla="*/ 25393 h 1521831"/>
                      <a:gd name="connsiteX46" fmla="*/ 518685 w 1615915"/>
                      <a:gd name="connsiteY46" fmla="*/ 29192 h 1521831"/>
                      <a:gd name="connsiteX47" fmla="*/ 630019 w 1615915"/>
                      <a:gd name="connsiteY47" fmla="*/ 196196 h 1521831"/>
                      <a:gd name="connsiteX48" fmla="*/ 706476 w 1615915"/>
                      <a:gd name="connsiteY48" fmla="*/ 188162 h 1521831"/>
                      <a:gd name="connsiteX49" fmla="*/ 796675 w 1615915"/>
                      <a:gd name="connsiteY49" fmla="*/ 8468 h 1521831"/>
                      <a:gd name="connsiteX50" fmla="*/ 810828 w 1615915"/>
                      <a:gd name="connsiteY50" fmla="*/ 0 h 1521831"/>
                      <a:gd name="connsiteX0" fmla="*/ 810828 w 1615915"/>
                      <a:gd name="connsiteY0" fmla="*/ 0 h 1521831"/>
                      <a:gd name="connsiteX1" fmla="*/ 963593 w 1615915"/>
                      <a:gd name="connsiteY1" fmla="*/ 26571 h 1521831"/>
                      <a:gd name="connsiteX2" fmla="*/ 977003 w 1615915"/>
                      <a:gd name="connsiteY2" fmla="*/ 45477 h 1521831"/>
                      <a:gd name="connsiteX3" fmla="*/ 996209 w 1615915"/>
                      <a:gd name="connsiteY3" fmla="*/ 240384 h 1521831"/>
                      <a:gd name="connsiteX4" fmla="*/ 1060594 w 1615915"/>
                      <a:gd name="connsiteY4" fmla="*/ 276538 h 1521831"/>
                      <a:gd name="connsiteX5" fmla="*/ 1233629 w 1615915"/>
                      <a:gd name="connsiteY5" fmla="*/ 160043 h 1521831"/>
                      <a:gd name="connsiteX6" fmla="*/ 1245701 w 1615915"/>
                      <a:gd name="connsiteY6" fmla="*/ 160043 h 1521831"/>
                      <a:gd name="connsiteX7" fmla="*/ 1366423 w 1615915"/>
                      <a:gd name="connsiteY7" fmla="*/ 264487 h 1521831"/>
                      <a:gd name="connsiteX8" fmla="*/ 1366423 w 1615915"/>
                      <a:gd name="connsiteY8" fmla="*/ 276538 h 1521831"/>
                      <a:gd name="connsiteX9" fmla="*/ 1281918 w 1615915"/>
                      <a:gd name="connsiteY9" fmla="*/ 461323 h 1521831"/>
                      <a:gd name="connsiteX10" fmla="*/ 1322158 w 1615915"/>
                      <a:gd name="connsiteY10" fmla="*/ 521580 h 1521831"/>
                      <a:gd name="connsiteX11" fmla="*/ 1531410 w 1615915"/>
                      <a:gd name="connsiteY11" fmla="*/ 505511 h 1521831"/>
                      <a:gd name="connsiteX12" fmla="*/ 1535434 w 1615915"/>
                      <a:gd name="connsiteY12" fmla="*/ 517562 h 1521831"/>
                      <a:gd name="connsiteX13" fmla="*/ 1591771 w 1615915"/>
                      <a:gd name="connsiteY13" fmla="*/ 666194 h 1521831"/>
                      <a:gd name="connsiteX14" fmla="*/ 1583723 w 1615915"/>
                      <a:gd name="connsiteY14" fmla="*/ 678245 h 1521831"/>
                      <a:gd name="connsiteX15" fmla="*/ 1418736 w 1615915"/>
                      <a:gd name="connsiteY15" fmla="*/ 790723 h 1521831"/>
                      <a:gd name="connsiteX16" fmla="*/ 1422760 w 1615915"/>
                      <a:gd name="connsiteY16" fmla="*/ 867048 h 1521831"/>
                      <a:gd name="connsiteX17" fmla="*/ 1611891 w 1615915"/>
                      <a:gd name="connsiteY17" fmla="*/ 959441 h 1521831"/>
                      <a:gd name="connsiteX18" fmla="*/ 1615915 w 1615915"/>
                      <a:gd name="connsiteY18" fmla="*/ 967475 h 1521831"/>
                      <a:gd name="connsiteX19" fmla="*/ 1583723 w 1615915"/>
                      <a:gd name="connsiteY19" fmla="*/ 1124141 h 1521831"/>
                      <a:gd name="connsiteX20" fmla="*/ 1575675 w 1615915"/>
                      <a:gd name="connsiteY20" fmla="*/ 1132175 h 1521831"/>
                      <a:gd name="connsiteX21" fmla="*/ 1374471 w 1615915"/>
                      <a:gd name="connsiteY21" fmla="*/ 1148243 h 1521831"/>
                      <a:gd name="connsiteX22" fmla="*/ 1338255 w 1615915"/>
                      <a:gd name="connsiteY22" fmla="*/ 1220550 h 1521831"/>
                      <a:gd name="connsiteX23" fmla="*/ 1454952 w 1615915"/>
                      <a:gd name="connsiteY23" fmla="*/ 1389267 h 1521831"/>
                      <a:gd name="connsiteX24" fmla="*/ 1454952 w 1615915"/>
                      <a:gd name="connsiteY24" fmla="*/ 1401319 h 1521831"/>
                      <a:gd name="connsiteX25" fmla="*/ 1346303 w 1615915"/>
                      <a:gd name="connsiteY25" fmla="*/ 1521831 h 1521831"/>
                      <a:gd name="connsiteX26" fmla="*/ 1338255 w 1615915"/>
                      <a:gd name="connsiteY26" fmla="*/ 1521831 h 1521831"/>
                      <a:gd name="connsiteX27" fmla="*/ 1153147 w 1615915"/>
                      <a:gd name="connsiteY27" fmla="*/ 1433455 h 1521831"/>
                      <a:gd name="connsiteX28" fmla="*/ 1130579 w 1615915"/>
                      <a:gd name="connsiteY28" fmla="*/ 1438134 h 1521831"/>
                      <a:gd name="connsiteX29" fmla="*/ 1115337 w 1615915"/>
                      <a:gd name="connsiteY29" fmla="*/ 1366150 h 1521831"/>
                      <a:gd name="connsiteX30" fmla="*/ 1163788 w 1615915"/>
                      <a:gd name="connsiteY30" fmla="*/ 1326383 h 1521831"/>
                      <a:gd name="connsiteX31" fmla="*/ 1347577 w 1615915"/>
                      <a:gd name="connsiteY31" fmla="*/ 884985 h 1521831"/>
                      <a:gd name="connsiteX32" fmla="*/ 720082 w 1615915"/>
                      <a:gd name="connsiteY32" fmla="*/ 260755 h 1521831"/>
                      <a:gd name="connsiteX33" fmla="*/ 199753 w 1615915"/>
                      <a:gd name="connsiteY33" fmla="*/ 535972 h 1521831"/>
                      <a:gd name="connsiteX34" fmla="*/ 165635 w 1615915"/>
                      <a:gd name="connsiteY34" fmla="*/ 591685 h 1521831"/>
                      <a:gd name="connsiteX35" fmla="*/ 97073 w 1615915"/>
                      <a:gd name="connsiteY35" fmla="*/ 583254 h 1521831"/>
                      <a:gd name="connsiteX36" fmla="*/ 110914 w 1615915"/>
                      <a:gd name="connsiteY36" fmla="*/ 549699 h 1521831"/>
                      <a:gd name="connsiteX37" fmla="*/ 3981 w 1615915"/>
                      <a:gd name="connsiteY37" fmla="*/ 384838 h 1521831"/>
                      <a:gd name="connsiteX38" fmla="*/ 2264 w 1615915"/>
                      <a:gd name="connsiteY38" fmla="*/ 364914 h 1521831"/>
                      <a:gd name="connsiteX39" fmla="*/ 101635 w 1615915"/>
                      <a:gd name="connsiteY39" fmla="*/ 245527 h 1521831"/>
                      <a:gd name="connsiteX40" fmla="*/ 117724 w 1615915"/>
                      <a:gd name="connsiteY40" fmla="*/ 245470 h 1521831"/>
                      <a:gd name="connsiteX41" fmla="*/ 300045 w 1615915"/>
                      <a:gd name="connsiteY41" fmla="*/ 328760 h 1521831"/>
                      <a:gd name="connsiteX42" fmla="*/ 360406 w 1615915"/>
                      <a:gd name="connsiteY42" fmla="*/ 288589 h 1521831"/>
                      <a:gd name="connsiteX43" fmla="*/ 348876 w 1615915"/>
                      <a:gd name="connsiteY43" fmla="*/ 92717 h 1521831"/>
                      <a:gd name="connsiteX44" fmla="*/ 356911 w 1615915"/>
                      <a:gd name="connsiteY44" fmla="*/ 78252 h 1521831"/>
                      <a:gd name="connsiteX45" fmla="*/ 500934 w 1615915"/>
                      <a:gd name="connsiteY45" fmla="*/ 25393 h 1521831"/>
                      <a:gd name="connsiteX46" fmla="*/ 518685 w 1615915"/>
                      <a:gd name="connsiteY46" fmla="*/ 29192 h 1521831"/>
                      <a:gd name="connsiteX47" fmla="*/ 630019 w 1615915"/>
                      <a:gd name="connsiteY47" fmla="*/ 196196 h 1521831"/>
                      <a:gd name="connsiteX48" fmla="*/ 706476 w 1615915"/>
                      <a:gd name="connsiteY48" fmla="*/ 188162 h 1521831"/>
                      <a:gd name="connsiteX49" fmla="*/ 796675 w 1615915"/>
                      <a:gd name="connsiteY49" fmla="*/ 8468 h 1521831"/>
                      <a:gd name="connsiteX50" fmla="*/ 810828 w 1615915"/>
                      <a:gd name="connsiteY50" fmla="*/ 0 h 1521831"/>
                      <a:gd name="connsiteX0" fmla="*/ 810828 w 1615915"/>
                      <a:gd name="connsiteY0" fmla="*/ 222 h 1522053"/>
                      <a:gd name="connsiteX1" fmla="*/ 963593 w 1615915"/>
                      <a:gd name="connsiteY1" fmla="*/ 26793 h 1522053"/>
                      <a:gd name="connsiteX2" fmla="*/ 977003 w 1615915"/>
                      <a:gd name="connsiteY2" fmla="*/ 45699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45701 w 1615915"/>
                      <a:gd name="connsiteY6" fmla="*/ 160265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6423 w 1615915"/>
                      <a:gd name="connsiteY7" fmla="*/ 264709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31410 w 1615915"/>
                      <a:gd name="connsiteY11" fmla="*/ 505733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1771 w 1615915"/>
                      <a:gd name="connsiteY13" fmla="*/ 666416 h 1522053"/>
                      <a:gd name="connsiteX14" fmla="*/ 1583723 w 1615915"/>
                      <a:gd name="connsiteY14" fmla="*/ 67846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1771 w 1615915"/>
                      <a:gd name="connsiteY13" fmla="*/ 666416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5915"/>
                      <a:gd name="connsiteY0" fmla="*/ 222 h 1522053"/>
                      <a:gd name="connsiteX1" fmla="*/ 963593 w 1615915"/>
                      <a:gd name="connsiteY1" fmla="*/ 26793 h 1522053"/>
                      <a:gd name="connsiteX2" fmla="*/ 976465 w 1615915"/>
                      <a:gd name="connsiteY2" fmla="*/ 41896 h 1522053"/>
                      <a:gd name="connsiteX3" fmla="*/ 996209 w 1615915"/>
                      <a:gd name="connsiteY3" fmla="*/ 240606 h 1522053"/>
                      <a:gd name="connsiteX4" fmla="*/ 1060594 w 1615915"/>
                      <a:gd name="connsiteY4" fmla="*/ 276760 h 1522053"/>
                      <a:gd name="connsiteX5" fmla="*/ 1233629 w 1615915"/>
                      <a:gd name="connsiteY5" fmla="*/ 160265 h 1522053"/>
                      <a:gd name="connsiteX6" fmla="*/ 1251383 w 1615915"/>
                      <a:gd name="connsiteY6" fmla="*/ 165243 h 1522053"/>
                      <a:gd name="connsiteX7" fmla="*/ 1360742 w 1615915"/>
                      <a:gd name="connsiteY7" fmla="*/ 259731 h 1522053"/>
                      <a:gd name="connsiteX8" fmla="*/ 1366423 w 1615915"/>
                      <a:gd name="connsiteY8" fmla="*/ 276760 h 1522053"/>
                      <a:gd name="connsiteX9" fmla="*/ 1281918 w 1615915"/>
                      <a:gd name="connsiteY9" fmla="*/ 461545 h 1522053"/>
                      <a:gd name="connsiteX10" fmla="*/ 1322158 w 1615915"/>
                      <a:gd name="connsiteY10" fmla="*/ 521802 h 1522053"/>
                      <a:gd name="connsiteX11" fmla="*/ 1520965 w 1615915"/>
                      <a:gd name="connsiteY11" fmla="*/ 506918 h 1522053"/>
                      <a:gd name="connsiteX12" fmla="*/ 1535434 w 1615915"/>
                      <a:gd name="connsiteY12" fmla="*/ 517784 h 1522053"/>
                      <a:gd name="connsiteX13" fmla="*/ 1590322 w 1615915"/>
                      <a:gd name="connsiteY13" fmla="*/ 661864 h 1522053"/>
                      <a:gd name="connsiteX14" fmla="*/ 1581046 w 1615915"/>
                      <a:gd name="connsiteY14" fmla="*/ 680237 h 1522053"/>
                      <a:gd name="connsiteX15" fmla="*/ 1418736 w 1615915"/>
                      <a:gd name="connsiteY15" fmla="*/ 790945 h 1522053"/>
                      <a:gd name="connsiteX16" fmla="*/ 1422760 w 1615915"/>
                      <a:gd name="connsiteY16" fmla="*/ 867270 h 1522053"/>
                      <a:gd name="connsiteX17" fmla="*/ 1611891 w 1615915"/>
                      <a:gd name="connsiteY17" fmla="*/ 959663 h 1522053"/>
                      <a:gd name="connsiteX18" fmla="*/ 1615915 w 1615915"/>
                      <a:gd name="connsiteY18" fmla="*/ 967697 h 1522053"/>
                      <a:gd name="connsiteX19" fmla="*/ 1583723 w 1615915"/>
                      <a:gd name="connsiteY19" fmla="*/ 1124363 h 1522053"/>
                      <a:gd name="connsiteX20" fmla="*/ 1575675 w 1615915"/>
                      <a:gd name="connsiteY20" fmla="*/ 1132397 h 1522053"/>
                      <a:gd name="connsiteX21" fmla="*/ 1374471 w 1615915"/>
                      <a:gd name="connsiteY21" fmla="*/ 1148465 h 1522053"/>
                      <a:gd name="connsiteX22" fmla="*/ 1338255 w 1615915"/>
                      <a:gd name="connsiteY22" fmla="*/ 1220772 h 1522053"/>
                      <a:gd name="connsiteX23" fmla="*/ 1454952 w 1615915"/>
                      <a:gd name="connsiteY23" fmla="*/ 1389489 h 1522053"/>
                      <a:gd name="connsiteX24" fmla="*/ 1454952 w 1615915"/>
                      <a:gd name="connsiteY24" fmla="*/ 1401541 h 1522053"/>
                      <a:gd name="connsiteX25" fmla="*/ 1346303 w 1615915"/>
                      <a:gd name="connsiteY25" fmla="*/ 1522053 h 1522053"/>
                      <a:gd name="connsiteX26" fmla="*/ 1338255 w 1615915"/>
                      <a:gd name="connsiteY26" fmla="*/ 1522053 h 1522053"/>
                      <a:gd name="connsiteX27" fmla="*/ 1153147 w 1615915"/>
                      <a:gd name="connsiteY27" fmla="*/ 1433677 h 1522053"/>
                      <a:gd name="connsiteX28" fmla="*/ 1130579 w 1615915"/>
                      <a:gd name="connsiteY28" fmla="*/ 1438356 h 1522053"/>
                      <a:gd name="connsiteX29" fmla="*/ 1115337 w 1615915"/>
                      <a:gd name="connsiteY29" fmla="*/ 1366372 h 1522053"/>
                      <a:gd name="connsiteX30" fmla="*/ 1163788 w 1615915"/>
                      <a:gd name="connsiteY30" fmla="*/ 1326605 h 1522053"/>
                      <a:gd name="connsiteX31" fmla="*/ 1347577 w 1615915"/>
                      <a:gd name="connsiteY31" fmla="*/ 885207 h 1522053"/>
                      <a:gd name="connsiteX32" fmla="*/ 720082 w 1615915"/>
                      <a:gd name="connsiteY32" fmla="*/ 260977 h 1522053"/>
                      <a:gd name="connsiteX33" fmla="*/ 199753 w 1615915"/>
                      <a:gd name="connsiteY33" fmla="*/ 536194 h 1522053"/>
                      <a:gd name="connsiteX34" fmla="*/ 165635 w 1615915"/>
                      <a:gd name="connsiteY34" fmla="*/ 591907 h 1522053"/>
                      <a:gd name="connsiteX35" fmla="*/ 97073 w 1615915"/>
                      <a:gd name="connsiteY35" fmla="*/ 583476 h 1522053"/>
                      <a:gd name="connsiteX36" fmla="*/ 110914 w 1615915"/>
                      <a:gd name="connsiteY36" fmla="*/ 549921 h 1522053"/>
                      <a:gd name="connsiteX37" fmla="*/ 3981 w 1615915"/>
                      <a:gd name="connsiteY37" fmla="*/ 385060 h 1522053"/>
                      <a:gd name="connsiteX38" fmla="*/ 2264 w 1615915"/>
                      <a:gd name="connsiteY38" fmla="*/ 365136 h 1522053"/>
                      <a:gd name="connsiteX39" fmla="*/ 101635 w 1615915"/>
                      <a:gd name="connsiteY39" fmla="*/ 245749 h 1522053"/>
                      <a:gd name="connsiteX40" fmla="*/ 117724 w 1615915"/>
                      <a:gd name="connsiteY40" fmla="*/ 245692 h 1522053"/>
                      <a:gd name="connsiteX41" fmla="*/ 300045 w 1615915"/>
                      <a:gd name="connsiteY41" fmla="*/ 328982 h 1522053"/>
                      <a:gd name="connsiteX42" fmla="*/ 360406 w 1615915"/>
                      <a:gd name="connsiteY42" fmla="*/ 288811 h 1522053"/>
                      <a:gd name="connsiteX43" fmla="*/ 348876 w 1615915"/>
                      <a:gd name="connsiteY43" fmla="*/ 92939 h 1522053"/>
                      <a:gd name="connsiteX44" fmla="*/ 356911 w 1615915"/>
                      <a:gd name="connsiteY44" fmla="*/ 78474 h 1522053"/>
                      <a:gd name="connsiteX45" fmla="*/ 500934 w 1615915"/>
                      <a:gd name="connsiteY45" fmla="*/ 25615 h 1522053"/>
                      <a:gd name="connsiteX46" fmla="*/ 518685 w 1615915"/>
                      <a:gd name="connsiteY46" fmla="*/ 29414 h 1522053"/>
                      <a:gd name="connsiteX47" fmla="*/ 630019 w 1615915"/>
                      <a:gd name="connsiteY47" fmla="*/ 196418 h 1522053"/>
                      <a:gd name="connsiteX48" fmla="*/ 706476 w 1615915"/>
                      <a:gd name="connsiteY48" fmla="*/ 188384 h 1522053"/>
                      <a:gd name="connsiteX49" fmla="*/ 796675 w 1615915"/>
                      <a:gd name="connsiteY49" fmla="*/ 8690 h 1522053"/>
                      <a:gd name="connsiteX50" fmla="*/ 810828 w 1615915"/>
                      <a:gd name="connsiteY50" fmla="*/ 222 h 1522053"/>
                      <a:gd name="connsiteX0" fmla="*/ 810828 w 1613832"/>
                      <a:gd name="connsiteY0" fmla="*/ 222 h 1522053"/>
                      <a:gd name="connsiteX1" fmla="*/ 963593 w 1613832"/>
                      <a:gd name="connsiteY1" fmla="*/ 26793 h 1522053"/>
                      <a:gd name="connsiteX2" fmla="*/ 976465 w 1613832"/>
                      <a:gd name="connsiteY2" fmla="*/ 41896 h 1522053"/>
                      <a:gd name="connsiteX3" fmla="*/ 996209 w 1613832"/>
                      <a:gd name="connsiteY3" fmla="*/ 240606 h 1522053"/>
                      <a:gd name="connsiteX4" fmla="*/ 1060594 w 1613832"/>
                      <a:gd name="connsiteY4" fmla="*/ 276760 h 1522053"/>
                      <a:gd name="connsiteX5" fmla="*/ 1233629 w 1613832"/>
                      <a:gd name="connsiteY5" fmla="*/ 160265 h 1522053"/>
                      <a:gd name="connsiteX6" fmla="*/ 1251383 w 1613832"/>
                      <a:gd name="connsiteY6" fmla="*/ 165243 h 1522053"/>
                      <a:gd name="connsiteX7" fmla="*/ 1360742 w 1613832"/>
                      <a:gd name="connsiteY7" fmla="*/ 259731 h 1522053"/>
                      <a:gd name="connsiteX8" fmla="*/ 1366423 w 1613832"/>
                      <a:gd name="connsiteY8" fmla="*/ 276760 h 1522053"/>
                      <a:gd name="connsiteX9" fmla="*/ 1281918 w 1613832"/>
                      <a:gd name="connsiteY9" fmla="*/ 461545 h 1522053"/>
                      <a:gd name="connsiteX10" fmla="*/ 1322158 w 1613832"/>
                      <a:gd name="connsiteY10" fmla="*/ 521802 h 1522053"/>
                      <a:gd name="connsiteX11" fmla="*/ 1520965 w 1613832"/>
                      <a:gd name="connsiteY11" fmla="*/ 506918 h 1522053"/>
                      <a:gd name="connsiteX12" fmla="*/ 1535434 w 1613832"/>
                      <a:gd name="connsiteY12" fmla="*/ 517784 h 1522053"/>
                      <a:gd name="connsiteX13" fmla="*/ 1590322 w 1613832"/>
                      <a:gd name="connsiteY13" fmla="*/ 661864 h 1522053"/>
                      <a:gd name="connsiteX14" fmla="*/ 1581046 w 1613832"/>
                      <a:gd name="connsiteY14" fmla="*/ 680237 h 1522053"/>
                      <a:gd name="connsiteX15" fmla="*/ 1418736 w 1613832"/>
                      <a:gd name="connsiteY15" fmla="*/ 790945 h 1522053"/>
                      <a:gd name="connsiteX16" fmla="*/ 1422760 w 1613832"/>
                      <a:gd name="connsiteY16" fmla="*/ 867270 h 1522053"/>
                      <a:gd name="connsiteX17" fmla="*/ 1611891 w 1613832"/>
                      <a:gd name="connsiteY17" fmla="*/ 959663 h 1522053"/>
                      <a:gd name="connsiteX18" fmla="*/ 1613832 w 1613832"/>
                      <a:gd name="connsiteY18" fmla="*/ 977287 h 1522053"/>
                      <a:gd name="connsiteX19" fmla="*/ 1583723 w 1613832"/>
                      <a:gd name="connsiteY19" fmla="*/ 1124363 h 1522053"/>
                      <a:gd name="connsiteX20" fmla="*/ 1575675 w 1613832"/>
                      <a:gd name="connsiteY20" fmla="*/ 1132397 h 1522053"/>
                      <a:gd name="connsiteX21" fmla="*/ 1374471 w 1613832"/>
                      <a:gd name="connsiteY21" fmla="*/ 1148465 h 1522053"/>
                      <a:gd name="connsiteX22" fmla="*/ 1338255 w 1613832"/>
                      <a:gd name="connsiteY22" fmla="*/ 1220772 h 1522053"/>
                      <a:gd name="connsiteX23" fmla="*/ 1454952 w 1613832"/>
                      <a:gd name="connsiteY23" fmla="*/ 1389489 h 1522053"/>
                      <a:gd name="connsiteX24" fmla="*/ 1454952 w 1613832"/>
                      <a:gd name="connsiteY24" fmla="*/ 1401541 h 1522053"/>
                      <a:gd name="connsiteX25" fmla="*/ 1346303 w 1613832"/>
                      <a:gd name="connsiteY25" fmla="*/ 1522053 h 1522053"/>
                      <a:gd name="connsiteX26" fmla="*/ 1338255 w 1613832"/>
                      <a:gd name="connsiteY26" fmla="*/ 1522053 h 1522053"/>
                      <a:gd name="connsiteX27" fmla="*/ 1153147 w 1613832"/>
                      <a:gd name="connsiteY27" fmla="*/ 1433677 h 1522053"/>
                      <a:gd name="connsiteX28" fmla="*/ 1130579 w 1613832"/>
                      <a:gd name="connsiteY28" fmla="*/ 1438356 h 1522053"/>
                      <a:gd name="connsiteX29" fmla="*/ 1115337 w 1613832"/>
                      <a:gd name="connsiteY29" fmla="*/ 1366372 h 1522053"/>
                      <a:gd name="connsiteX30" fmla="*/ 1163788 w 1613832"/>
                      <a:gd name="connsiteY30" fmla="*/ 1326605 h 1522053"/>
                      <a:gd name="connsiteX31" fmla="*/ 1347577 w 1613832"/>
                      <a:gd name="connsiteY31" fmla="*/ 885207 h 1522053"/>
                      <a:gd name="connsiteX32" fmla="*/ 720082 w 1613832"/>
                      <a:gd name="connsiteY32" fmla="*/ 260977 h 1522053"/>
                      <a:gd name="connsiteX33" fmla="*/ 199753 w 1613832"/>
                      <a:gd name="connsiteY33" fmla="*/ 536194 h 1522053"/>
                      <a:gd name="connsiteX34" fmla="*/ 165635 w 1613832"/>
                      <a:gd name="connsiteY34" fmla="*/ 591907 h 1522053"/>
                      <a:gd name="connsiteX35" fmla="*/ 97073 w 1613832"/>
                      <a:gd name="connsiteY35" fmla="*/ 583476 h 1522053"/>
                      <a:gd name="connsiteX36" fmla="*/ 110914 w 1613832"/>
                      <a:gd name="connsiteY36" fmla="*/ 549921 h 1522053"/>
                      <a:gd name="connsiteX37" fmla="*/ 3981 w 1613832"/>
                      <a:gd name="connsiteY37" fmla="*/ 385060 h 1522053"/>
                      <a:gd name="connsiteX38" fmla="*/ 2264 w 1613832"/>
                      <a:gd name="connsiteY38" fmla="*/ 365136 h 1522053"/>
                      <a:gd name="connsiteX39" fmla="*/ 101635 w 1613832"/>
                      <a:gd name="connsiteY39" fmla="*/ 245749 h 1522053"/>
                      <a:gd name="connsiteX40" fmla="*/ 117724 w 1613832"/>
                      <a:gd name="connsiteY40" fmla="*/ 245692 h 1522053"/>
                      <a:gd name="connsiteX41" fmla="*/ 300045 w 1613832"/>
                      <a:gd name="connsiteY41" fmla="*/ 328982 h 1522053"/>
                      <a:gd name="connsiteX42" fmla="*/ 360406 w 1613832"/>
                      <a:gd name="connsiteY42" fmla="*/ 288811 h 1522053"/>
                      <a:gd name="connsiteX43" fmla="*/ 348876 w 1613832"/>
                      <a:gd name="connsiteY43" fmla="*/ 92939 h 1522053"/>
                      <a:gd name="connsiteX44" fmla="*/ 356911 w 1613832"/>
                      <a:gd name="connsiteY44" fmla="*/ 78474 h 1522053"/>
                      <a:gd name="connsiteX45" fmla="*/ 500934 w 1613832"/>
                      <a:gd name="connsiteY45" fmla="*/ 25615 h 1522053"/>
                      <a:gd name="connsiteX46" fmla="*/ 518685 w 1613832"/>
                      <a:gd name="connsiteY46" fmla="*/ 29414 h 1522053"/>
                      <a:gd name="connsiteX47" fmla="*/ 630019 w 1613832"/>
                      <a:gd name="connsiteY47" fmla="*/ 196418 h 1522053"/>
                      <a:gd name="connsiteX48" fmla="*/ 706476 w 1613832"/>
                      <a:gd name="connsiteY48" fmla="*/ 188384 h 1522053"/>
                      <a:gd name="connsiteX49" fmla="*/ 796675 w 1613832"/>
                      <a:gd name="connsiteY49" fmla="*/ 8690 h 1522053"/>
                      <a:gd name="connsiteX50" fmla="*/ 810828 w 1613832"/>
                      <a:gd name="connsiteY50" fmla="*/ 222 h 1522053"/>
                      <a:gd name="connsiteX0" fmla="*/ 810828 w 1613832"/>
                      <a:gd name="connsiteY0" fmla="*/ 222 h 1522053"/>
                      <a:gd name="connsiteX1" fmla="*/ 963593 w 1613832"/>
                      <a:gd name="connsiteY1" fmla="*/ 26793 h 1522053"/>
                      <a:gd name="connsiteX2" fmla="*/ 976465 w 1613832"/>
                      <a:gd name="connsiteY2" fmla="*/ 41896 h 1522053"/>
                      <a:gd name="connsiteX3" fmla="*/ 996209 w 1613832"/>
                      <a:gd name="connsiteY3" fmla="*/ 240606 h 1522053"/>
                      <a:gd name="connsiteX4" fmla="*/ 1060594 w 1613832"/>
                      <a:gd name="connsiteY4" fmla="*/ 276760 h 1522053"/>
                      <a:gd name="connsiteX5" fmla="*/ 1233629 w 1613832"/>
                      <a:gd name="connsiteY5" fmla="*/ 160265 h 1522053"/>
                      <a:gd name="connsiteX6" fmla="*/ 1251383 w 1613832"/>
                      <a:gd name="connsiteY6" fmla="*/ 165243 h 1522053"/>
                      <a:gd name="connsiteX7" fmla="*/ 1360742 w 1613832"/>
                      <a:gd name="connsiteY7" fmla="*/ 259731 h 1522053"/>
                      <a:gd name="connsiteX8" fmla="*/ 1366423 w 1613832"/>
                      <a:gd name="connsiteY8" fmla="*/ 276760 h 1522053"/>
                      <a:gd name="connsiteX9" fmla="*/ 1281918 w 1613832"/>
                      <a:gd name="connsiteY9" fmla="*/ 461545 h 1522053"/>
                      <a:gd name="connsiteX10" fmla="*/ 1322158 w 1613832"/>
                      <a:gd name="connsiteY10" fmla="*/ 521802 h 1522053"/>
                      <a:gd name="connsiteX11" fmla="*/ 1520965 w 1613832"/>
                      <a:gd name="connsiteY11" fmla="*/ 506918 h 1522053"/>
                      <a:gd name="connsiteX12" fmla="*/ 1535434 w 1613832"/>
                      <a:gd name="connsiteY12" fmla="*/ 517784 h 1522053"/>
                      <a:gd name="connsiteX13" fmla="*/ 1590322 w 1613832"/>
                      <a:gd name="connsiteY13" fmla="*/ 661864 h 1522053"/>
                      <a:gd name="connsiteX14" fmla="*/ 1581046 w 1613832"/>
                      <a:gd name="connsiteY14" fmla="*/ 680237 h 1522053"/>
                      <a:gd name="connsiteX15" fmla="*/ 1418736 w 1613832"/>
                      <a:gd name="connsiteY15" fmla="*/ 790945 h 1522053"/>
                      <a:gd name="connsiteX16" fmla="*/ 1422760 w 1613832"/>
                      <a:gd name="connsiteY16" fmla="*/ 867270 h 1522053"/>
                      <a:gd name="connsiteX17" fmla="*/ 1611891 w 1613832"/>
                      <a:gd name="connsiteY17" fmla="*/ 959663 h 1522053"/>
                      <a:gd name="connsiteX18" fmla="*/ 1613832 w 1613832"/>
                      <a:gd name="connsiteY18" fmla="*/ 977287 h 1522053"/>
                      <a:gd name="connsiteX19" fmla="*/ 1586393 w 1613832"/>
                      <a:gd name="connsiteY19" fmla="*/ 1112201 h 1522053"/>
                      <a:gd name="connsiteX20" fmla="*/ 1575675 w 1613832"/>
                      <a:gd name="connsiteY20" fmla="*/ 1132397 h 1522053"/>
                      <a:gd name="connsiteX21" fmla="*/ 1374471 w 1613832"/>
                      <a:gd name="connsiteY21" fmla="*/ 1148465 h 1522053"/>
                      <a:gd name="connsiteX22" fmla="*/ 1338255 w 1613832"/>
                      <a:gd name="connsiteY22" fmla="*/ 1220772 h 1522053"/>
                      <a:gd name="connsiteX23" fmla="*/ 1454952 w 1613832"/>
                      <a:gd name="connsiteY23" fmla="*/ 1389489 h 1522053"/>
                      <a:gd name="connsiteX24" fmla="*/ 1454952 w 1613832"/>
                      <a:gd name="connsiteY24" fmla="*/ 1401541 h 1522053"/>
                      <a:gd name="connsiteX25" fmla="*/ 1346303 w 1613832"/>
                      <a:gd name="connsiteY25" fmla="*/ 1522053 h 1522053"/>
                      <a:gd name="connsiteX26" fmla="*/ 1338255 w 1613832"/>
                      <a:gd name="connsiteY26" fmla="*/ 1522053 h 1522053"/>
                      <a:gd name="connsiteX27" fmla="*/ 1153147 w 1613832"/>
                      <a:gd name="connsiteY27" fmla="*/ 1433677 h 1522053"/>
                      <a:gd name="connsiteX28" fmla="*/ 1130579 w 1613832"/>
                      <a:gd name="connsiteY28" fmla="*/ 1438356 h 1522053"/>
                      <a:gd name="connsiteX29" fmla="*/ 1115337 w 1613832"/>
                      <a:gd name="connsiteY29" fmla="*/ 1366372 h 1522053"/>
                      <a:gd name="connsiteX30" fmla="*/ 1163788 w 1613832"/>
                      <a:gd name="connsiteY30" fmla="*/ 1326605 h 1522053"/>
                      <a:gd name="connsiteX31" fmla="*/ 1347577 w 1613832"/>
                      <a:gd name="connsiteY31" fmla="*/ 885207 h 1522053"/>
                      <a:gd name="connsiteX32" fmla="*/ 720082 w 1613832"/>
                      <a:gd name="connsiteY32" fmla="*/ 260977 h 1522053"/>
                      <a:gd name="connsiteX33" fmla="*/ 199753 w 1613832"/>
                      <a:gd name="connsiteY33" fmla="*/ 536194 h 1522053"/>
                      <a:gd name="connsiteX34" fmla="*/ 165635 w 1613832"/>
                      <a:gd name="connsiteY34" fmla="*/ 591907 h 1522053"/>
                      <a:gd name="connsiteX35" fmla="*/ 97073 w 1613832"/>
                      <a:gd name="connsiteY35" fmla="*/ 583476 h 1522053"/>
                      <a:gd name="connsiteX36" fmla="*/ 110914 w 1613832"/>
                      <a:gd name="connsiteY36" fmla="*/ 549921 h 1522053"/>
                      <a:gd name="connsiteX37" fmla="*/ 3981 w 1613832"/>
                      <a:gd name="connsiteY37" fmla="*/ 385060 h 1522053"/>
                      <a:gd name="connsiteX38" fmla="*/ 2264 w 1613832"/>
                      <a:gd name="connsiteY38" fmla="*/ 365136 h 1522053"/>
                      <a:gd name="connsiteX39" fmla="*/ 101635 w 1613832"/>
                      <a:gd name="connsiteY39" fmla="*/ 245749 h 1522053"/>
                      <a:gd name="connsiteX40" fmla="*/ 117724 w 1613832"/>
                      <a:gd name="connsiteY40" fmla="*/ 245692 h 1522053"/>
                      <a:gd name="connsiteX41" fmla="*/ 300045 w 1613832"/>
                      <a:gd name="connsiteY41" fmla="*/ 328982 h 1522053"/>
                      <a:gd name="connsiteX42" fmla="*/ 360406 w 1613832"/>
                      <a:gd name="connsiteY42" fmla="*/ 288811 h 1522053"/>
                      <a:gd name="connsiteX43" fmla="*/ 348876 w 1613832"/>
                      <a:gd name="connsiteY43" fmla="*/ 92939 h 1522053"/>
                      <a:gd name="connsiteX44" fmla="*/ 356911 w 1613832"/>
                      <a:gd name="connsiteY44" fmla="*/ 78474 h 1522053"/>
                      <a:gd name="connsiteX45" fmla="*/ 500934 w 1613832"/>
                      <a:gd name="connsiteY45" fmla="*/ 25615 h 1522053"/>
                      <a:gd name="connsiteX46" fmla="*/ 518685 w 1613832"/>
                      <a:gd name="connsiteY46" fmla="*/ 29414 h 1522053"/>
                      <a:gd name="connsiteX47" fmla="*/ 630019 w 1613832"/>
                      <a:gd name="connsiteY47" fmla="*/ 196418 h 1522053"/>
                      <a:gd name="connsiteX48" fmla="*/ 706476 w 1613832"/>
                      <a:gd name="connsiteY48" fmla="*/ 188384 h 1522053"/>
                      <a:gd name="connsiteX49" fmla="*/ 796675 w 1613832"/>
                      <a:gd name="connsiteY49" fmla="*/ 8690 h 1522053"/>
                      <a:gd name="connsiteX50" fmla="*/ 810828 w 1613832"/>
                      <a:gd name="connsiteY50" fmla="*/ 222 h 1522053"/>
                      <a:gd name="connsiteX0" fmla="*/ 810828 w 1613832"/>
                      <a:gd name="connsiteY0" fmla="*/ 222 h 1522053"/>
                      <a:gd name="connsiteX1" fmla="*/ 963593 w 1613832"/>
                      <a:gd name="connsiteY1" fmla="*/ 26793 h 1522053"/>
                      <a:gd name="connsiteX2" fmla="*/ 976465 w 1613832"/>
                      <a:gd name="connsiteY2" fmla="*/ 41896 h 1522053"/>
                      <a:gd name="connsiteX3" fmla="*/ 996209 w 1613832"/>
                      <a:gd name="connsiteY3" fmla="*/ 240606 h 1522053"/>
                      <a:gd name="connsiteX4" fmla="*/ 1060594 w 1613832"/>
                      <a:gd name="connsiteY4" fmla="*/ 276760 h 1522053"/>
                      <a:gd name="connsiteX5" fmla="*/ 1233629 w 1613832"/>
                      <a:gd name="connsiteY5" fmla="*/ 160265 h 1522053"/>
                      <a:gd name="connsiteX6" fmla="*/ 1251383 w 1613832"/>
                      <a:gd name="connsiteY6" fmla="*/ 165243 h 1522053"/>
                      <a:gd name="connsiteX7" fmla="*/ 1360742 w 1613832"/>
                      <a:gd name="connsiteY7" fmla="*/ 259731 h 1522053"/>
                      <a:gd name="connsiteX8" fmla="*/ 1366423 w 1613832"/>
                      <a:gd name="connsiteY8" fmla="*/ 276760 h 1522053"/>
                      <a:gd name="connsiteX9" fmla="*/ 1281918 w 1613832"/>
                      <a:gd name="connsiteY9" fmla="*/ 461545 h 1522053"/>
                      <a:gd name="connsiteX10" fmla="*/ 1322158 w 1613832"/>
                      <a:gd name="connsiteY10" fmla="*/ 521802 h 1522053"/>
                      <a:gd name="connsiteX11" fmla="*/ 1520965 w 1613832"/>
                      <a:gd name="connsiteY11" fmla="*/ 506918 h 1522053"/>
                      <a:gd name="connsiteX12" fmla="*/ 1535434 w 1613832"/>
                      <a:gd name="connsiteY12" fmla="*/ 517784 h 1522053"/>
                      <a:gd name="connsiteX13" fmla="*/ 1590322 w 1613832"/>
                      <a:gd name="connsiteY13" fmla="*/ 661864 h 1522053"/>
                      <a:gd name="connsiteX14" fmla="*/ 1581046 w 1613832"/>
                      <a:gd name="connsiteY14" fmla="*/ 680237 h 1522053"/>
                      <a:gd name="connsiteX15" fmla="*/ 1418736 w 1613832"/>
                      <a:gd name="connsiteY15" fmla="*/ 790945 h 1522053"/>
                      <a:gd name="connsiteX16" fmla="*/ 1422760 w 1613832"/>
                      <a:gd name="connsiteY16" fmla="*/ 867270 h 1522053"/>
                      <a:gd name="connsiteX17" fmla="*/ 1611891 w 1613832"/>
                      <a:gd name="connsiteY17" fmla="*/ 959663 h 1522053"/>
                      <a:gd name="connsiteX18" fmla="*/ 1613832 w 1613832"/>
                      <a:gd name="connsiteY18" fmla="*/ 977287 h 1522053"/>
                      <a:gd name="connsiteX19" fmla="*/ 1586393 w 1613832"/>
                      <a:gd name="connsiteY19" fmla="*/ 1112201 h 1522053"/>
                      <a:gd name="connsiteX20" fmla="*/ 1575675 w 1613832"/>
                      <a:gd name="connsiteY20" fmla="*/ 1132397 h 1522053"/>
                      <a:gd name="connsiteX21" fmla="*/ 1374471 w 1613832"/>
                      <a:gd name="connsiteY21" fmla="*/ 1148465 h 1522053"/>
                      <a:gd name="connsiteX22" fmla="*/ 1338255 w 1613832"/>
                      <a:gd name="connsiteY22" fmla="*/ 1220772 h 1522053"/>
                      <a:gd name="connsiteX23" fmla="*/ 1454952 w 1613832"/>
                      <a:gd name="connsiteY23" fmla="*/ 1389489 h 1522053"/>
                      <a:gd name="connsiteX24" fmla="*/ 1454952 w 1613832"/>
                      <a:gd name="connsiteY24" fmla="*/ 1401541 h 1522053"/>
                      <a:gd name="connsiteX25" fmla="*/ 1346303 w 1613832"/>
                      <a:gd name="connsiteY25" fmla="*/ 1522053 h 1522053"/>
                      <a:gd name="connsiteX26" fmla="*/ 1338255 w 1613832"/>
                      <a:gd name="connsiteY26" fmla="*/ 1522053 h 1522053"/>
                      <a:gd name="connsiteX27" fmla="*/ 1153147 w 1613832"/>
                      <a:gd name="connsiteY27" fmla="*/ 1433677 h 1522053"/>
                      <a:gd name="connsiteX28" fmla="*/ 1130579 w 1613832"/>
                      <a:gd name="connsiteY28" fmla="*/ 1438356 h 1522053"/>
                      <a:gd name="connsiteX29" fmla="*/ 1115337 w 1613832"/>
                      <a:gd name="connsiteY29" fmla="*/ 1366372 h 1522053"/>
                      <a:gd name="connsiteX30" fmla="*/ 1163788 w 1613832"/>
                      <a:gd name="connsiteY30" fmla="*/ 1326605 h 1522053"/>
                      <a:gd name="connsiteX31" fmla="*/ 1347577 w 1613832"/>
                      <a:gd name="connsiteY31" fmla="*/ 885207 h 1522053"/>
                      <a:gd name="connsiteX32" fmla="*/ 720082 w 1613832"/>
                      <a:gd name="connsiteY32" fmla="*/ 260977 h 1522053"/>
                      <a:gd name="connsiteX33" fmla="*/ 199753 w 1613832"/>
                      <a:gd name="connsiteY33" fmla="*/ 536194 h 1522053"/>
                      <a:gd name="connsiteX34" fmla="*/ 165635 w 1613832"/>
                      <a:gd name="connsiteY34" fmla="*/ 591907 h 1522053"/>
                      <a:gd name="connsiteX35" fmla="*/ 97073 w 1613832"/>
                      <a:gd name="connsiteY35" fmla="*/ 583476 h 1522053"/>
                      <a:gd name="connsiteX36" fmla="*/ 110914 w 1613832"/>
                      <a:gd name="connsiteY36" fmla="*/ 549921 h 1522053"/>
                      <a:gd name="connsiteX37" fmla="*/ 3981 w 1613832"/>
                      <a:gd name="connsiteY37" fmla="*/ 385060 h 1522053"/>
                      <a:gd name="connsiteX38" fmla="*/ 2264 w 1613832"/>
                      <a:gd name="connsiteY38" fmla="*/ 365136 h 1522053"/>
                      <a:gd name="connsiteX39" fmla="*/ 101635 w 1613832"/>
                      <a:gd name="connsiteY39" fmla="*/ 245749 h 1522053"/>
                      <a:gd name="connsiteX40" fmla="*/ 117724 w 1613832"/>
                      <a:gd name="connsiteY40" fmla="*/ 245692 h 1522053"/>
                      <a:gd name="connsiteX41" fmla="*/ 300045 w 1613832"/>
                      <a:gd name="connsiteY41" fmla="*/ 328982 h 1522053"/>
                      <a:gd name="connsiteX42" fmla="*/ 360406 w 1613832"/>
                      <a:gd name="connsiteY42" fmla="*/ 288811 h 1522053"/>
                      <a:gd name="connsiteX43" fmla="*/ 348876 w 1613832"/>
                      <a:gd name="connsiteY43" fmla="*/ 92939 h 1522053"/>
                      <a:gd name="connsiteX44" fmla="*/ 356911 w 1613832"/>
                      <a:gd name="connsiteY44" fmla="*/ 78474 h 1522053"/>
                      <a:gd name="connsiteX45" fmla="*/ 500934 w 1613832"/>
                      <a:gd name="connsiteY45" fmla="*/ 25615 h 1522053"/>
                      <a:gd name="connsiteX46" fmla="*/ 518685 w 1613832"/>
                      <a:gd name="connsiteY46" fmla="*/ 29414 h 1522053"/>
                      <a:gd name="connsiteX47" fmla="*/ 630019 w 1613832"/>
                      <a:gd name="connsiteY47" fmla="*/ 196418 h 1522053"/>
                      <a:gd name="connsiteX48" fmla="*/ 706476 w 1613832"/>
                      <a:gd name="connsiteY48" fmla="*/ 188384 h 1522053"/>
                      <a:gd name="connsiteX49" fmla="*/ 796675 w 1613832"/>
                      <a:gd name="connsiteY49" fmla="*/ 8690 h 1522053"/>
                      <a:gd name="connsiteX50" fmla="*/ 810828 w 1613832"/>
                      <a:gd name="connsiteY50" fmla="*/ 222 h 1522053"/>
                      <a:gd name="connsiteX0" fmla="*/ 810828 w 1613832"/>
                      <a:gd name="connsiteY0" fmla="*/ 222 h 1522053"/>
                      <a:gd name="connsiteX1" fmla="*/ 963593 w 1613832"/>
                      <a:gd name="connsiteY1" fmla="*/ 26793 h 1522053"/>
                      <a:gd name="connsiteX2" fmla="*/ 976465 w 1613832"/>
                      <a:gd name="connsiteY2" fmla="*/ 41896 h 1522053"/>
                      <a:gd name="connsiteX3" fmla="*/ 996209 w 1613832"/>
                      <a:gd name="connsiteY3" fmla="*/ 240606 h 1522053"/>
                      <a:gd name="connsiteX4" fmla="*/ 1060594 w 1613832"/>
                      <a:gd name="connsiteY4" fmla="*/ 276760 h 1522053"/>
                      <a:gd name="connsiteX5" fmla="*/ 1233629 w 1613832"/>
                      <a:gd name="connsiteY5" fmla="*/ 160265 h 1522053"/>
                      <a:gd name="connsiteX6" fmla="*/ 1251383 w 1613832"/>
                      <a:gd name="connsiteY6" fmla="*/ 165243 h 1522053"/>
                      <a:gd name="connsiteX7" fmla="*/ 1360742 w 1613832"/>
                      <a:gd name="connsiteY7" fmla="*/ 259731 h 1522053"/>
                      <a:gd name="connsiteX8" fmla="*/ 1366423 w 1613832"/>
                      <a:gd name="connsiteY8" fmla="*/ 276760 h 1522053"/>
                      <a:gd name="connsiteX9" fmla="*/ 1281918 w 1613832"/>
                      <a:gd name="connsiteY9" fmla="*/ 461545 h 1522053"/>
                      <a:gd name="connsiteX10" fmla="*/ 1322158 w 1613832"/>
                      <a:gd name="connsiteY10" fmla="*/ 521802 h 1522053"/>
                      <a:gd name="connsiteX11" fmla="*/ 1520965 w 1613832"/>
                      <a:gd name="connsiteY11" fmla="*/ 506918 h 1522053"/>
                      <a:gd name="connsiteX12" fmla="*/ 1535434 w 1613832"/>
                      <a:gd name="connsiteY12" fmla="*/ 517784 h 1522053"/>
                      <a:gd name="connsiteX13" fmla="*/ 1590322 w 1613832"/>
                      <a:gd name="connsiteY13" fmla="*/ 661864 h 1522053"/>
                      <a:gd name="connsiteX14" fmla="*/ 1581046 w 1613832"/>
                      <a:gd name="connsiteY14" fmla="*/ 680237 h 1522053"/>
                      <a:gd name="connsiteX15" fmla="*/ 1418736 w 1613832"/>
                      <a:gd name="connsiteY15" fmla="*/ 790945 h 1522053"/>
                      <a:gd name="connsiteX16" fmla="*/ 1422760 w 1613832"/>
                      <a:gd name="connsiteY16" fmla="*/ 867270 h 1522053"/>
                      <a:gd name="connsiteX17" fmla="*/ 1611891 w 1613832"/>
                      <a:gd name="connsiteY17" fmla="*/ 959663 h 1522053"/>
                      <a:gd name="connsiteX18" fmla="*/ 1613832 w 1613832"/>
                      <a:gd name="connsiteY18" fmla="*/ 977287 h 1522053"/>
                      <a:gd name="connsiteX19" fmla="*/ 1586393 w 1613832"/>
                      <a:gd name="connsiteY19" fmla="*/ 1112201 h 1522053"/>
                      <a:gd name="connsiteX20" fmla="*/ 1575675 w 1613832"/>
                      <a:gd name="connsiteY20" fmla="*/ 1132397 h 1522053"/>
                      <a:gd name="connsiteX21" fmla="*/ 1374471 w 1613832"/>
                      <a:gd name="connsiteY21" fmla="*/ 1148465 h 1522053"/>
                      <a:gd name="connsiteX22" fmla="*/ 1338255 w 1613832"/>
                      <a:gd name="connsiteY22" fmla="*/ 1220772 h 1522053"/>
                      <a:gd name="connsiteX23" fmla="*/ 1454952 w 1613832"/>
                      <a:gd name="connsiteY23" fmla="*/ 1389489 h 1522053"/>
                      <a:gd name="connsiteX24" fmla="*/ 1454952 w 1613832"/>
                      <a:gd name="connsiteY24" fmla="*/ 1401541 h 1522053"/>
                      <a:gd name="connsiteX25" fmla="*/ 1346303 w 1613832"/>
                      <a:gd name="connsiteY25" fmla="*/ 1522053 h 1522053"/>
                      <a:gd name="connsiteX26" fmla="*/ 1338255 w 1613832"/>
                      <a:gd name="connsiteY26" fmla="*/ 1522053 h 1522053"/>
                      <a:gd name="connsiteX27" fmla="*/ 1153147 w 1613832"/>
                      <a:gd name="connsiteY27" fmla="*/ 1433677 h 1522053"/>
                      <a:gd name="connsiteX28" fmla="*/ 1130579 w 1613832"/>
                      <a:gd name="connsiteY28" fmla="*/ 1438356 h 1522053"/>
                      <a:gd name="connsiteX29" fmla="*/ 1115337 w 1613832"/>
                      <a:gd name="connsiteY29" fmla="*/ 1366372 h 1522053"/>
                      <a:gd name="connsiteX30" fmla="*/ 1163788 w 1613832"/>
                      <a:gd name="connsiteY30" fmla="*/ 1326605 h 1522053"/>
                      <a:gd name="connsiteX31" fmla="*/ 1347577 w 1613832"/>
                      <a:gd name="connsiteY31" fmla="*/ 885207 h 1522053"/>
                      <a:gd name="connsiteX32" fmla="*/ 720082 w 1613832"/>
                      <a:gd name="connsiteY32" fmla="*/ 260977 h 1522053"/>
                      <a:gd name="connsiteX33" fmla="*/ 199753 w 1613832"/>
                      <a:gd name="connsiteY33" fmla="*/ 536194 h 1522053"/>
                      <a:gd name="connsiteX34" fmla="*/ 165635 w 1613832"/>
                      <a:gd name="connsiteY34" fmla="*/ 591907 h 1522053"/>
                      <a:gd name="connsiteX35" fmla="*/ 97073 w 1613832"/>
                      <a:gd name="connsiteY35" fmla="*/ 583476 h 1522053"/>
                      <a:gd name="connsiteX36" fmla="*/ 110914 w 1613832"/>
                      <a:gd name="connsiteY36" fmla="*/ 549921 h 1522053"/>
                      <a:gd name="connsiteX37" fmla="*/ 3981 w 1613832"/>
                      <a:gd name="connsiteY37" fmla="*/ 385060 h 1522053"/>
                      <a:gd name="connsiteX38" fmla="*/ 2264 w 1613832"/>
                      <a:gd name="connsiteY38" fmla="*/ 365136 h 1522053"/>
                      <a:gd name="connsiteX39" fmla="*/ 101635 w 1613832"/>
                      <a:gd name="connsiteY39" fmla="*/ 245749 h 1522053"/>
                      <a:gd name="connsiteX40" fmla="*/ 117724 w 1613832"/>
                      <a:gd name="connsiteY40" fmla="*/ 245692 h 1522053"/>
                      <a:gd name="connsiteX41" fmla="*/ 300045 w 1613832"/>
                      <a:gd name="connsiteY41" fmla="*/ 328982 h 1522053"/>
                      <a:gd name="connsiteX42" fmla="*/ 360406 w 1613832"/>
                      <a:gd name="connsiteY42" fmla="*/ 288811 h 1522053"/>
                      <a:gd name="connsiteX43" fmla="*/ 348876 w 1613832"/>
                      <a:gd name="connsiteY43" fmla="*/ 92939 h 1522053"/>
                      <a:gd name="connsiteX44" fmla="*/ 356911 w 1613832"/>
                      <a:gd name="connsiteY44" fmla="*/ 78474 h 1522053"/>
                      <a:gd name="connsiteX45" fmla="*/ 500934 w 1613832"/>
                      <a:gd name="connsiteY45" fmla="*/ 25615 h 1522053"/>
                      <a:gd name="connsiteX46" fmla="*/ 518685 w 1613832"/>
                      <a:gd name="connsiteY46" fmla="*/ 29414 h 1522053"/>
                      <a:gd name="connsiteX47" fmla="*/ 630019 w 1613832"/>
                      <a:gd name="connsiteY47" fmla="*/ 196418 h 1522053"/>
                      <a:gd name="connsiteX48" fmla="*/ 706476 w 1613832"/>
                      <a:gd name="connsiteY48" fmla="*/ 188384 h 1522053"/>
                      <a:gd name="connsiteX49" fmla="*/ 796675 w 1613832"/>
                      <a:gd name="connsiteY49" fmla="*/ 8690 h 1522053"/>
                      <a:gd name="connsiteX50" fmla="*/ 810828 w 1613832"/>
                      <a:gd name="connsiteY50" fmla="*/ 222 h 1522053"/>
                      <a:gd name="connsiteX0" fmla="*/ 810828 w 1613832"/>
                      <a:gd name="connsiteY0" fmla="*/ 222 h 1522053"/>
                      <a:gd name="connsiteX1" fmla="*/ 963593 w 1613832"/>
                      <a:gd name="connsiteY1" fmla="*/ 26793 h 1522053"/>
                      <a:gd name="connsiteX2" fmla="*/ 976465 w 1613832"/>
                      <a:gd name="connsiteY2" fmla="*/ 41896 h 1522053"/>
                      <a:gd name="connsiteX3" fmla="*/ 996209 w 1613832"/>
                      <a:gd name="connsiteY3" fmla="*/ 240606 h 1522053"/>
                      <a:gd name="connsiteX4" fmla="*/ 1060594 w 1613832"/>
                      <a:gd name="connsiteY4" fmla="*/ 276760 h 1522053"/>
                      <a:gd name="connsiteX5" fmla="*/ 1233629 w 1613832"/>
                      <a:gd name="connsiteY5" fmla="*/ 160265 h 1522053"/>
                      <a:gd name="connsiteX6" fmla="*/ 1251383 w 1613832"/>
                      <a:gd name="connsiteY6" fmla="*/ 165243 h 1522053"/>
                      <a:gd name="connsiteX7" fmla="*/ 1360742 w 1613832"/>
                      <a:gd name="connsiteY7" fmla="*/ 259731 h 1522053"/>
                      <a:gd name="connsiteX8" fmla="*/ 1366423 w 1613832"/>
                      <a:gd name="connsiteY8" fmla="*/ 276760 h 1522053"/>
                      <a:gd name="connsiteX9" fmla="*/ 1281918 w 1613832"/>
                      <a:gd name="connsiteY9" fmla="*/ 461545 h 1522053"/>
                      <a:gd name="connsiteX10" fmla="*/ 1322158 w 1613832"/>
                      <a:gd name="connsiteY10" fmla="*/ 521802 h 1522053"/>
                      <a:gd name="connsiteX11" fmla="*/ 1520965 w 1613832"/>
                      <a:gd name="connsiteY11" fmla="*/ 506918 h 1522053"/>
                      <a:gd name="connsiteX12" fmla="*/ 1535434 w 1613832"/>
                      <a:gd name="connsiteY12" fmla="*/ 517784 h 1522053"/>
                      <a:gd name="connsiteX13" fmla="*/ 1590322 w 1613832"/>
                      <a:gd name="connsiteY13" fmla="*/ 661864 h 1522053"/>
                      <a:gd name="connsiteX14" fmla="*/ 1581046 w 1613832"/>
                      <a:gd name="connsiteY14" fmla="*/ 680237 h 1522053"/>
                      <a:gd name="connsiteX15" fmla="*/ 1418736 w 1613832"/>
                      <a:gd name="connsiteY15" fmla="*/ 790945 h 1522053"/>
                      <a:gd name="connsiteX16" fmla="*/ 1422760 w 1613832"/>
                      <a:gd name="connsiteY16" fmla="*/ 867270 h 1522053"/>
                      <a:gd name="connsiteX17" fmla="*/ 1611891 w 1613832"/>
                      <a:gd name="connsiteY17" fmla="*/ 959663 h 1522053"/>
                      <a:gd name="connsiteX18" fmla="*/ 1613832 w 1613832"/>
                      <a:gd name="connsiteY18" fmla="*/ 977287 h 1522053"/>
                      <a:gd name="connsiteX19" fmla="*/ 1586393 w 1613832"/>
                      <a:gd name="connsiteY19" fmla="*/ 1112201 h 1522053"/>
                      <a:gd name="connsiteX20" fmla="*/ 1575675 w 1613832"/>
                      <a:gd name="connsiteY20" fmla="*/ 1132397 h 1522053"/>
                      <a:gd name="connsiteX21" fmla="*/ 1374471 w 1613832"/>
                      <a:gd name="connsiteY21" fmla="*/ 1148465 h 1522053"/>
                      <a:gd name="connsiteX22" fmla="*/ 1338255 w 1613832"/>
                      <a:gd name="connsiteY22" fmla="*/ 1220772 h 1522053"/>
                      <a:gd name="connsiteX23" fmla="*/ 1454952 w 1613832"/>
                      <a:gd name="connsiteY23" fmla="*/ 1389489 h 1522053"/>
                      <a:gd name="connsiteX24" fmla="*/ 1454952 w 1613832"/>
                      <a:gd name="connsiteY24" fmla="*/ 1401541 h 1522053"/>
                      <a:gd name="connsiteX25" fmla="*/ 1346303 w 1613832"/>
                      <a:gd name="connsiteY25" fmla="*/ 1522053 h 1522053"/>
                      <a:gd name="connsiteX26" fmla="*/ 1338255 w 1613832"/>
                      <a:gd name="connsiteY26" fmla="*/ 1522053 h 1522053"/>
                      <a:gd name="connsiteX27" fmla="*/ 1153147 w 1613832"/>
                      <a:gd name="connsiteY27" fmla="*/ 1433677 h 1522053"/>
                      <a:gd name="connsiteX28" fmla="*/ 1130579 w 1613832"/>
                      <a:gd name="connsiteY28" fmla="*/ 1438356 h 1522053"/>
                      <a:gd name="connsiteX29" fmla="*/ 1115337 w 1613832"/>
                      <a:gd name="connsiteY29" fmla="*/ 1366372 h 1522053"/>
                      <a:gd name="connsiteX30" fmla="*/ 1163788 w 1613832"/>
                      <a:gd name="connsiteY30" fmla="*/ 1326605 h 1522053"/>
                      <a:gd name="connsiteX31" fmla="*/ 1347577 w 1613832"/>
                      <a:gd name="connsiteY31" fmla="*/ 885207 h 1522053"/>
                      <a:gd name="connsiteX32" fmla="*/ 720082 w 1613832"/>
                      <a:gd name="connsiteY32" fmla="*/ 260977 h 1522053"/>
                      <a:gd name="connsiteX33" fmla="*/ 199753 w 1613832"/>
                      <a:gd name="connsiteY33" fmla="*/ 536194 h 1522053"/>
                      <a:gd name="connsiteX34" fmla="*/ 165635 w 1613832"/>
                      <a:gd name="connsiteY34" fmla="*/ 591907 h 1522053"/>
                      <a:gd name="connsiteX35" fmla="*/ 97073 w 1613832"/>
                      <a:gd name="connsiteY35" fmla="*/ 583476 h 1522053"/>
                      <a:gd name="connsiteX36" fmla="*/ 110914 w 1613832"/>
                      <a:gd name="connsiteY36" fmla="*/ 549921 h 1522053"/>
                      <a:gd name="connsiteX37" fmla="*/ 3981 w 1613832"/>
                      <a:gd name="connsiteY37" fmla="*/ 385060 h 1522053"/>
                      <a:gd name="connsiteX38" fmla="*/ 2264 w 1613832"/>
                      <a:gd name="connsiteY38" fmla="*/ 365136 h 1522053"/>
                      <a:gd name="connsiteX39" fmla="*/ 101635 w 1613832"/>
                      <a:gd name="connsiteY39" fmla="*/ 245749 h 1522053"/>
                      <a:gd name="connsiteX40" fmla="*/ 117724 w 1613832"/>
                      <a:gd name="connsiteY40" fmla="*/ 245692 h 1522053"/>
                      <a:gd name="connsiteX41" fmla="*/ 300045 w 1613832"/>
                      <a:gd name="connsiteY41" fmla="*/ 328982 h 1522053"/>
                      <a:gd name="connsiteX42" fmla="*/ 360406 w 1613832"/>
                      <a:gd name="connsiteY42" fmla="*/ 288811 h 1522053"/>
                      <a:gd name="connsiteX43" fmla="*/ 348876 w 1613832"/>
                      <a:gd name="connsiteY43" fmla="*/ 92939 h 1522053"/>
                      <a:gd name="connsiteX44" fmla="*/ 356911 w 1613832"/>
                      <a:gd name="connsiteY44" fmla="*/ 78474 h 1522053"/>
                      <a:gd name="connsiteX45" fmla="*/ 500934 w 1613832"/>
                      <a:gd name="connsiteY45" fmla="*/ 25615 h 1522053"/>
                      <a:gd name="connsiteX46" fmla="*/ 518685 w 1613832"/>
                      <a:gd name="connsiteY46" fmla="*/ 29414 h 1522053"/>
                      <a:gd name="connsiteX47" fmla="*/ 630019 w 1613832"/>
                      <a:gd name="connsiteY47" fmla="*/ 196418 h 1522053"/>
                      <a:gd name="connsiteX48" fmla="*/ 706476 w 1613832"/>
                      <a:gd name="connsiteY48" fmla="*/ 188384 h 1522053"/>
                      <a:gd name="connsiteX49" fmla="*/ 796675 w 1613832"/>
                      <a:gd name="connsiteY49" fmla="*/ 8690 h 1522053"/>
                      <a:gd name="connsiteX50" fmla="*/ 810828 w 1613832"/>
                      <a:gd name="connsiteY50" fmla="*/ 222 h 1522053"/>
                      <a:gd name="connsiteX0" fmla="*/ 810828 w 1613459"/>
                      <a:gd name="connsiteY0" fmla="*/ 222 h 1522053"/>
                      <a:gd name="connsiteX1" fmla="*/ 963593 w 1613459"/>
                      <a:gd name="connsiteY1" fmla="*/ 26793 h 1522053"/>
                      <a:gd name="connsiteX2" fmla="*/ 976465 w 1613459"/>
                      <a:gd name="connsiteY2" fmla="*/ 41896 h 1522053"/>
                      <a:gd name="connsiteX3" fmla="*/ 996209 w 1613459"/>
                      <a:gd name="connsiteY3" fmla="*/ 240606 h 1522053"/>
                      <a:gd name="connsiteX4" fmla="*/ 1060594 w 1613459"/>
                      <a:gd name="connsiteY4" fmla="*/ 276760 h 1522053"/>
                      <a:gd name="connsiteX5" fmla="*/ 1233629 w 1613459"/>
                      <a:gd name="connsiteY5" fmla="*/ 160265 h 1522053"/>
                      <a:gd name="connsiteX6" fmla="*/ 1251383 w 1613459"/>
                      <a:gd name="connsiteY6" fmla="*/ 165243 h 1522053"/>
                      <a:gd name="connsiteX7" fmla="*/ 1360742 w 1613459"/>
                      <a:gd name="connsiteY7" fmla="*/ 259731 h 1522053"/>
                      <a:gd name="connsiteX8" fmla="*/ 1366423 w 1613459"/>
                      <a:gd name="connsiteY8" fmla="*/ 276760 h 1522053"/>
                      <a:gd name="connsiteX9" fmla="*/ 1281918 w 1613459"/>
                      <a:gd name="connsiteY9" fmla="*/ 461545 h 1522053"/>
                      <a:gd name="connsiteX10" fmla="*/ 1322158 w 1613459"/>
                      <a:gd name="connsiteY10" fmla="*/ 521802 h 1522053"/>
                      <a:gd name="connsiteX11" fmla="*/ 1520965 w 1613459"/>
                      <a:gd name="connsiteY11" fmla="*/ 506918 h 1522053"/>
                      <a:gd name="connsiteX12" fmla="*/ 1535434 w 1613459"/>
                      <a:gd name="connsiteY12" fmla="*/ 517784 h 1522053"/>
                      <a:gd name="connsiteX13" fmla="*/ 1590322 w 1613459"/>
                      <a:gd name="connsiteY13" fmla="*/ 661864 h 1522053"/>
                      <a:gd name="connsiteX14" fmla="*/ 1581046 w 1613459"/>
                      <a:gd name="connsiteY14" fmla="*/ 680237 h 1522053"/>
                      <a:gd name="connsiteX15" fmla="*/ 1418736 w 1613459"/>
                      <a:gd name="connsiteY15" fmla="*/ 790945 h 1522053"/>
                      <a:gd name="connsiteX16" fmla="*/ 1422760 w 1613459"/>
                      <a:gd name="connsiteY16" fmla="*/ 867270 h 1522053"/>
                      <a:gd name="connsiteX17" fmla="*/ 1611891 w 1613459"/>
                      <a:gd name="connsiteY17" fmla="*/ 959663 h 1522053"/>
                      <a:gd name="connsiteX18" fmla="*/ 1613459 w 1613459"/>
                      <a:gd name="connsiteY18" fmla="*/ 980341 h 1522053"/>
                      <a:gd name="connsiteX19" fmla="*/ 1586393 w 1613459"/>
                      <a:gd name="connsiteY19" fmla="*/ 1112201 h 1522053"/>
                      <a:gd name="connsiteX20" fmla="*/ 1575675 w 1613459"/>
                      <a:gd name="connsiteY20" fmla="*/ 1132397 h 1522053"/>
                      <a:gd name="connsiteX21" fmla="*/ 1374471 w 1613459"/>
                      <a:gd name="connsiteY21" fmla="*/ 1148465 h 1522053"/>
                      <a:gd name="connsiteX22" fmla="*/ 1338255 w 1613459"/>
                      <a:gd name="connsiteY22" fmla="*/ 1220772 h 1522053"/>
                      <a:gd name="connsiteX23" fmla="*/ 1454952 w 1613459"/>
                      <a:gd name="connsiteY23" fmla="*/ 1389489 h 1522053"/>
                      <a:gd name="connsiteX24" fmla="*/ 1454952 w 1613459"/>
                      <a:gd name="connsiteY24" fmla="*/ 1401541 h 1522053"/>
                      <a:gd name="connsiteX25" fmla="*/ 1346303 w 1613459"/>
                      <a:gd name="connsiteY25" fmla="*/ 1522053 h 1522053"/>
                      <a:gd name="connsiteX26" fmla="*/ 1338255 w 1613459"/>
                      <a:gd name="connsiteY26" fmla="*/ 1522053 h 1522053"/>
                      <a:gd name="connsiteX27" fmla="*/ 1153147 w 1613459"/>
                      <a:gd name="connsiteY27" fmla="*/ 1433677 h 1522053"/>
                      <a:gd name="connsiteX28" fmla="*/ 1130579 w 1613459"/>
                      <a:gd name="connsiteY28" fmla="*/ 1438356 h 1522053"/>
                      <a:gd name="connsiteX29" fmla="*/ 1115337 w 1613459"/>
                      <a:gd name="connsiteY29" fmla="*/ 1366372 h 1522053"/>
                      <a:gd name="connsiteX30" fmla="*/ 1163788 w 1613459"/>
                      <a:gd name="connsiteY30" fmla="*/ 1326605 h 1522053"/>
                      <a:gd name="connsiteX31" fmla="*/ 1347577 w 1613459"/>
                      <a:gd name="connsiteY31" fmla="*/ 885207 h 1522053"/>
                      <a:gd name="connsiteX32" fmla="*/ 720082 w 1613459"/>
                      <a:gd name="connsiteY32" fmla="*/ 260977 h 1522053"/>
                      <a:gd name="connsiteX33" fmla="*/ 199753 w 1613459"/>
                      <a:gd name="connsiteY33" fmla="*/ 536194 h 1522053"/>
                      <a:gd name="connsiteX34" fmla="*/ 165635 w 1613459"/>
                      <a:gd name="connsiteY34" fmla="*/ 591907 h 1522053"/>
                      <a:gd name="connsiteX35" fmla="*/ 97073 w 1613459"/>
                      <a:gd name="connsiteY35" fmla="*/ 583476 h 1522053"/>
                      <a:gd name="connsiteX36" fmla="*/ 110914 w 1613459"/>
                      <a:gd name="connsiteY36" fmla="*/ 549921 h 1522053"/>
                      <a:gd name="connsiteX37" fmla="*/ 3981 w 1613459"/>
                      <a:gd name="connsiteY37" fmla="*/ 385060 h 1522053"/>
                      <a:gd name="connsiteX38" fmla="*/ 2264 w 1613459"/>
                      <a:gd name="connsiteY38" fmla="*/ 365136 h 1522053"/>
                      <a:gd name="connsiteX39" fmla="*/ 101635 w 1613459"/>
                      <a:gd name="connsiteY39" fmla="*/ 245749 h 1522053"/>
                      <a:gd name="connsiteX40" fmla="*/ 117724 w 1613459"/>
                      <a:gd name="connsiteY40" fmla="*/ 245692 h 1522053"/>
                      <a:gd name="connsiteX41" fmla="*/ 300045 w 1613459"/>
                      <a:gd name="connsiteY41" fmla="*/ 328982 h 1522053"/>
                      <a:gd name="connsiteX42" fmla="*/ 360406 w 1613459"/>
                      <a:gd name="connsiteY42" fmla="*/ 288811 h 1522053"/>
                      <a:gd name="connsiteX43" fmla="*/ 348876 w 1613459"/>
                      <a:gd name="connsiteY43" fmla="*/ 92939 h 1522053"/>
                      <a:gd name="connsiteX44" fmla="*/ 356911 w 1613459"/>
                      <a:gd name="connsiteY44" fmla="*/ 78474 h 1522053"/>
                      <a:gd name="connsiteX45" fmla="*/ 500934 w 1613459"/>
                      <a:gd name="connsiteY45" fmla="*/ 25615 h 1522053"/>
                      <a:gd name="connsiteX46" fmla="*/ 518685 w 1613459"/>
                      <a:gd name="connsiteY46" fmla="*/ 29414 h 1522053"/>
                      <a:gd name="connsiteX47" fmla="*/ 630019 w 1613459"/>
                      <a:gd name="connsiteY47" fmla="*/ 196418 h 1522053"/>
                      <a:gd name="connsiteX48" fmla="*/ 706476 w 1613459"/>
                      <a:gd name="connsiteY48" fmla="*/ 188384 h 1522053"/>
                      <a:gd name="connsiteX49" fmla="*/ 796675 w 1613459"/>
                      <a:gd name="connsiteY49" fmla="*/ 8690 h 1522053"/>
                      <a:gd name="connsiteX50" fmla="*/ 810828 w 1613459"/>
                      <a:gd name="connsiteY50" fmla="*/ 222 h 1522053"/>
                      <a:gd name="connsiteX0" fmla="*/ 810828 w 1613996"/>
                      <a:gd name="connsiteY0" fmla="*/ 222 h 1522053"/>
                      <a:gd name="connsiteX1" fmla="*/ 963593 w 1613996"/>
                      <a:gd name="connsiteY1" fmla="*/ 26793 h 1522053"/>
                      <a:gd name="connsiteX2" fmla="*/ 976465 w 1613996"/>
                      <a:gd name="connsiteY2" fmla="*/ 41896 h 1522053"/>
                      <a:gd name="connsiteX3" fmla="*/ 996209 w 1613996"/>
                      <a:gd name="connsiteY3" fmla="*/ 240606 h 1522053"/>
                      <a:gd name="connsiteX4" fmla="*/ 1060594 w 1613996"/>
                      <a:gd name="connsiteY4" fmla="*/ 276760 h 1522053"/>
                      <a:gd name="connsiteX5" fmla="*/ 1233629 w 1613996"/>
                      <a:gd name="connsiteY5" fmla="*/ 160265 h 1522053"/>
                      <a:gd name="connsiteX6" fmla="*/ 1251383 w 1613996"/>
                      <a:gd name="connsiteY6" fmla="*/ 165243 h 1522053"/>
                      <a:gd name="connsiteX7" fmla="*/ 1360742 w 1613996"/>
                      <a:gd name="connsiteY7" fmla="*/ 259731 h 1522053"/>
                      <a:gd name="connsiteX8" fmla="*/ 1366423 w 1613996"/>
                      <a:gd name="connsiteY8" fmla="*/ 276760 h 1522053"/>
                      <a:gd name="connsiteX9" fmla="*/ 1281918 w 1613996"/>
                      <a:gd name="connsiteY9" fmla="*/ 461545 h 1522053"/>
                      <a:gd name="connsiteX10" fmla="*/ 1322158 w 1613996"/>
                      <a:gd name="connsiteY10" fmla="*/ 521802 h 1522053"/>
                      <a:gd name="connsiteX11" fmla="*/ 1520965 w 1613996"/>
                      <a:gd name="connsiteY11" fmla="*/ 506918 h 1522053"/>
                      <a:gd name="connsiteX12" fmla="*/ 1535434 w 1613996"/>
                      <a:gd name="connsiteY12" fmla="*/ 517784 h 1522053"/>
                      <a:gd name="connsiteX13" fmla="*/ 1590322 w 1613996"/>
                      <a:gd name="connsiteY13" fmla="*/ 661864 h 1522053"/>
                      <a:gd name="connsiteX14" fmla="*/ 1581046 w 1613996"/>
                      <a:gd name="connsiteY14" fmla="*/ 680237 h 1522053"/>
                      <a:gd name="connsiteX15" fmla="*/ 1418736 w 1613996"/>
                      <a:gd name="connsiteY15" fmla="*/ 790945 h 1522053"/>
                      <a:gd name="connsiteX16" fmla="*/ 1422760 w 1613996"/>
                      <a:gd name="connsiteY16" fmla="*/ 867270 h 1522053"/>
                      <a:gd name="connsiteX17" fmla="*/ 1611891 w 1613996"/>
                      <a:gd name="connsiteY17" fmla="*/ 959663 h 1522053"/>
                      <a:gd name="connsiteX18" fmla="*/ 1613459 w 1613996"/>
                      <a:gd name="connsiteY18" fmla="*/ 980341 h 1522053"/>
                      <a:gd name="connsiteX19" fmla="*/ 1586393 w 1613996"/>
                      <a:gd name="connsiteY19" fmla="*/ 1112201 h 1522053"/>
                      <a:gd name="connsiteX20" fmla="*/ 1575675 w 1613996"/>
                      <a:gd name="connsiteY20" fmla="*/ 1132397 h 1522053"/>
                      <a:gd name="connsiteX21" fmla="*/ 1374471 w 1613996"/>
                      <a:gd name="connsiteY21" fmla="*/ 1148465 h 1522053"/>
                      <a:gd name="connsiteX22" fmla="*/ 1338255 w 1613996"/>
                      <a:gd name="connsiteY22" fmla="*/ 1220772 h 1522053"/>
                      <a:gd name="connsiteX23" fmla="*/ 1454952 w 1613996"/>
                      <a:gd name="connsiteY23" fmla="*/ 1389489 h 1522053"/>
                      <a:gd name="connsiteX24" fmla="*/ 1454952 w 1613996"/>
                      <a:gd name="connsiteY24" fmla="*/ 1401541 h 1522053"/>
                      <a:gd name="connsiteX25" fmla="*/ 1346303 w 1613996"/>
                      <a:gd name="connsiteY25" fmla="*/ 1522053 h 1522053"/>
                      <a:gd name="connsiteX26" fmla="*/ 1338255 w 1613996"/>
                      <a:gd name="connsiteY26" fmla="*/ 1522053 h 1522053"/>
                      <a:gd name="connsiteX27" fmla="*/ 1153147 w 1613996"/>
                      <a:gd name="connsiteY27" fmla="*/ 1433677 h 1522053"/>
                      <a:gd name="connsiteX28" fmla="*/ 1130579 w 1613996"/>
                      <a:gd name="connsiteY28" fmla="*/ 1438356 h 1522053"/>
                      <a:gd name="connsiteX29" fmla="*/ 1115337 w 1613996"/>
                      <a:gd name="connsiteY29" fmla="*/ 1366372 h 1522053"/>
                      <a:gd name="connsiteX30" fmla="*/ 1163788 w 1613996"/>
                      <a:gd name="connsiteY30" fmla="*/ 1326605 h 1522053"/>
                      <a:gd name="connsiteX31" fmla="*/ 1347577 w 1613996"/>
                      <a:gd name="connsiteY31" fmla="*/ 885207 h 1522053"/>
                      <a:gd name="connsiteX32" fmla="*/ 720082 w 1613996"/>
                      <a:gd name="connsiteY32" fmla="*/ 260977 h 1522053"/>
                      <a:gd name="connsiteX33" fmla="*/ 199753 w 1613996"/>
                      <a:gd name="connsiteY33" fmla="*/ 536194 h 1522053"/>
                      <a:gd name="connsiteX34" fmla="*/ 165635 w 1613996"/>
                      <a:gd name="connsiteY34" fmla="*/ 591907 h 1522053"/>
                      <a:gd name="connsiteX35" fmla="*/ 97073 w 1613996"/>
                      <a:gd name="connsiteY35" fmla="*/ 583476 h 1522053"/>
                      <a:gd name="connsiteX36" fmla="*/ 110914 w 1613996"/>
                      <a:gd name="connsiteY36" fmla="*/ 549921 h 1522053"/>
                      <a:gd name="connsiteX37" fmla="*/ 3981 w 1613996"/>
                      <a:gd name="connsiteY37" fmla="*/ 385060 h 1522053"/>
                      <a:gd name="connsiteX38" fmla="*/ 2264 w 1613996"/>
                      <a:gd name="connsiteY38" fmla="*/ 365136 h 1522053"/>
                      <a:gd name="connsiteX39" fmla="*/ 101635 w 1613996"/>
                      <a:gd name="connsiteY39" fmla="*/ 245749 h 1522053"/>
                      <a:gd name="connsiteX40" fmla="*/ 117724 w 1613996"/>
                      <a:gd name="connsiteY40" fmla="*/ 245692 h 1522053"/>
                      <a:gd name="connsiteX41" fmla="*/ 300045 w 1613996"/>
                      <a:gd name="connsiteY41" fmla="*/ 328982 h 1522053"/>
                      <a:gd name="connsiteX42" fmla="*/ 360406 w 1613996"/>
                      <a:gd name="connsiteY42" fmla="*/ 288811 h 1522053"/>
                      <a:gd name="connsiteX43" fmla="*/ 348876 w 1613996"/>
                      <a:gd name="connsiteY43" fmla="*/ 92939 h 1522053"/>
                      <a:gd name="connsiteX44" fmla="*/ 356911 w 1613996"/>
                      <a:gd name="connsiteY44" fmla="*/ 78474 h 1522053"/>
                      <a:gd name="connsiteX45" fmla="*/ 500934 w 1613996"/>
                      <a:gd name="connsiteY45" fmla="*/ 25615 h 1522053"/>
                      <a:gd name="connsiteX46" fmla="*/ 518685 w 1613996"/>
                      <a:gd name="connsiteY46" fmla="*/ 29414 h 1522053"/>
                      <a:gd name="connsiteX47" fmla="*/ 630019 w 1613996"/>
                      <a:gd name="connsiteY47" fmla="*/ 196418 h 1522053"/>
                      <a:gd name="connsiteX48" fmla="*/ 706476 w 1613996"/>
                      <a:gd name="connsiteY48" fmla="*/ 188384 h 1522053"/>
                      <a:gd name="connsiteX49" fmla="*/ 796675 w 1613996"/>
                      <a:gd name="connsiteY49" fmla="*/ 8690 h 1522053"/>
                      <a:gd name="connsiteX50" fmla="*/ 810828 w 1613996"/>
                      <a:gd name="connsiteY50" fmla="*/ 222 h 1522053"/>
                      <a:gd name="connsiteX0" fmla="*/ 810828 w 1614688"/>
                      <a:gd name="connsiteY0" fmla="*/ 222 h 1522053"/>
                      <a:gd name="connsiteX1" fmla="*/ 963593 w 1614688"/>
                      <a:gd name="connsiteY1" fmla="*/ 26793 h 1522053"/>
                      <a:gd name="connsiteX2" fmla="*/ 976465 w 1614688"/>
                      <a:gd name="connsiteY2" fmla="*/ 41896 h 1522053"/>
                      <a:gd name="connsiteX3" fmla="*/ 996209 w 1614688"/>
                      <a:gd name="connsiteY3" fmla="*/ 240606 h 1522053"/>
                      <a:gd name="connsiteX4" fmla="*/ 1060594 w 1614688"/>
                      <a:gd name="connsiteY4" fmla="*/ 276760 h 1522053"/>
                      <a:gd name="connsiteX5" fmla="*/ 1233629 w 1614688"/>
                      <a:gd name="connsiteY5" fmla="*/ 160265 h 1522053"/>
                      <a:gd name="connsiteX6" fmla="*/ 1251383 w 1614688"/>
                      <a:gd name="connsiteY6" fmla="*/ 165243 h 1522053"/>
                      <a:gd name="connsiteX7" fmla="*/ 1360742 w 1614688"/>
                      <a:gd name="connsiteY7" fmla="*/ 259731 h 1522053"/>
                      <a:gd name="connsiteX8" fmla="*/ 1366423 w 1614688"/>
                      <a:gd name="connsiteY8" fmla="*/ 276760 h 1522053"/>
                      <a:gd name="connsiteX9" fmla="*/ 1281918 w 1614688"/>
                      <a:gd name="connsiteY9" fmla="*/ 461545 h 1522053"/>
                      <a:gd name="connsiteX10" fmla="*/ 1322158 w 1614688"/>
                      <a:gd name="connsiteY10" fmla="*/ 521802 h 1522053"/>
                      <a:gd name="connsiteX11" fmla="*/ 1520965 w 1614688"/>
                      <a:gd name="connsiteY11" fmla="*/ 506918 h 1522053"/>
                      <a:gd name="connsiteX12" fmla="*/ 1535434 w 1614688"/>
                      <a:gd name="connsiteY12" fmla="*/ 517784 h 1522053"/>
                      <a:gd name="connsiteX13" fmla="*/ 1590322 w 1614688"/>
                      <a:gd name="connsiteY13" fmla="*/ 661864 h 1522053"/>
                      <a:gd name="connsiteX14" fmla="*/ 1581046 w 1614688"/>
                      <a:gd name="connsiteY14" fmla="*/ 680237 h 1522053"/>
                      <a:gd name="connsiteX15" fmla="*/ 1418736 w 1614688"/>
                      <a:gd name="connsiteY15" fmla="*/ 790945 h 1522053"/>
                      <a:gd name="connsiteX16" fmla="*/ 1422760 w 1614688"/>
                      <a:gd name="connsiteY16" fmla="*/ 867270 h 1522053"/>
                      <a:gd name="connsiteX17" fmla="*/ 1611891 w 1614688"/>
                      <a:gd name="connsiteY17" fmla="*/ 959663 h 1522053"/>
                      <a:gd name="connsiteX18" fmla="*/ 1613459 w 1614688"/>
                      <a:gd name="connsiteY18" fmla="*/ 980341 h 1522053"/>
                      <a:gd name="connsiteX19" fmla="*/ 1586393 w 1614688"/>
                      <a:gd name="connsiteY19" fmla="*/ 1112201 h 1522053"/>
                      <a:gd name="connsiteX20" fmla="*/ 1575675 w 1614688"/>
                      <a:gd name="connsiteY20" fmla="*/ 1132397 h 1522053"/>
                      <a:gd name="connsiteX21" fmla="*/ 1374471 w 1614688"/>
                      <a:gd name="connsiteY21" fmla="*/ 1148465 h 1522053"/>
                      <a:gd name="connsiteX22" fmla="*/ 1338255 w 1614688"/>
                      <a:gd name="connsiteY22" fmla="*/ 1220772 h 1522053"/>
                      <a:gd name="connsiteX23" fmla="*/ 1454952 w 1614688"/>
                      <a:gd name="connsiteY23" fmla="*/ 1389489 h 1522053"/>
                      <a:gd name="connsiteX24" fmla="*/ 1454952 w 1614688"/>
                      <a:gd name="connsiteY24" fmla="*/ 1401541 h 1522053"/>
                      <a:gd name="connsiteX25" fmla="*/ 1346303 w 1614688"/>
                      <a:gd name="connsiteY25" fmla="*/ 1522053 h 1522053"/>
                      <a:gd name="connsiteX26" fmla="*/ 1338255 w 1614688"/>
                      <a:gd name="connsiteY26" fmla="*/ 1522053 h 1522053"/>
                      <a:gd name="connsiteX27" fmla="*/ 1153147 w 1614688"/>
                      <a:gd name="connsiteY27" fmla="*/ 1433677 h 1522053"/>
                      <a:gd name="connsiteX28" fmla="*/ 1130579 w 1614688"/>
                      <a:gd name="connsiteY28" fmla="*/ 1438356 h 1522053"/>
                      <a:gd name="connsiteX29" fmla="*/ 1115337 w 1614688"/>
                      <a:gd name="connsiteY29" fmla="*/ 1366372 h 1522053"/>
                      <a:gd name="connsiteX30" fmla="*/ 1163788 w 1614688"/>
                      <a:gd name="connsiteY30" fmla="*/ 1326605 h 1522053"/>
                      <a:gd name="connsiteX31" fmla="*/ 1347577 w 1614688"/>
                      <a:gd name="connsiteY31" fmla="*/ 885207 h 1522053"/>
                      <a:gd name="connsiteX32" fmla="*/ 720082 w 1614688"/>
                      <a:gd name="connsiteY32" fmla="*/ 260977 h 1522053"/>
                      <a:gd name="connsiteX33" fmla="*/ 199753 w 1614688"/>
                      <a:gd name="connsiteY33" fmla="*/ 536194 h 1522053"/>
                      <a:gd name="connsiteX34" fmla="*/ 165635 w 1614688"/>
                      <a:gd name="connsiteY34" fmla="*/ 591907 h 1522053"/>
                      <a:gd name="connsiteX35" fmla="*/ 97073 w 1614688"/>
                      <a:gd name="connsiteY35" fmla="*/ 583476 h 1522053"/>
                      <a:gd name="connsiteX36" fmla="*/ 110914 w 1614688"/>
                      <a:gd name="connsiteY36" fmla="*/ 549921 h 1522053"/>
                      <a:gd name="connsiteX37" fmla="*/ 3981 w 1614688"/>
                      <a:gd name="connsiteY37" fmla="*/ 385060 h 1522053"/>
                      <a:gd name="connsiteX38" fmla="*/ 2264 w 1614688"/>
                      <a:gd name="connsiteY38" fmla="*/ 365136 h 1522053"/>
                      <a:gd name="connsiteX39" fmla="*/ 101635 w 1614688"/>
                      <a:gd name="connsiteY39" fmla="*/ 245749 h 1522053"/>
                      <a:gd name="connsiteX40" fmla="*/ 117724 w 1614688"/>
                      <a:gd name="connsiteY40" fmla="*/ 245692 h 1522053"/>
                      <a:gd name="connsiteX41" fmla="*/ 300045 w 1614688"/>
                      <a:gd name="connsiteY41" fmla="*/ 328982 h 1522053"/>
                      <a:gd name="connsiteX42" fmla="*/ 360406 w 1614688"/>
                      <a:gd name="connsiteY42" fmla="*/ 288811 h 1522053"/>
                      <a:gd name="connsiteX43" fmla="*/ 348876 w 1614688"/>
                      <a:gd name="connsiteY43" fmla="*/ 92939 h 1522053"/>
                      <a:gd name="connsiteX44" fmla="*/ 356911 w 1614688"/>
                      <a:gd name="connsiteY44" fmla="*/ 78474 h 1522053"/>
                      <a:gd name="connsiteX45" fmla="*/ 500934 w 1614688"/>
                      <a:gd name="connsiteY45" fmla="*/ 25615 h 1522053"/>
                      <a:gd name="connsiteX46" fmla="*/ 518685 w 1614688"/>
                      <a:gd name="connsiteY46" fmla="*/ 29414 h 1522053"/>
                      <a:gd name="connsiteX47" fmla="*/ 630019 w 1614688"/>
                      <a:gd name="connsiteY47" fmla="*/ 196418 h 1522053"/>
                      <a:gd name="connsiteX48" fmla="*/ 706476 w 1614688"/>
                      <a:gd name="connsiteY48" fmla="*/ 188384 h 1522053"/>
                      <a:gd name="connsiteX49" fmla="*/ 796675 w 1614688"/>
                      <a:gd name="connsiteY49" fmla="*/ 8690 h 1522053"/>
                      <a:gd name="connsiteX50" fmla="*/ 810828 w 1614688"/>
                      <a:gd name="connsiteY50" fmla="*/ 222 h 1522053"/>
                      <a:gd name="connsiteX0" fmla="*/ 810828 w 1613976"/>
                      <a:gd name="connsiteY0" fmla="*/ 222 h 1522053"/>
                      <a:gd name="connsiteX1" fmla="*/ 963593 w 1613976"/>
                      <a:gd name="connsiteY1" fmla="*/ 26793 h 1522053"/>
                      <a:gd name="connsiteX2" fmla="*/ 976465 w 1613976"/>
                      <a:gd name="connsiteY2" fmla="*/ 41896 h 1522053"/>
                      <a:gd name="connsiteX3" fmla="*/ 996209 w 1613976"/>
                      <a:gd name="connsiteY3" fmla="*/ 240606 h 1522053"/>
                      <a:gd name="connsiteX4" fmla="*/ 1060594 w 1613976"/>
                      <a:gd name="connsiteY4" fmla="*/ 276760 h 1522053"/>
                      <a:gd name="connsiteX5" fmla="*/ 1233629 w 1613976"/>
                      <a:gd name="connsiteY5" fmla="*/ 160265 h 1522053"/>
                      <a:gd name="connsiteX6" fmla="*/ 1251383 w 1613976"/>
                      <a:gd name="connsiteY6" fmla="*/ 165243 h 1522053"/>
                      <a:gd name="connsiteX7" fmla="*/ 1360742 w 1613976"/>
                      <a:gd name="connsiteY7" fmla="*/ 259731 h 1522053"/>
                      <a:gd name="connsiteX8" fmla="*/ 1366423 w 1613976"/>
                      <a:gd name="connsiteY8" fmla="*/ 276760 h 1522053"/>
                      <a:gd name="connsiteX9" fmla="*/ 1281918 w 1613976"/>
                      <a:gd name="connsiteY9" fmla="*/ 461545 h 1522053"/>
                      <a:gd name="connsiteX10" fmla="*/ 1322158 w 1613976"/>
                      <a:gd name="connsiteY10" fmla="*/ 521802 h 1522053"/>
                      <a:gd name="connsiteX11" fmla="*/ 1520965 w 1613976"/>
                      <a:gd name="connsiteY11" fmla="*/ 506918 h 1522053"/>
                      <a:gd name="connsiteX12" fmla="*/ 1535434 w 1613976"/>
                      <a:gd name="connsiteY12" fmla="*/ 517784 h 1522053"/>
                      <a:gd name="connsiteX13" fmla="*/ 1590322 w 1613976"/>
                      <a:gd name="connsiteY13" fmla="*/ 661864 h 1522053"/>
                      <a:gd name="connsiteX14" fmla="*/ 1581046 w 1613976"/>
                      <a:gd name="connsiteY14" fmla="*/ 680237 h 1522053"/>
                      <a:gd name="connsiteX15" fmla="*/ 1418736 w 1613976"/>
                      <a:gd name="connsiteY15" fmla="*/ 790945 h 1522053"/>
                      <a:gd name="connsiteX16" fmla="*/ 1422760 w 1613976"/>
                      <a:gd name="connsiteY16" fmla="*/ 867270 h 1522053"/>
                      <a:gd name="connsiteX17" fmla="*/ 1608890 w 1613976"/>
                      <a:gd name="connsiteY17" fmla="*/ 958111 h 1522053"/>
                      <a:gd name="connsiteX18" fmla="*/ 1613459 w 1613976"/>
                      <a:gd name="connsiteY18" fmla="*/ 980341 h 1522053"/>
                      <a:gd name="connsiteX19" fmla="*/ 1586393 w 1613976"/>
                      <a:gd name="connsiteY19" fmla="*/ 1112201 h 1522053"/>
                      <a:gd name="connsiteX20" fmla="*/ 1575675 w 1613976"/>
                      <a:gd name="connsiteY20" fmla="*/ 1132397 h 1522053"/>
                      <a:gd name="connsiteX21" fmla="*/ 1374471 w 1613976"/>
                      <a:gd name="connsiteY21" fmla="*/ 1148465 h 1522053"/>
                      <a:gd name="connsiteX22" fmla="*/ 1338255 w 1613976"/>
                      <a:gd name="connsiteY22" fmla="*/ 1220772 h 1522053"/>
                      <a:gd name="connsiteX23" fmla="*/ 1454952 w 1613976"/>
                      <a:gd name="connsiteY23" fmla="*/ 1389489 h 1522053"/>
                      <a:gd name="connsiteX24" fmla="*/ 1454952 w 1613976"/>
                      <a:gd name="connsiteY24" fmla="*/ 1401541 h 1522053"/>
                      <a:gd name="connsiteX25" fmla="*/ 1346303 w 1613976"/>
                      <a:gd name="connsiteY25" fmla="*/ 1522053 h 1522053"/>
                      <a:gd name="connsiteX26" fmla="*/ 1338255 w 1613976"/>
                      <a:gd name="connsiteY26" fmla="*/ 1522053 h 1522053"/>
                      <a:gd name="connsiteX27" fmla="*/ 1153147 w 1613976"/>
                      <a:gd name="connsiteY27" fmla="*/ 1433677 h 1522053"/>
                      <a:gd name="connsiteX28" fmla="*/ 1130579 w 1613976"/>
                      <a:gd name="connsiteY28" fmla="*/ 1438356 h 1522053"/>
                      <a:gd name="connsiteX29" fmla="*/ 1115337 w 1613976"/>
                      <a:gd name="connsiteY29" fmla="*/ 1366372 h 1522053"/>
                      <a:gd name="connsiteX30" fmla="*/ 1163788 w 1613976"/>
                      <a:gd name="connsiteY30" fmla="*/ 1326605 h 1522053"/>
                      <a:gd name="connsiteX31" fmla="*/ 1347577 w 1613976"/>
                      <a:gd name="connsiteY31" fmla="*/ 885207 h 1522053"/>
                      <a:gd name="connsiteX32" fmla="*/ 720082 w 1613976"/>
                      <a:gd name="connsiteY32" fmla="*/ 260977 h 1522053"/>
                      <a:gd name="connsiteX33" fmla="*/ 199753 w 1613976"/>
                      <a:gd name="connsiteY33" fmla="*/ 536194 h 1522053"/>
                      <a:gd name="connsiteX34" fmla="*/ 165635 w 1613976"/>
                      <a:gd name="connsiteY34" fmla="*/ 591907 h 1522053"/>
                      <a:gd name="connsiteX35" fmla="*/ 97073 w 1613976"/>
                      <a:gd name="connsiteY35" fmla="*/ 583476 h 1522053"/>
                      <a:gd name="connsiteX36" fmla="*/ 110914 w 1613976"/>
                      <a:gd name="connsiteY36" fmla="*/ 549921 h 1522053"/>
                      <a:gd name="connsiteX37" fmla="*/ 3981 w 1613976"/>
                      <a:gd name="connsiteY37" fmla="*/ 385060 h 1522053"/>
                      <a:gd name="connsiteX38" fmla="*/ 2264 w 1613976"/>
                      <a:gd name="connsiteY38" fmla="*/ 365136 h 1522053"/>
                      <a:gd name="connsiteX39" fmla="*/ 101635 w 1613976"/>
                      <a:gd name="connsiteY39" fmla="*/ 245749 h 1522053"/>
                      <a:gd name="connsiteX40" fmla="*/ 117724 w 1613976"/>
                      <a:gd name="connsiteY40" fmla="*/ 245692 h 1522053"/>
                      <a:gd name="connsiteX41" fmla="*/ 300045 w 1613976"/>
                      <a:gd name="connsiteY41" fmla="*/ 328982 h 1522053"/>
                      <a:gd name="connsiteX42" fmla="*/ 360406 w 1613976"/>
                      <a:gd name="connsiteY42" fmla="*/ 288811 h 1522053"/>
                      <a:gd name="connsiteX43" fmla="*/ 348876 w 1613976"/>
                      <a:gd name="connsiteY43" fmla="*/ 92939 h 1522053"/>
                      <a:gd name="connsiteX44" fmla="*/ 356911 w 1613976"/>
                      <a:gd name="connsiteY44" fmla="*/ 78474 h 1522053"/>
                      <a:gd name="connsiteX45" fmla="*/ 500934 w 1613976"/>
                      <a:gd name="connsiteY45" fmla="*/ 25615 h 1522053"/>
                      <a:gd name="connsiteX46" fmla="*/ 518685 w 1613976"/>
                      <a:gd name="connsiteY46" fmla="*/ 29414 h 1522053"/>
                      <a:gd name="connsiteX47" fmla="*/ 630019 w 1613976"/>
                      <a:gd name="connsiteY47" fmla="*/ 196418 h 1522053"/>
                      <a:gd name="connsiteX48" fmla="*/ 706476 w 1613976"/>
                      <a:gd name="connsiteY48" fmla="*/ 188384 h 1522053"/>
                      <a:gd name="connsiteX49" fmla="*/ 796675 w 1613976"/>
                      <a:gd name="connsiteY49" fmla="*/ 8690 h 1522053"/>
                      <a:gd name="connsiteX50" fmla="*/ 810828 w 1613976"/>
                      <a:gd name="connsiteY50" fmla="*/ 222 h 1522053"/>
                      <a:gd name="connsiteX0" fmla="*/ 810828 w 1614260"/>
                      <a:gd name="connsiteY0" fmla="*/ 222 h 1522053"/>
                      <a:gd name="connsiteX1" fmla="*/ 963593 w 1614260"/>
                      <a:gd name="connsiteY1" fmla="*/ 26793 h 1522053"/>
                      <a:gd name="connsiteX2" fmla="*/ 976465 w 1614260"/>
                      <a:gd name="connsiteY2" fmla="*/ 41896 h 1522053"/>
                      <a:gd name="connsiteX3" fmla="*/ 996209 w 1614260"/>
                      <a:gd name="connsiteY3" fmla="*/ 240606 h 1522053"/>
                      <a:gd name="connsiteX4" fmla="*/ 1060594 w 1614260"/>
                      <a:gd name="connsiteY4" fmla="*/ 276760 h 1522053"/>
                      <a:gd name="connsiteX5" fmla="*/ 1233629 w 1614260"/>
                      <a:gd name="connsiteY5" fmla="*/ 160265 h 1522053"/>
                      <a:gd name="connsiteX6" fmla="*/ 1251383 w 1614260"/>
                      <a:gd name="connsiteY6" fmla="*/ 165243 h 1522053"/>
                      <a:gd name="connsiteX7" fmla="*/ 1360742 w 1614260"/>
                      <a:gd name="connsiteY7" fmla="*/ 259731 h 1522053"/>
                      <a:gd name="connsiteX8" fmla="*/ 1366423 w 1614260"/>
                      <a:gd name="connsiteY8" fmla="*/ 276760 h 1522053"/>
                      <a:gd name="connsiteX9" fmla="*/ 1281918 w 1614260"/>
                      <a:gd name="connsiteY9" fmla="*/ 461545 h 1522053"/>
                      <a:gd name="connsiteX10" fmla="*/ 1322158 w 1614260"/>
                      <a:gd name="connsiteY10" fmla="*/ 521802 h 1522053"/>
                      <a:gd name="connsiteX11" fmla="*/ 1520965 w 1614260"/>
                      <a:gd name="connsiteY11" fmla="*/ 506918 h 1522053"/>
                      <a:gd name="connsiteX12" fmla="*/ 1535434 w 1614260"/>
                      <a:gd name="connsiteY12" fmla="*/ 517784 h 1522053"/>
                      <a:gd name="connsiteX13" fmla="*/ 1590322 w 1614260"/>
                      <a:gd name="connsiteY13" fmla="*/ 661864 h 1522053"/>
                      <a:gd name="connsiteX14" fmla="*/ 1581046 w 1614260"/>
                      <a:gd name="connsiteY14" fmla="*/ 680237 h 1522053"/>
                      <a:gd name="connsiteX15" fmla="*/ 1418736 w 1614260"/>
                      <a:gd name="connsiteY15" fmla="*/ 790945 h 1522053"/>
                      <a:gd name="connsiteX16" fmla="*/ 1422760 w 1614260"/>
                      <a:gd name="connsiteY16" fmla="*/ 867270 h 1522053"/>
                      <a:gd name="connsiteX17" fmla="*/ 1608890 w 1614260"/>
                      <a:gd name="connsiteY17" fmla="*/ 958111 h 1522053"/>
                      <a:gd name="connsiteX18" fmla="*/ 1613459 w 1614260"/>
                      <a:gd name="connsiteY18" fmla="*/ 980341 h 1522053"/>
                      <a:gd name="connsiteX19" fmla="*/ 1586393 w 1614260"/>
                      <a:gd name="connsiteY19" fmla="*/ 1112201 h 1522053"/>
                      <a:gd name="connsiteX20" fmla="*/ 1575675 w 1614260"/>
                      <a:gd name="connsiteY20" fmla="*/ 1132397 h 1522053"/>
                      <a:gd name="connsiteX21" fmla="*/ 1374471 w 1614260"/>
                      <a:gd name="connsiteY21" fmla="*/ 1148465 h 1522053"/>
                      <a:gd name="connsiteX22" fmla="*/ 1338255 w 1614260"/>
                      <a:gd name="connsiteY22" fmla="*/ 1220772 h 1522053"/>
                      <a:gd name="connsiteX23" fmla="*/ 1454952 w 1614260"/>
                      <a:gd name="connsiteY23" fmla="*/ 1389489 h 1522053"/>
                      <a:gd name="connsiteX24" fmla="*/ 1454952 w 1614260"/>
                      <a:gd name="connsiteY24" fmla="*/ 1401541 h 1522053"/>
                      <a:gd name="connsiteX25" fmla="*/ 1346303 w 1614260"/>
                      <a:gd name="connsiteY25" fmla="*/ 1522053 h 1522053"/>
                      <a:gd name="connsiteX26" fmla="*/ 1338255 w 1614260"/>
                      <a:gd name="connsiteY26" fmla="*/ 1522053 h 1522053"/>
                      <a:gd name="connsiteX27" fmla="*/ 1153147 w 1614260"/>
                      <a:gd name="connsiteY27" fmla="*/ 1433677 h 1522053"/>
                      <a:gd name="connsiteX28" fmla="*/ 1130579 w 1614260"/>
                      <a:gd name="connsiteY28" fmla="*/ 1438356 h 1522053"/>
                      <a:gd name="connsiteX29" fmla="*/ 1115337 w 1614260"/>
                      <a:gd name="connsiteY29" fmla="*/ 1366372 h 1522053"/>
                      <a:gd name="connsiteX30" fmla="*/ 1163788 w 1614260"/>
                      <a:gd name="connsiteY30" fmla="*/ 1326605 h 1522053"/>
                      <a:gd name="connsiteX31" fmla="*/ 1347577 w 1614260"/>
                      <a:gd name="connsiteY31" fmla="*/ 885207 h 1522053"/>
                      <a:gd name="connsiteX32" fmla="*/ 720082 w 1614260"/>
                      <a:gd name="connsiteY32" fmla="*/ 260977 h 1522053"/>
                      <a:gd name="connsiteX33" fmla="*/ 199753 w 1614260"/>
                      <a:gd name="connsiteY33" fmla="*/ 536194 h 1522053"/>
                      <a:gd name="connsiteX34" fmla="*/ 165635 w 1614260"/>
                      <a:gd name="connsiteY34" fmla="*/ 591907 h 1522053"/>
                      <a:gd name="connsiteX35" fmla="*/ 97073 w 1614260"/>
                      <a:gd name="connsiteY35" fmla="*/ 583476 h 1522053"/>
                      <a:gd name="connsiteX36" fmla="*/ 110914 w 1614260"/>
                      <a:gd name="connsiteY36" fmla="*/ 549921 h 1522053"/>
                      <a:gd name="connsiteX37" fmla="*/ 3981 w 1614260"/>
                      <a:gd name="connsiteY37" fmla="*/ 385060 h 1522053"/>
                      <a:gd name="connsiteX38" fmla="*/ 2264 w 1614260"/>
                      <a:gd name="connsiteY38" fmla="*/ 365136 h 1522053"/>
                      <a:gd name="connsiteX39" fmla="*/ 101635 w 1614260"/>
                      <a:gd name="connsiteY39" fmla="*/ 245749 h 1522053"/>
                      <a:gd name="connsiteX40" fmla="*/ 117724 w 1614260"/>
                      <a:gd name="connsiteY40" fmla="*/ 245692 h 1522053"/>
                      <a:gd name="connsiteX41" fmla="*/ 300045 w 1614260"/>
                      <a:gd name="connsiteY41" fmla="*/ 328982 h 1522053"/>
                      <a:gd name="connsiteX42" fmla="*/ 360406 w 1614260"/>
                      <a:gd name="connsiteY42" fmla="*/ 288811 h 1522053"/>
                      <a:gd name="connsiteX43" fmla="*/ 348876 w 1614260"/>
                      <a:gd name="connsiteY43" fmla="*/ 92939 h 1522053"/>
                      <a:gd name="connsiteX44" fmla="*/ 356911 w 1614260"/>
                      <a:gd name="connsiteY44" fmla="*/ 78474 h 1522053"/>
                      <a:gd name="connsiteX45" fmla="*/ 500934 w 1614260"/>
                      <a:gd name="connsiteY45" fmla="*/ 25615 h 1522053"/>
                      <a:gd name="connsiteX46" fmla="*/ 518685 w 1614260"/>
                      <a:gd name="connsiteY46" fmla="*/ 29414 h 1522053"/>
                      <a:gd name="connsiteX47" fmla="*/ 630019 w 1614260"/>
                      <a:gd name="connsiteY47" fmla="*/ 196418 h 1522053"/>
                      <a:gd name="connsiteX48" fmla="*/ 706476 w 1614260"/>
                      <a:gd name="connsiteY48" fmla="*/ 188384 h 1522053"/>
                      <a:gd name="connsiteX49" fmla="*/ 796675 w 1614260"/>
                      <a:gd name="connsiteY49" fmla="*/ 8690 h 1522053"/>
                      <a:gd name="connsiteX50" fmla="*/ 810828 w 1614260"/>
                      <a:gd name="connsiteY50" fmla="*/ 222 h 1522053"/>
                      <a:gd name="connsiteX0" fmla="*/ 810828 w 1614545"/>
                      <a:gd name="connsiteY0" fmla="*/ 222 h 1522053"/>
                      <a:gd name="connsiteX1" fmla="*/ 963593 w 1614545"/>
                      <a:gd name="connsiteY1" fmla="*/ 26793 h 1522053"/>
                      <a:gd name="connsiteX2" fmla="*/ 976465 w 1614545"/>
                      <a:gd name="connsiteY2" fmla="*/ 41896 h 1522053"/>
                      <a:gd name="connsiteX3" fmla="*/ 996209 w 1614545"/>
                      <a:gd name="connsiteY3" fmla="*/ 240606 h 1522053"/>
                      <a:gd name="connsiteX4" fmla="*/ 1060594 w 1614545"/>
                      <a:gd name="connsiteY4" fmla="*/ 276760 h 1522053"/>
                      <a:gd name="connsiteX5" fmla="*/ 1233629 w 1614545"/>
                      <a:gd name="connsiteY5" fmla="*/ 160265 h 1522053"/>
                      <a:gd name="connsiteX6" fmla="*/ 1251383 w 1614545"/>
                      <a:gd name="connsiteY6" fmla="*/ 165243 h 1522053"/>
                      <a:gd name="connsiteX7" fmla="*/ 1360742 w 1614545"/>
                      <a:gd name="connsiteY7" fmla="*/ 259731 h 1522053"/>
                      <a:gd name="connsiteX8" fmla="*/ 1366423 w 1614545"/>
                      <a:gd name="connsiteY8" fmla="*/ 276760 h 1522053"/>
                      <a:gd name="connsiteX9" fmla="*/ 1281918 w 1614545"/>
                      <a:gd name="connsiteY9" fmla="*/ 461545 h 1522053"/>
                      <a:gd name="connsiteX10" fmla="*/ 1322158 w 1614545"/>
                      <a:gd name="connsiteY10" fmla="*/ 521802 h 1522053"/>
                      <a:gd name="connsiteX11" fmla="*/ 1520965 w 1614545"/>
                      <a:gd name="connsiteY11" fmla="*/ 506918 h 1522053"/>
                      <a:gd name="connsiteX12" fmla="*/ 1535434 w 1614545"/>
                      <a:gd name="connsiteY12" fmla="*/ 517784 h 1522053"/>
                      <a:gd name="connsiteX13" fmla="*/ 1590322 w 1614545"/>
                      <a:gd name="connsiteY13" fmla="*/ 661864 h 1522053"/>
                      <a:gd name="connsiteX14" fmla="*/ 1581046 w 1614545"/>
                      <a:gd name="connsiteY14" fmla="*/ 680237 h 1522053"/>
                      <a:gd name="connsiteX15" fmla="*/ 1418736 w 1614545"/>
                      <a:gd name="connsiteY15" fmla="*/ 790945 h 1522053"/>
                      <a:gd name="connsiteX16" fmla="*/ 1422760 w 1614545"/>
                      <a:gd name="connsiteY16" fmla="*/ 867270 h 1522053"/>
                      <a:gd name="connsiteX17" fmla="*/ 1608890 w 1614545"/>
                      <a:gd name="connsiteY17" fmla="*/ 958111 h 1522053"/>
                      <a:gd name="connsiteX18" fmla="*/ 1613459 w 1614545"/>
                      <a:gd name="connsiteY18" fmla="*/ 980341 h 1522053"/>
                      <a:gd name="connsiteX19" fmla="*/ 1586393 w 1614545"/>
                      <a:gd name="connsiteY19" fmla="*/ 1112201 h 1522053"/>
                      <a:gd name="connsiteX20" fmla="*/ 1575675 w 1614545"/>
                      <a:gd name="connsiteY20" fmla="*/ 1132397 h 1522053"/>
                      <a:gd name="connsiteX21" fmla="*/ 1374471 w 1614545"/>
                      <a:gd name="connsiteY21" fmla="*/ 1148465 h 1522053"/>
                      <a:gd name="connsiteX22" fmla="*/ 1338255 w 1614545"/>
                      <a:gd name="connsiteY22" fmla="*/ 1220772 h 1522053"/>
                      <a:gd name="connsiteX23" fmla="*/ 1454952 w 1614545"/>
                      <a:gd name="connsiteY23" fmla="*/ 1389489 h 1522053"/>
                      <a:gd name="connsiteX24" fmla="*/ 1454952 w 1614545"/>
                      <a:gd name="connsiteY24" fmla="*/ 1401541 h 1522053"/>
                      <a:gd name="connsiteX25" fmla="*/ 1346303 w 1614545"/>
                      <a:gd name="connsiteY25" fmla="*/ 1522053 h 1522053"/>
                      <a:gd name="connsiteX26" fmla="*/ 1338255 w 1614545"/>
                      <a:gd name="connsiteY26" fmla="*/ 1522053 h 1522053"/>
                      <a:gd name="connsiteX27" fmla="*/ 1153147 w 1614545"/>
                      <a:gd name="connsiteY27" fmla="*/ 1433677 h 1522053"/>
                      <a:gd name="connsiteX28" fmla="*/ 1130579 w 1614545"/>
                      <a:gd name="connsiteY28" fmla="*/ 1438356 h 1522053"/>
                      <a:gd name="connsiteX29" fmla="*/ 1115337 w 1614545"/>
                      <a:gd name="connsiteY29" fmla="*/ 1366372 h 1522053"/>
                      <a:gd name="connsiteX30" fmla="*/ 1163788 w 1614545"/>
                      <a:gd name="connsiteY30" fmla="*/ 1326605 h 1522053"/>
                      <a:gd name="connsiteX31" fmla="*/ 1347577 w 1614545"/>
                      <a:gd name="connsiteY31" fmla="*/ 885207 h 1522053"/>
                      <a:gd name="connsiteX32" fmla="*/ 720082 w 1614545"/>
                      <a:gd name="connsiteY32" fmla="*/ 260977 h 1522053"/>
                      <a:gd name="connsiteX33" fmla="*/ 199753 w 1614545"/>
                      <a:gd name="connsiteY33" fmla="*/ 536194 h 1522053"/>
                      <a:gd name="connsiteX34" fmla="*/ 165635 w 1614545"/>
                      <a:gd name="connsiteY34" fmla="*/ 591907 h 1522053"/>
                      <a:gd name="connsiteX35" fmla="*/ 97073 w 1614545"/>
                      <a:gd name="connsiteY35" fmla="*/ 583476 h 1522053"/>
                      <a:gd name="connsiteX36" fmla="*/ 110914 w 1614545"/>
                      <a:gd name="connsiteY36" fmla="*/ 549921 h 1522053"/>
                      <a:gd name="connsiteX37" fmla="*/ 3981 w 1614545"/>
                      <a:gd name="connsiteY37" fmla="*/ 385060 h 1522053"/>
                      <a:gd name="connsiteX38" fmla="*/ 2264 w 1614545"/>
                      <a:gd name="connsiteY38" fmla="*/ 365136 h 1522053"/>
                      <a:gd name="connsiteX39" fmla="*/ 101635 w 1614545"/>
                      <a:gd name="connsiteY39" fmla="*/ 245749 h 1522053"/>
                      <a:gd name="connsiteX40" fmla="*/ 117724 w 1614545"/>
                      <a:gd name="connsiteY40" fmla="*/ 245692 h 1522053"/>
                      <a:gd name="connsiteX41" fmla="*/ 300045 w 1614545"/>
                      <a:gd name="connsiteY41" fmla="*/ 328982 h 1522053"/>
                      <a:gd name="connsiteX42" fmla="*/ 360406 w 1614545"/>
                      <a:gd name="connsiteY42" fmla="*/ 288811 h 1522053"/>
                      <a:gd name="connsiteX43" fmla="*/ 348876 w 1614545"/>
                      <a:gd name="connsiteY43" fmla="*/ 92939 h 1522053"/>
                      <a:gd name="connsiteX44" fmla="*/ 356911 w 1614545"/>
                      <a:gd name="connsiteY44" fmla="*/ 78474 h 1522053"/>
                      <a:gd name="connsiteX45" fmla="*/ 500934 w 1614545"/>
                      <a:gd name="connsiteY45" fmla="*/ 25615 h 1522053"/>
                      <a:gd name="connsiteX46" fmla="*/ 518685 w 1614545"/>
                      <a:gd name="connsiteY46" fmla="*/ 29414 h 1522053"/>
                      <a:gd name="connsiteX47" fmla="*/ 630019 w 1614545"/>
                      <a:gd name="connsiteY47" fmla="*/ 196418 h 1522053"/>
                      <a:gd name="connsiteX48" fmla="*/ 706476 w 1614545"/>
                      <a:gd name="connsiteY48" fmla="*/ 188384 h 1522053"/>
                      <a:gd name="connsiteX49" fmla="*/ 796675 w 1614545"/>
                      <a:gd name="connsiteY49" fmla="*/ 8690 h 1522053"/>
                      <a:gd name="connsiteX50" fmla="*/ 810828 w 1614545"/>
                      <a:gd name="connsiteY50" fmla="*/ 222 h 1522053"/>
                      <a:gd name="connsiteX0" fmla="*/ 810828 w 1614024"/>
                      <a:gd name="connsiteY0" fmla="*/ 222 h 1522053"/>
                      <a:gd name="connsiteX1" fmla="*/ 963593 w 1614024"/>
                      <a:gd name="connsiteY1" fmla="*/ 26793 h 1522053"/>
                      <a:gd name="connsiteX2" fmla="*/ 976465 w 1614024"/>
                      <a:gd name="connsiteY2" fmla="*/ 41896 h 1522053"/>
                      <a:gd name="connsiteX3" fmla="*/ 996209 w 1614024"/>
                      <a:gd name="connsiteY3" fmla="*/ 240606 h 1522053"/>
                      <a:gd name="connsiteX4" fmla="*/ 1060594 w 1614024"/>
                      <a:gd name="connsiteY4" fmla="*/ 276760 h 1522053"/>
                      <a:gd name="connsiteX5" fmla="*/ 1233629 w 1614024"/>
                      <a:gd name="connsiteY5" fmla="*/ 160265 h 1522053"/>
                      <a:gd name="connsiteX6" fmla="*/ 1251383 w 1614024"/>
                      <a:gd name="connsiteY6" fmla="*/ 165243 h 1522053"/>
                      <a:gd name="connsiteX7" fmla="*/ 1360742 w 1614024"/>
                      <a:gd name="connsiteY7" fmla="*/ 259731 h 1522053"/>
                      <a:gd name="connsiteX8" fmla="*/ 1366423 w 1614024"/>
                      <a:gd name="connsiteY8" fmla="*/ 276760 h 1522053"/>
                      <a:gd name="connsiteX9" fmla="*/ 1281918 w 1614024"/>
                      <a:gd name="connsiteY9" fmla="*/ 461545 h 1522053"/>
                      <a:gd name="connsiteX10" fmla="*/ 1322158 w 1614024"/>
                      <a:gd name="connsiteY10" fmla="*/ 521802 h 1522053"/>
                      <a:gd name="connsiteX11" fmla="*/ 1520965 w 1614024"/>
                      <a:gd name="connsiteY11" fmla="*/ 506918 h 1522053"/>
                      <a:gd name="connsiteX12" fmla="*/ 1535434 w 1614024"/>
                      <a:gd name="connsiteY12" fmla="*/ 517784 h 1522053"/>
                      <a:gd name="connsiteX13" fmla="*/ 1590322 w 1614024"/>
                      <a:gd name="connsiteY13" fmla="*/ 661864 h 1522053"/>
                      <a:gd name="connsiteX14" fmla="*/ 1581046 w 1614024"/>
                      <a:gd name="connsiteY14" fmla="*/ 680237 h 1522053"/>
                      <a:gd name="connsiteX15" fmla="*/ 1418736 w 1614024"/>
                      <a:gd name="connsiteY15" fmla="*/ 790945 h 1522053"/>
                      <a:gd name="connsiteX16" fmla="*/ 1422760 w 1614024"/>
                      <a:gd name="connsiteY16" fmla="*/ 867270 h 1522053"/>
                      <a:gd name="connsiteX17" fmla="*/ 1608890 w 1614024"/>
                      <a:gd name="connsiteY17" fmla="*/ 958111 h 1522053"/>
                      <a:gd name="connsiteX18" fmla="*/ 1613459 w 1614024"/>
                      <a:gd name="connsiteY18" fmla="*/ 980341 h 1522053"/>
                      <a:gd name="connsiteX19" fmla="*/ 1586393 w 1614024"/>
                      <a:gd name="connsiteY19" fmla="*/ 1112201 h 1522053"/>
                      <a:gd name="connsiteX20" fmla="*/ 1575675 w 1614024"/>
                      <a:gd name="connsiteY20" fmla="*/ 1132397 h 1522053"/>
                      <a:gd name="connsiteX21" fmla="*/ 1374471 w 1614024"/>
                      <a:gd name="connsiteY21" fmla="*/ 1148465 h 1522053"/>
                      <a:gd name="connsiteX22" fmla="*/ 1338255 w 1614024"/>
                      <a:gd name="connsiteY22" fmla="*/ 1220772 h 1522053"/>
                      <a:gd name="connsiteX23" fmla="*/ 1454952 w 1614024"/>
                      <a:gd name="connsiteY23" fmla="*/ 1389489 h 1522053"/>
                      <a:gd name="connsiteX24" fmla="*/ 1454952 w 1614024"/>
                      <a:gd name="connsiteY24" fmla="*/ 1401541 h 1522053"/>
                      <a:gd name="connsiteX25" fmla="*/ 1346303 w 1614024"/>
                      <a:gd name="connsiteY25" fmla="*/ 1522053 h 1522053"/>
                      <a:gd name="connsiteX26" fmla="*/ 1338255 w 1614024"/>
                      <a:gd name="connsiteY26" fmla="*/ 1522053 h 1522053"/>
                      <a:gd name="connsiteX27" fmla="*/ 1153147 w 1614024"/>
                      <a:gd name="connsiteY27" fmla="*/ 1433677 h 1522053"/>
                      <a:gd name="connsiteX28" fmla="*/ 1130579 w 1614024"/>
                      <a:gd name="connsiteY28" fmla="*/ 1438356 h 1522053"/>
                      <a:gd name="connsiteX29" fmla="*/ 1115337 w 1614024"/>
                      <a:gd name="connsiteY29" fmla="*/ 1366372 h 1522053"/>
                      <a:gd name="connsiteX30" fmla="*/ 1163788 w 1614024"/>
                      <a:gd name="connsiteY30" fmla="*/ 1326605 h 1522053"/>
                      <a:gd name="connsiteX31" fmla="*/ 1347577 w 1614024"/>
                      <a:gd name="connsiteY31" fmla="*/ 885207 h 1522053"/>
                      <a:gd name="connsiteX32" fmla="*/ 720082 w 1614024"/>
                      <a:gd name="connsiteY32" fmla="*/ 260977 h 1522053"/>
                      <a:gd name="connsiteX33" fmla="*/ 199753 w 1614024"/>
                      <a:gd name="connsiteY33" fmla="*/ 536194 h 1522053"/>
                      <a:gd name="connsiteX34" fmla="*/ 165635 w 1614024"/>
                      <a:gd name="connsiteY34" fmla="*/ 591907 h 1522053"/>
                      <a:gd name="connsiteX35" fmla="*/ 97073 w 1614024"/>
                      <a:gd name="connsiteY35" fmla="*/ 583476 h 1522053"/>
                      <a:gd name="connsiteX36" fmla="*/ 110914 w 1614024"/>
                      <a:gd name="connsiteY36" fmla="*/ 549921 h 1522053"/>
                      <a:gd name="connsiteX37" fmla="*/ 3981 w 1614024"/>
                      <a:gd name="connsiteY37" fmla="*/ 385060 h 1522053"/>
                      <a:gd name="connsiteX38" fmla="*/ 2264 w 1614024"/>
                      <a:gd name="connsiteY38" fmla="*/ 365136 h 1522053"/>
                      <a:gd name="connsiteX39" fmla="*/ 101635 w 1614024"/>
                      <a:gd name="connsiteY39" fmla="*/ 245749 h 1522053"/>
                      <a:gd name="connsiteX40" fmla="*/ 117724 w 1614024"/>
                      <a:gd name="connsiteY40" fmla="*/ 245692 h 1522053"/>
                      <a:gd name="connsiteX41" fmla="*/ 300045 w 1614024"/>
                      <a:gd name="connsiteY41" fmla="*/ 328982 h 1522053"/>
                      <a:gd name="connsiteX42" fmla="*/ 360406 w 1614024"/>
                      <a:gd name="connsiteY42" fmla="*/ 288811 h 1522053"/>
                      <a:gd name="connsiteX43" fmla="*/ 348876 w 1614024"/>
                      <a:gd name="connsiteY43" fmla="*/ 92939 h 1522053"/>
                      <a:gd name="connsiteX44" fmla="*/ 356911 w 1614024"/>
                      <a:gd name="connsiteY44" fmla="*/ 78474 h 1522053"/>
                      <a:gd name="connsiteX45" fmla="*/ 500934 w 1614024"/>
                      <a:gd name="connsiteY45" fmla="*/ 25615 h 1522053"/>
                      <a:gd name="connsiteX46" fmla="*/ 518685 w 1614024"/>
                      <a:gd name="connsiteY46" fmla="*/ 29414 h 1522053"/>
                      <a:gd name="connsiteX47" fmla="*/ 630019 w 1614024"/>
                      <a:gd name="connsiteY47" fmla="*/ 196418 h 1522053"/>
                      <a:gd name="connsiteX48" fmla="*/ 706476 w 1614024"/>
                      <a:gd name="connsiteY48" fmla="*/ 188384 h 1522053"/>
                      <a:gd name="connsiteX49" fmla="*/ 796675 w 1614024"/>
                      <a:gd name="connsiteY49" fmla="*/ 8690 h 1522053"/>
                      <a:gd name="connsiteX50" fmla="*/ 810828 w 1614024"/>
                      <a:gd name="connsiteY50" fmla="*/ 222 h 1522053"/>
                      <a:gd name="connsiteX0" fmla="*/ 810828 w 1614361"/>
                      <a:gd name="connsiteY0" fmla="*/ 222 h 1522053"/>
                      <a:gd name="connsiteX1" fmla="*/ 963593 w 1614361"/>
                      <a:gd name="connsiteY1" fmla="*/ 26793 h 1522053"/>
                      <a:gd name="connsiteX2" fmla="*/ 976465 w 1614361"/>
                      <a:gd name="connsiteY2" fmla="*/ 41896 h 1522053"/>
                      <a:gd name="connsiteX3" fmla="*/ 996209 w 1614361"/>
                      <a:gd name="connsiteY3" fmla="*/ 240606 h 1522053"/>
                      <a:gd name="connsiteX4" fmla="*/ 1060594 w 1614361"/>
                      <a:gd name="connsiteY4" fmla="*/ 276760 h 1522053"/>
                      <a:gd name="connsiteX5" fmla="*/ 1233629 w 1614361"/>
                      <a:gd name="connsiteY5" fmla="*/ 160265 h 1522053"/>
                      <a:gd name="connsiteX6" fmla="*/ 1251383 w 1614361"/>
                      <a:gd name="connsiteY6" fmla="*/ 165243 h 1522053"/>
                      <a:gd name="connsiteX7" fmla="*/ 1360742 w 1614361"/>
                      <a:gd name="connsiteY7" fmla="*/ 259731 h 1522053"/>
                      <a:gd name="connsiteX8" fmla="*/ 1366423 w 1614361"/>
                      <a:gd name="connsiteY8" fmla="*/ 276760 h 1522053"/>
                      <a:gd name="connsiteX9" fmla="*/ 1281918 w 1614361"/>
                      <a:gd name="connsiteY9" fmla="*/ 461545 h 1522053"/>
                      <a:gd name="connsiteX10" fmla="*/ 1322158 w 1614361"/>
                      <a:gd name="connsiteY10" fmla="*/ 521802 h 1522053"/>
                      <a:gd name="connsiteX11" fmla="*/ 1520965 w 1614361"/>
                      <a:gd name="connsiteY11" fmla="*/ 506918 h 1522053"/>
                      <a:gd name="connsiteX12" fmla="*/ 1535434 w 1614361"/>
                      <a:gd name="connsiteY12" fmla="*/ 517784 h 1522053"/>
                      <a:gd name="connsiteX13" fmla="*/ 1590322 w 1614361"/>
                      <a:gd name="connsiteY13" fmla="*/ 661864 h 1522053"/>
                      <a:gd name="connsiteX14" fmla="*/ 1581046 w 1614361"/>
                      <a:gd name="connsiteY14" fmla="*/ 680237 h 1522053"/>
                      <a:gd name="connsiteX15" fmla="*/ 1418736 w 1614361"/>
                      <a:gd name="connsiteY15" fmla="*/ 790945 h 1522053"/>
                      <a:gd name="connsiteX16" fmla="*/ 1422760 w 1614361"/>
                      <a:gd name="connsiteY16" fmla="*/ 867270 h 1522053"/>
                      <a:gd name="connsiteX17" fmla="*/ 1608890 w 1614361"/>
                      <a:gd name="connsiteY17" fmla="*/ 958111 h 1522053"/>
                      <a:gd name="connsiteX18" fmla="*/ 1613459 w 1614361"/>
                      <a:gd name="connsiteY18" fmla="*/ 980341 h 1522053"/>
                      <a:gd name="connsiteX19" fmla="*/ 1586393 w 1614361"/>
                      <a:gd name="connsiteY19" fmla="*/ 1112201 h 1522053"/>
                      <a:gd name="connsiteX20" fmla="*/ 1575675 w 1614361"/>
                      <a:gd name="connsiteY20" fmla="*/ 1132397 h 1522053"/>
                      <a:gd name="connsiteX21" fmla="*/ 1374471 w 1614361"/>
                      <a:gd name="connsiteY21" fmla="*/ 1148465 h 1522053"/>
                      <a:gd name="connsiteX22" fmla="*/ 1338255 w 1614361"/>
                      <a:gd name="connsiteY22" fmla="*/ 1220772 h 1522053"/>
                      <a:gd name="connsiteX23" fmla="*/ 1454952 w 1614361"/>
                      <a:gd name="connsiteY23" fmla="*/ 1389489 h 1522053"/>
                      <a:gd name="connsiteX24" fmla="*/ 1454952 w 1614361"/>
                      <a:gd name="connsiteY24" fmla="*/ 1401541 h 1522053"/>
                      <a:gd name="connsiteX25" fmla="*/ 1346303 w 1614361"/>
                      <a:gd name="connsiteY25" fmla="*/ 1522053 h 1522053"/>
                      <a:gd name="connsiteX26" fmla="*/ 1338255 w 1614361"/>
                      <a:gd name="connsiteY26" fmla="*/ 1522053 h 1522053"/>
                      <a:gd name="connsiteX27" fmla="*/ 1153147 w 1614361"/>
                      <a:gd name="connsiteY27" fmla="*/ 1433677 h 1522053"/>
                      <a:gd name="connsiteX28" fmla="*/ 1130579 w 1614361"/>
                      <a:gd name="connsiteY28" fmla="*/ 1438356 h 1522053"/>
                      <a:gd name="connsiteX29" fmla="*/ 1115337 w 1614361"/>
                      <a:gd name="connsiteY29" fmla="*/ 1366372 h 1522053"/>
                      <a:gd name="connsiteX30" fmla="*/ 1163788 w 1614361"/>
                      <a:gd name="connsiteY30" fmla="*/ 1326605 h 1522053"/>
                      <a:gd name="connsiteX31" fmla="*/ 1347577 w 1614361"/>
                      <a:gd name="connsiteY31" fmla="*/ 885207 h 1522053"/>
                      <a:gd name="connsiteX32" fmla="*/ 720082 w 1614361"/>
                      <a:gd name="connsiteY32" fmla="*/ 260977 h 1522053"/>
                      <a:gd name="connsiteX33" fmla="*/ 199753 w 1614361"/>
                      <a:gd name="connsiteY33" fmla="*/ 536194 h 1522053"/>
                      <a:gd name="connsiteX34" fmla="*/ 165635 w 1614361"/>
                      <a:gd name="connsiteY34" fmla="*/ 591907 h 1522053"/>
                      <a:gd name="connsiteX35" fmla="*/ 97073 w 1614361"/>
                      <a:gd name="connsiteY35" fmla="*/ 583476 h 1522053"/>
                      <a:gd name="connsiteX36" fmla="*/ 110914 w 1614361"/>
                      <a:gd name="connsiteY36" fmla="*/ 549921 h 1522053"/>
                      <a:gd name="connsiteX37" fmla="*/ 3981 w 1614361"/>
                      <a:gd name="connsiteY37" fmla="*/ 385060 h 1522053"/>
                      <a:gd name="connsiteX38" fmla="*/ 2264 w 1614361"/>
                      <a:gd name="connsiteY38" fmla="*/ 365136 h 1522053"/>
                      <a:gd name="connsiteX39" fmla="*/ 101635 w 1614361"/>
                      <a:gd name="connsiteY39" fmla="*/ 245749 h 1522053"/>
                      <a:gd name="connsiteX40" fmla="*/ 117724 w 1614361"/>
                      <a:gd name="connsiteY40" fmla="*/ 245692 h 1522053"/>
                      <a:gd name="connsiteX41" fmla="*/ 300045 w 1614361"/>
                      <a:gd name="connsiteY41" fmla="*/ 328982 h 1522053"/>
                      <a:gd name="connsiteX42" fmla="*/ 360406 w 1614361"/>
                      <a:gd name="connsiteY42" fmla="*/ 288811 h 1522053"/>
                      <a:gd name="connsiteX43" fmla="*/ 348876 w 1614361"/>
                      <a:gd name="connsiteY43" fmla="*/ 92939 h 1522053"/>
                      <a:gd name="connsiteX44" fmla="*/ 356911 w 1614361"/>
                      <a:gd name="connsiteY44" fmla="*/ 78474 h 1522053"/>
                      <a:gd name="connsiteX45" fmla="*/ 500934 w 1614361"/>
                      <a:gd name="connsiteY45" fmla="*/ 25615 h 1522053"/>
                      <a:gd name="connsiteX46" fmla="*/ 518685 w 1614361"/>
                      <a:gd name="connsiteY46" fmla="*/ 29414 h 1522053"/>
                      <a:gd name="connsiteX47" fmla="*/ 630019 w 1614361"/>
                      <a:gd name="connsiteY47" fmla="*/ 196418 h 1522053"/>
                      <a:gd name="connsiteX48" fmla="*/ 706476 w 1614361"/>
                      <a:gd name="connsiteY48" fmla="*/ 188384 h 1522053"/>
                      <a:gd name="connsiteX49" fmla="*/ 796675 w 1614361"/>
                      <a:gd name="connsiteY49" fmla="*/ 8690 h 1522053"/>
                      <a:gd name="connsiteX50" fmla="*/ 810828 w 1614361"/>
                      <a:gd name="connsiteY50" fmla="*/ 222 h 1522053"/>
                      <a:gd name="connsiteX0" fmla="*/ 810828 w 1614361"/>
                      <a:gd name="connsiteY0" fmla="*/ 222 h 1522053"/>
                      <a:gd name="connsiteX1" fmla="*/ 963593 w 1614361"/>
                      <a:gd name="connsiteY1" fmla="*/ 26793 h 1522053"/>
                      <a:gd name="connsiteX2" fmla="*/ 976465 w 1614361"/>
                      <a:gd name="connsiteY2" fmla="*/ 41896 h 1522053"/>
                      <a:gd name="connsiteX3" fmla="*/ 996209 w 1614361"/>
                      <a:gd name="connsiteY3" fmla="*/ 240606 h 1522053"/>
                      <a:gd name="connsiteX4" fmla="*/ 1060594 w 1614361"/>
                      <a:gd name="connsiteY4" fmla="*/ 276760 h 1522053"/>
                      <a:gd name="connsiteX5" fmla="*/ 1233629 w 1614361"/>
                      <a:gd name="connsiteY5" fmla="*/ 160265 h 1522053"/>
                      <a:gd name="connsiteX6" fmla="*/ 1251383 w 1614361"/>
                      <a:gd name="connsiteY6" fmla="*/ 165243 h 1522053"/>
                      <a:gd name="connsiteX7" fmla="*/ 1360742 w 1614361"/>
                      <a:gd name="connsiteY7" fmla="*/ 259731 h 1522053"/>
                      <a:gd name="connsiteX8" fmla="*/ 1366423 w 1614361"/>
                      <a:gd name="connsiteY8" fmla="*/ 276760 h 1522053"/>
                      <a:gd name="connsiteX9" fmla="*/ 1281918 w 1614361"/>
                      <a:gd name="connsiteY9" fmla="*/ 461545 h 1522053"/>
                      <a:gd name="connsiteX10" fmla="*/ 1322158 w 1614361"/>
                      <a:gd name="connsiteY10" fmla="*/ 521802 h 1522053"/>
                      <a:gd name="connsiteX11" fmla="*/ 1520965 w 1614361"/>
                      <a:gd name="connsiteY11" fmla="*/ 506918 h 1522053"/>
                      <a:gd name="connsiteX12" fmla="*/ 1535434 w 1614361"/>
                      <a:gd name="connsiteY12" fmla="*/ 517784 h 1522053"/>
                      <a:gd name="connsiteX13" fmla="*/ 1590322 w 1614361"/>
                      <a:gd name="connsiteY13" fmla="*/ 661864 h 1522053"/>
                      <a:gd name="connsiteX14" fmla="*/ 1581046 w 1614361"/>
                      <a:gd name="connsiteY14" fmla="*/ 680237 h 1522053"/>
                      <a:gd name="connsiteX15" fmla="*/ 1418736 w 1614361"/>
                      <a:gd name="connsiteY15" fmla="*/ 790945 h 1522053"/>
                      <a:gd name="connsiteX16" fmla="*/ 1422760 w 1614361"/>
                      <a:gd name="connsiteY16" fmla="*/ 867270 h 1522053"/>
                      <a:gd name="connsiteX17" fmla="*/ 1608890 w 1614361"/>
                      <a:gd name="connsiteY17" fmla="*/ 958111 h 1522053"/>
                      <a:gd name="connsiteX18" fmla="*/ 1613459 w 1614361"/>
                      <a:gd name="connsiteY18" fmla="*/ 980341 h 1522053"/>
                      <a:gd name="connsiteX19" fmla="*/ 1586393 w 1614361"/>
                      <a:gd name="connsiteY19" fmla="*/ 1112201 h 1522053"/>
                      <a:gd name="connsiteX20" fmla="*/ 1575675 w 1614361"/>
                      <a:gd name="connsiteY20" fmla="*/ 1132397 h 1522053"/>
                      <a:gd name="connsiteX21" fmla="*/ 1374471 w 1614361"/>
                      <a:gd name="connsiteY21" fmla="*/ 1148465 h 1522053"/>
                      <a:gd name="connsiteX22" fmla="*/ 1338255 w 1614361"/>
                      <a:gd name="connsiteY22" fmla="*/ 1220772 h 1522053"/>
                      <a:gd name="connsiteX23" fmla="*/ 1454952 w 1614361"/>
                      <a:gd name="connsiteY23" fmla="*/ 1389489 h 1522053"/>
                      <a:gd name="connsiteX24" fmla="*/ 1454952 w 1614361"/>
                      <a:gd name="connsiteY24" fmla="*/ 1401541 h 1522053"/>
                      <a:gd name="connsiteX25" fmla="*/ 1346303 w 1614361"/>
                      <a:gd name="connsiteY25" fmla="*/ 1522053 h 1522053"/>
                      <a:gd name="connsiteX26" fmla="*/ 1325769 w 1614361"/>
                      <a:gd name="connsiteY26" fmla="*/ 1516061 h 1522053"/>
                      <a:gd name="connsiteX27" fmla="*/ 1153147 w 1614361"/>
                      <a:gd name="connsiteY27" fmla="*/ 1433677 h 1522053"/>
                      <a:gd name="connsiteX28" fmla="*/ 1130579 w 1614361"/>
                      <a:gd name="connsiteY28" fmla="*/ 1438356 h 1522053"/>
                      <a:gd name="connsiteX29" fmla="*/ 1115337 w 1614361"/>
                      <a:gd name="connsiteY29" fmla="*/ 1366372 h 1522053"/>
                      <a:gd name="connsiteX30" fmla="*/ 1163788 w 1614361"/>
                      <a:gd name="connsiteY30" fmla="*/ 1326605 h 1522053"/>
                      <a:gd name="connsiteX31" fmla="*/ 1347577 w 1614361"/>
                      <a:gd name="connsiteY31" fmla="*/ 885207 h 1522053"/>
                      <a:gd name="connsiteX32" fmla="*/ 720082 w 1614361"/>
                      <a:gd name="connsiteY32" fmla="*/ 260977 h 1522053"/>
                      <a:gd name="connsiteX33" fmla="*/ 199753 w 1614361"/>
                      <a:gd name="connsiteY33" fmla="*/ 536194 h 1522053"/>
                      <a:gd name="connsiteX34" fmla="*/ 165635 w 1614361"/>
                      <a:gd name="connsiteY34" fmla="*/ 591907 h 1522053"/>
                      <a:gd name="connsiteX35" fmla="*/ 97073 w 1614361"/>
                      <a:gd name="connsiteY35" fmla="*/ 583476 h 1522053"/>
                      <a:gd name="connsiteX36" fmla="*/ 110914 w 1614361"/>
                      <a:gd name="connsiteY36" fmla="*/ 549921 h 1522053"/>
                      <a:gd name="connsiteX37" fmla="*/ 3981 w 1614361"/>
                      <a:gd name="connsiteY37" fmla="*/ 385060 h 1522053"/>
                      <a:gd name="connsiteX38" fmla="*/ 2264 w 1614361"/>
                      <a:gd name="connsiteY38" fmla="*/ 365136 h 1522053"/>
                      <a:gd name="connsiteX39" fmla="*/ 101635 w 1614361"/>
                      <a:gd name="connsiteY39" fmla="*/ 245749 h 1522053"/>
                      <a:gd name="connsiteX40" fmla="*/ 117724 w 1614361"/>
                      <a:gd name="connsiteY40" fmla="*/ 245692 h 1522053"/>
                      <a:gd name="connsiteX41" fmla="*/ 300045 w 1614361"/>
                      <a:gd name="connsiteY41" fmla="*/ 328982 h 1522053"/>
                      <a:gd name="connsiteX42" fmla="*/ 360406 w 1614361"/>
                      <a:gd name="connsiteY42" fmla="*/ 288811 h 1522053"/>
                      <a:gd name="connsiteX43" fmla="*/ 348876 w 1614361"/>
                      <a:gd name="connsiteY43" fmla="*/ 92939 h 1522053"/>
                      <a:gd name="connsiteX44" fmla="*/ 356911 w 1614361"/>
                      <a:gd name="connsiteY44" fmla="*/ 78474 h 1522053"/>
                      <a:gd name="connsiteX45" fmla="*/ 500934 w 1614361"/>
                      <a:gd name="connsiteY45" fmla="*/ 25615 h 1522053"/>
                      <a:gd name="connsiteX46" fmla="*/ 518685 w 1614361"/>
                      <a:gd name="connsiteY46" fmla="*/ 29414 h 1522053"/>
                      <a:gd name="connsiteX47" fmla="*/ 630019 w 1614361"/>
                      <a:gd name="connsiteY47" fmla="*/ 196418 h 1522053"/>
                      <a:gd name="connsiteX48" fmla="*/ 706476 w 1614361"/>
                      <a:gd name="connsiteY48" fmla="*/ 188384 h 1522053"/>
                      <a:gd name="connsiteX49" fmla="*/ 796675 w 1614361"/>
                      <a:gd name="connsiteY49" fmla="*/ 8690 h 1522053"/>
                      <a:gd name="connsiteX50" fmla="*/ 810828 w 1614361"/>
                      <a:gd name="connsiteY50" fmla="*/ 222 h 1522053"/>
                      <a:gd name="connsiteX0" fmla="*/ 810828 w 1614361"/>
                      <a:gd name="connsiteY0" fmla="*/ 222 h 1516157"/>
                      <a:gd name="connsiteX1" fmla="*/ 963593 w 1614361"/>
                      <a:gd name="connsiteY1" fmla="*/ 26793 h 1516157"/>
                      <a:gd name="connsiteX2" fmla="*/ 976465 w 1614361"/>
                      <a:gd name="connsiteY2" fmla="*/ 41896 h 1516157"/>
                      <a:gd name="connsiteX3" fmla="*/ 996209 w 1614361"/>
                      <a:gd name="connsiteY3" fmla="*/ 240606 h 1516157"/>
                      <a:gd name="connsiteX4" fmla="*/ 1060594 w 1614361"/>
                      <a:gd name="connsiteY4" fmla="*/ 276760 h 1516157"/>
                      <a:gd name="connsiteX5" fmla="*/ 1233629 w 1614361"/>
                      <a:gd name="connsiteY5" fmla="*/ 160265 h 1516157"/>
                      <a:gd name="connsiteX6" fmla="*/ 1251383 w 1614361"/>
                      <a:gd name="connsiteY6" fmla="*/ 165243 h 1516157"/>
                      <a:gd name="connsiteX7" fmla="*/ 1360742 w 1614361"/>
                      <a:gd name="connsiteY7" fmla="*/ 259731 h 1516157"/>
                      <a:gd name="connsiteX8" fmla="*/ 1366423 w 1614361"/>
                      <a:gd name="connsiteY8" fmla="*/ 276760 h 1516157"/>
                      <a:gd name="connsiteX9" fmla="*/ 1281918 w 1614361"/>
                      <a:gd name="connsiteY9" fmla="*/ 461545 h 1516157"/>
                      <a:gd name="connsiteX10" fmla="*/ 1322158 w 1614361"/>
                      <a:gd name="connsiteY10" fmla="*/ 521802 h 1516157"/>
                      <a:gd name="connsiteX11" fmla="*/ 1520965 w 1614361"/>
                      <a:gd name="connsiteY11" fmla="*/ 506918 h 1516157"/>
                      <a:gd name="connsiteX12" fmla="*/ 1535434 w 1614361"/>
                      <a:gd name="connsiteY12" fmla="*/ 517784 h 1516157"/>
                      <a:gd name="connsiteX13" fmla="*/ 1590322 w 1614361"/>
                      <a:gd name="connsiteY13" fmla="*/ 661864 h 1516157"/>
                      <a:gd name="connsiteX14" fmla="*/ 1581046 w 1614361"/>
                      <a:gd name="connsiteY14" fmla="*/ 680237 h 1516157"/>
                      <a:gd name="connsiteX15" fmla="*/ 1418736 w 1614361"/>
                      <a:gd name="connsiteY15" fmla="*/ 790945 h 1516157"/>
                      <a:gd name="connsiteX16" fmla="*/ 1422760 w 1614361"/>
                      <a:gd name="connsiteY16" fmla="*/ 867270 h 1516157"/>
                      <a:gd name="connsiteX17" fmla="*/ 1608890 w 1614361"/>
                      <a:gd name="connsiteY17" fmla="*/ 958111 h 1516157"/>
                      <a:gd name="connsiteX18" fmla="*/ 1613459 w 1614361"/>
                      <a:gd name="connsiteY18" fmla="*/ 980341 h 1516157"/>
                      <a:gd name="connsiteX19" fmla="*/ 1586393 w 1614361"/>
                      <a:gd name="connsiteY19" fmla="*/ 1112201 h 1516157"/>
                      <a:gd name="connsiteX20" fmla="*/ 1575675 w 1614361"/>
                      <a:gd name="connsiteY20" fmla="*/ 1132397 h 1516157"/>
                      <a:gd name="connsiteX21" fmla="*/ 1374471 w 1614361"/>
                      <a:gd name="connsiteY21" fmla="*/ 1148465 h 1516157"/>
                      <a:gd name="connsiteX22" fmla="*/ 1338255 w 1614361"/>
                      <a:gd name="connsiteY22" fmla="*/ 1220772 h 1516157"/>
                      <a:gd name="connsiteX23" fmla="*/ 1454952 w 1614361"/>
                      <a:gd name="connsiteY23" fmla="*/ 1389489 h 1516157"/>
                      <a:gd name="connsiteX24" fmla="*/ 1454952 w 1614361"/>
                      <a:gd name="connsiteY24" fmla="*/ 1401541 h 1516157"/>
                      <a:gd name="connsiteX25" fmla="*/ 1351763 w 1614361"/>
                      <a:gd name="connsiteY25" fmla="*/ 1516157 h 1516157"/>
                      <a:gd name="connsiteX26" fmla="*/ 1325769 w 1614361"/>
                      <a:gd name="connsiteY26" fmla="*/ 1516061 h 1516157"/>
                      <a:gd name="connsiteX27" fmla="*/ 1153147 w 1614361"/>
                      <a:gd name="connsiteY27" fmla="*/ 1433677 h 1516157"/>
                      <a:gd name="connsiteX28" fmla="*/ 1130579 w 1614361"/>
                      <a:gd name="connsiteY28" fmla="*/ 1438356 h 1516157"/>
                      <a:gd name="connsiteX29" fmla="*/ 1115337 w 1614361"/>
                      <a:gd name="connsiteY29" fmla="*/ 1366372 h 1516157"/>
                      <a:gd name="connsiteX30" fmla="*/ 1163788 w 1614361"/>
                      <a:gd name="connsiteY30" fmla="*/ 1326605 h 1516157"/>
                      <a:gd name="connsiteX31" fmla="*/ 1347577 w 1614361"/>
                      <a:gd name="connsiteY31" fmla="*/ 885207 h 1516157"/>
                      <a:gd name="connsiteX32" fmla="*/ 720082 w 1614361"/>
                      <a:gd name="connsiteY32" fmla="*/ 260977 h 1516157"/>
                      <a:gd name="connsiteX33" fmla="*/ 199753 w 1614361"/>
                      <a:gd name="connsiteY33" fmla="*/ 536194 h 1516157"/>
                      <a:gd name="connsiteX34" fmla="*/ 165635 w 1614361"/>
                      <a:gd name="connsiteY34" fmla="*/ 591907 h 1516157"/>
                      <a:gd name="connsiteX35" fmla="*/ 97073 w 1614361"/>
                      <a:gd name="connsiteY35" fmla="*/ 583476 h 1516157"/>
                      <a:gd name="connsiteX36" fmla="*/ 110914 w 1614361"/>
                      <a:gd name="connsiteY36" fmla="*/ 549921 h 1516157"/>
                      <a:gd name="connsiteX37" fmla="*/ 3981 w 1614361"/>
                      <a:gd name="connsiteY37" fmla="*/ 385060 h 1516157"/>
                      <a:gd name="connsiteX38" fmla="*/ 2264 w 1614361"/>
                      <a:gd name="connsiteY38" fmla="*/ 365136 h 1516157"/>
                      <a:gd name="connsiteX39" fmla="*/ 101635 w 1614361"/>
                      <a:gd name="connsiteY39" fmla="*/ 245749 h 1516157"/>
                      <a:gd name="connsiteX40" fmla="*/ 117724 w 1614361"/>
                      <a:gd name="connsiteY40" fmla="*/ 245692 h 1516157"/>
                      <a:gd name="connsiteX41" fmla="*/ 300045 w 1614361"/>
                      <a:gd name="connsiteY41" fmla="*/ 328982 h 1516157"/>
                      <a:gd name="connsiteX42" fmla="*/ 360406 w 1614361"/>
                      <a:gd name="connsiteY42" fmla="*/ 288811 h 1516157"/>
                      <a:gd name="connsiteX43" fmla="*/ 348876 w 1614361"/>
                      <a:gd name="connsiteY43" fmla="*/ 92939 h 1516157"/>
                      <a:gd name="connsiteX44" fmla="*/ 356911 w 1614361"/>
                      <a:gd name="connsiteY44" fmla="*/ 78474 h 1516157"/>
                      <a:gd name="connsiteX45" fmla="*/ 500934 w 1614361"/>
                      <a:gd name="connsiteY45" fmla="*/ 25615 h 1516157"/>
                      <a:gd name="connsiteX46" fmla="*/ 518685 w 1614361"/>
                      <a:gd name="connsiteY46" fmla="*/ 29414 h 1516157"/>
                      <a:gd name="connsiteX47" fmla="*/ 630019 w 1614361"/>
                      <a:gd name="connsiteY47" fmla="*/ 196418 h 1516157"/>
                      <a:gd name="connsiteX48" fmla="*/ 706476 w 1614361"/>
                      <a:gd name="connsiteY48" fmla="*/ 188384 h 1516157"/>
                      <a:gd name="connsiteX49" fmla="*/ 796675 w 1614361"/>
                      <a:gd name="connsiteY49" fmla="*/ 8690 h 1516157"/>
                      <a:gd name="connsiteX50" fmla="*/ 810828 w 1614361"/>
                      <a:gd name="connsiteY50" fmla="*/ 222 h 1516157"/>
                      <a:gd name="connsiteX0" fmla="*/ 810828 w 1614361"/>
                      <a:gd name="connsiteY0" fmla="*/ 222 h 1516157"/>
                      <a:gd name="connsiteX1" fmla="*/ 963593 w 1614361"/>
                      <a:gd name="connsiteY1" fmla="*/ 26793 h 1516157"/>
                      <a:gd name="connsiteX2" fmla="*/ 976465 w 1614361"/>
                      <a:gd name="connsiteY2" fmla="*/ 41896 h 1516157"/>
                      <a:gd name="connsiteX3" fmla="*/ 996209 w 1614361"/>
                      <a:gd name="connsiteY3" fmla="*/ 240606 h 1516157"/>
                      <a:gd name="connsiteX4" fmla="*/ 1060594 w 1614361"/>
                      <a:gd name="connsiteY4" fmla="*/ 276760 h 1516157"/>
                      <a:gd name="connsiteX5" fmla="*/ 1233629 w 1614361"/>
                      <a:gd name="connsiteY5" fmla="*/ 160265 h 1516157"/>
                      <a:gd name="connsiteX6" fmla="*/ 1251383 w 1614361"/>
                      <a:gd name="connsiteY6" fmla="*/ 165243 h 1516157"/>
                      <a:gd name="connsiteX7" fmla="*/ 1360742 w 1614361"/>
                      <a:gd name="connsiteY7" fmla="*/ 259731 h 1516157"/>
                      <a:gd name="connsiteX8" fmla="*/ 1366423 w 1614361"/>
                      <a:gd name="connsiteY8" fmla="*/ 276760 h 1516157"/>
                      <a:gd name="connsiteX9" fmla="*/ 1281918 w 1614361"/>
                      <a:gd name="connsiteY9" fmla="*/ 461545 h 1516157"/>
                      <a:gd name="connsiteX10" fmla="*/ 1322158 w 1614361"/>
                      <a:gd name="connsiteY10" fmla="*/ 521802 h 1516157"/>
                      <a:gd name="connsiteX11" fmla="*/ 1520965 w 1614361"/>
                      <a:gd name="connsiteY11" fmla="*/ 506918 h 1516157"/>
                      <a:gd name="connsiteX12" fmla="*/ 1535434 w 1614361"/>
                      <a:gd name="connsiteY12" fmla="*/ 517784 h 1516157"/>
                      <a:gd name="connsiteX13" fmla="*/ 1590322 w 1614361"/>
                      <a:gd name="connsiteY13" fmla="*/ 661864 h 1516157"/>
                      <a:gd name="connsiteX14" fmla="*/ 1581046 w 1614361"/>
                      <a:gd name="connsiteY14" fmla="*/ 680237 h 1516157"/>
                      <a:gd name="connsiteX15" fmla="*/ 1418736 w 1614361"/>
                      <a:gd name="connsiteY15" fmla="*/ 790945 h 1516157"/>
                      <a:gd name="connsiteX16" fmla="*/ 1422760 w 1614361"/>
                      <a:gd name="connsiteY16" fmla="*/ 867270 h 1516157"/>
                      <a:gd name="connsiteX17" fmla="*/ 1608890 w 1614361"/>
                      <a:gd name="connsiteY17" fmla="*/ 958111 h 1516157"/>
                      <a:gd name="connsiteX18" fmla="*/ 1613459 w 1614361"/>
                      <a:gd name="connsiteY18" fmla="*/ 980341 h 1516157"/>
                      <a:gd name="connsiteX19" fmla="*/ 1586393 w 1614361"/>
                      <a:gd name="connsiteY19" fmla="*/ 1112201 h 1516157"/>
                      <a:gd name="connsiteX20" fmla="*/ 1575675 w 1614361"/>
                      <a:gd name="connsiteY20" fmla="*/ 1132397 h 1516157"/>
                      <a:gd name="connsiteX21" fmla="*/ 1374471 w 1614361"/>
                      <a:gd name="connsiteY21" fmla="*/ 1148465 h 1516157"/>
                      <a:gd name="connsiteX22" fmla="*/ 1338255 w 1614361"/>
                      <a:gd name="connsiteY22" fmla="*/ 1220772 h 1516157"/>
                      <a:gd name="connsiteX23" fmla="*/ 1454952 w 1614361"/>
                      <a:gd name="connsiteY23" fmla="*/ 1389489 h 1516157"/>
                      <a:gd name="connsiteX24" fmla="*/ 1449492 w 1614361"/>
                      <a:gd name="connsiteY24" fmla="*/ 1407437 h 1516157"/>
                      <a:gd name="connsiteX25" fmla="*/ 1351763 w 1614361"/>
                      <a:gd name="connsiteY25" fmla="*/ 1516157 h 1516157"/>
                      <a:gd name="connsiteX26" fmla="*/ 1325769 w 1614361"/>
                      <a:gd name="connsiteY26" fmla="*/ 1516061 h 1516157"/>
                      <a:gd name="connsiteX27" fmla="*/ 1153147 w 1614361"/>
                      <a:gd name="connsiteY27" fmla="*/ 1433677 h 1516157"/>
                      <a:gd name="connsiteX28" fmla="*/ 1130579 w 1614361"/>
                      <a:gd name="connsiteY28" fmla="*/ 1438356 h 1516157"/>
                      <a:gd name="connsiteX29" fmla="*/ 1115337 w 1614361"/>
                      <a:gd name="connsiteY29" fmla="*/ 1366372 h 1516157"/>
                      <a:gd name="connsiteX30" fmla="*/ 1163788 w 1614361"/>
                      <a:gd name="connsiteY30" fmla="*/ 1326605 h 1516157"/>
                      <a:gd name="connsiteX31" fmla="*/ 1347577 w 1614361"/>
                      <a:gd name="connsiteY31" fmla="*/ 885207 h 1516157"/>
                      <a:gd name="connsiteX32" fmla="*/ 720082 w 1614361"/>
                      <a:gd name="connsiteY32" fmla="*/ 260977 h 1516157"/>
                      <a:gd name="connsiteX33" fmla="*/ 199753 w 1614361"/>
                      <a:gd name="connsiteY33" fmla="*/ 536194 h 1516157"/>
                      <a:gd name="connsiteX34" fmla="*/ 165635 w 1614361"/>
                      <a:gd name="connsiteY34" fmla="*/ 591907 h 1516157"/>
                      <a:gd name="connsiteX35" fmla="*/ 97073 w 1614361"/>
                      <a:gd name="connsiteY35" fmla="*/ 583476 h 1516157"/>
                      <a:gd name="connsiteX36" fmla="*/ 110914 w 1614361"/>
                      <a:gd name="connsiteY36" fmla="*/ 549921 h 1516157"/>
                      <a:gd name="connsiteX37" fmla="*/ 3981 w 1614361"/>
                      <a:gd name="connsiteY37" fmla="*/ 385060 h 1516157"/>
                      <a:gd name="connsiteX38" fmla="*/ 2264 w 1614361"/>
                      <a:gd name="connsiteY38" fmla="*/ 365136 h 1516157"/>
                      <a:gd name="connsiteX39" fmla="*/ 101635 w 1614361"/>
                      <a:gd name="connsiteY39" fmla="*/ 245749 h 1516157"/>
                      <a:gd name="connsiteX40" fmla="*/ 117724 w 1614361"/>
                      <a:gd name="connsiteY40" fmla="*/ 245692 h 1516157"/>
                      <a:gd name="connsiteX41" fmla="*/ 300045 w 1614361"/>
                      <a:gd name="connsiteY41" fmla="*/ 328982 h 1516157"/>
                      <a:gd name="connsiteX42" fmla="*/ 360406 w 1614361"/>
                      <a:gd name="connsiteY42" fmla="*/ 288811 h 1516157"/>
                      <a:gd name="connsiteX43" fmla="*/ 348876 w 1614361"/>
                      <a:gd name="connsiteY43" fmla="*/ 92939 h 1516157"/>
                      <a:gd name="connsiteX44" fmla="*/ 356911 w 1614361"/>
                      <a:gd name="connsiteY44" fmla="*/ 78474 h 1516157"/>
                      <a:gd name="connsiteX45" fmla="*/ 500934 w 1614361"/>
                      <a:gd name="connsiteY45" fmla="*/ 25615 h 1516157"/>
                      <a:gd name="connsiteX46" fmla="*/ 518685 w 1614361"/>
                      <a:gd name="connsiteY46" fmla="*/ 29414 h 1516157"/>
                      <a:gd name="connsiteX47" fmla="*/ 630019 w 1614361"/>
                      <a:gd name="connsiteY47" fmla="*/ 196418 h 1516157"/>
                      <a:gd name="connsiteX48" fmla="*/ 706476 w 1614361"/>
                      <a:gd name="connsiteY48" fmla="*/ 188384 h 1516157"/>
                      <a:gd name="connsiteX49" fmla="*/ 796675 w 1614361"/>
                      <a:gd name="connsiteY49" fmla="*/ 8690 h 1516157"/>
                      <a:gd name="connsiteX50" fmla="*/ 810828 w 1614361"/>
                      <a:gd name="connsiteY50" fmla="*/ 222 h 1516157"/>
                      <a:gd name="connsiteX0" fmla="*/ 810828 w 1614361"/>
                      <a:gd name="connsiteY0" fmla="*/ 222 h 1516157"/>
                      <a:gd name="connsiteX1" fmla="*/ 963593 w 1614361"/>
                      <a:gd name="connsiteY1" fmla="*/ 26793 h 1516157"/>
                      <a:gd name="connsiteX2" fmla="*/ 976465 w 1614361"/>
                      <a:gd name="connsiteY2" fmla="*/ 41896 h 1516157"/>
                      <a:gd name="connsiteX3" fmla="*/ 996209 w 1614361"/>
                      <a:gd name="connsiteY3" fmla="*/ 240606 h 1516157"/>
                      <a:gd name="connsiteX4" fmla="*/ 1060594 w 1614361"/>
                      <a:gd name="connsiteY4" fmla="*/ 276760 h 1516157"/>
                      <a:gd name="connsiteX5" fmla="*/ 1233629 w 1614361"/>
                      <a:gd name="connsiteY5" fmla="*/ 160265 h 1516157"/>
                      <a:gd name="connsiteX6" fmla="*/ 1251383 w 1614361"/>
                      <a:gd name="connsiteY6" fmla="*/ 165243 h 1516157"/>
                      <a:gd name="connsiteX7" fmla="*/ 1360742 w 1614361"/>
                      <a:gd name="connsiteY7" fmla="*/ 259731 h 1516157"/>
                      <a:gd name="connsiteX8" fmla="*/ 1366423 w 1614361"/>
                      <a:gd name="connsiteY8" fmla="*/ 276760 h 1516157"/>
                      <a:gd name="connsiteX9" fmla="*/ 1281918 w 1614361"/>
                      <a:gd name="connsiteY9" fmla="*/ 461545 h 1516157"/>
                      <a:gd name="connsiteX10" fmla="*/ 1322158 w 1614361"/>
                      <a:gd name="connsiteY10" fmla="*/ 521802 h 1516157"/>
                      <a:gd name="connsiteX11" fmla="*/ 1520965 w 1614361"/>
                      <a:gd name="connsiteY11" fmla="*/ 506918 h 1516157"/>
                      <a:gd name="connsiteX12" fmla="*/ 1535434 w 1614361"/>
                      <a:gd name="connsiteY12" fmla="*/ 517784 h 1516157"/>
                      <a:gd name="connsiteX13" fmla="*/ 1590322 w 1614361"/>
                      <a:gd name="connsiteY13" fmla="*/ 661864 h 1516157"/>
                      <a:gd name="connsiteX14" fmla="*/ 1581046 w 1614361"/>
                      <a:gd name="connsiteY14" fmla="*/ 680237 h 1516157"/>
                      <a:gd name="connsiteX15" fmla="*/ 1418736 w 1614361"/>
                      <a:gd name="connsiteY15" fmla="*/ 790945 h 1516157"/>
                      <a:gd name="connsiteX16" fmla="*/ 1422760 w 1614361"/>
                      <a:gd name="connsiteY16" fmla="*/ 867270 h 1516157"/>
                      <a:gd name="connsiteX17" fmla="*/ 1608890 w 1614361"/>
                      <a:gd name="connsiteY17" fmla="*/ 958111 h 1516157"/>
                      <a:gd name="connsiteX18" fmla="*/ 1613459 w 1614361"/>
                      <a:gd name="connsiteY18" fmla="*/ 980341 h 1516157"/>
                      <a:gd name="connsiteX19" fmla="*/ 1586393 w 1614361"/>
                      <a:gd name="connsiteY19" fmla="*/ 1112201 h 1516157"/>
                      <a:gd name="connsiteX20" fmla="*/ 1575675 w 1614361"/>
                      <a:gd name="connsiteY20" fmla="*/ 1132397 h 1516157"/>
                      <a:gd name="connsiteX21" fmla="*/ 1374471 w 1614361"/>
                      <a:gd name="connsiteY21" fmla="*/ 1148465 h 1516157"/>
                      <a:gd name="connsiteX22" fmla="*/ 1338255 w 1614361"/>
                      <a:gd name="connsiteY22" fmla="*/ 1220772 h 1516157"/>
                      <a:gd name="connsiteX23" fmla="*/ 1446801 w 1614361"/>
                      <a:gd name="connsiteY23" fmla="*/ 1376370 h 1516157"/>
                      <a:gd name="connsiteX24" fmla="*/ 1449492 w 1614361"/>
                      <a:gd name="connsiteY24" fmla="*/ 1407437 h 1516157"/>
                      <a:gd name="connsiteX25" fmla="*/ 1351763 w 1614361"/>
                      <a:gd name="connsiteY25" fmla="*/ 1516157 h 1516157"/>
                      <a:gd name="connsiteX26" fmla="*/ 1325769 w 1614361"/>
                      <a:gd name="connsiteY26" fmla="*/ 1516061 h 1516157"/>
                      <a:gd name="connsiteX27" fmla="*/ 1153147 w 1614361"/>
                      <a:gd name="connsiteY27" fmla="*/ 1433677 h 1516157"/>
                      <a:gd name="connsiteX28" fmla="*/ 1130579 w 1614361"/>
                      <a:gd name="connsiteY28" fmla="*/ 1438356 h 1516157"/>
                      <a:gd name="connsiteX29" fmla="*/ 1115337 w 1614361"/>
                      <a:gd name="connsiteY29" fmla="*/ 1366372 h 1516157"/>
                      <a:gd name="connsiteX30" fmla="*/ 1163788 w 1614361"/>
                      <a:gd name="connsiteY30" fmla="*/ 1326605 h 1516157"/>
                      <a:gd name="connsiteX31" fmla="*/ 1347577 w 1614361"/>
                      <a:gd name="connsiteY31" fmla="*/ 885207 h 1516157"/>
                      <a:gd name="connsiteX32" fmla="*/ 720082 w 1614361"/>
                      <a:gd name="connsiteY32" fmla="*/ 260977 h 1516157"/>
                      <a:gd name="connsiteX33" fmla="*/ 199753 w 1614361"/>
                      <a:gd name="connsiteY33" fmla="*/ 536194 h 1516157"/>
                      <a:gd name="connsiteX34" fmla="*/ 165635 w 1614361"/>
                      <a:gd name="connsiteY34" fmla="*/ 591907 h 1516157"/>
                      <a:gd name="connsiteX35" fmla="*/ 97073 w 1614361"/>
                      <a:gd name="connsiteY35" fmla="*/ 583476 h 1516157"/>
                      <a:gd name="connsiteX36" fmla="*/ 110914 w 1614361"/>
                      <a:gd name="connsiteY36" fmla="*/ 549921 h 1516157"/>
                      <a:gd name="connsiteX37" fmla="*/ 3981 w 1614361"/>
                      <a:gd name="connsiteY37" fmla="*/ 385060 h 1516157"/>
                      <a:gd name="connsiteX38" fmla="*/ 2264 w 1614361"/>
                      <a:gd name="connsiteY38" fmla="*/ 365136 h 1516157"/>
                      <a:gd name="connsiteX39" fmla="*/ 101635 w 1614361"/>
                      <a:gd name="connsiteY39" fmla="*/ 245749 h 1516157"/>
                      <a:gd name="connsiteX40" fmla="*/ 117724 w 1614361"/>
                      <a:gd name="connsiteY40" fmla="*/ 245692 h 1516157"/>
                      <a:gd name="connsiteX41" fmla="*/ 300045 w 1614361"/>
                      <a:gd name="connsiteY41" fmla="*/ 328982 h 1516157"/>
                      <a:gd name="connsiteX42" fmla="*/ 360406 w 1614361"/>
                      <a:gd name="connsiteY42" fmla="*/ 288811 h 1516157"/>
                      <a:gd name="connsiteX43" fmla="*/ 348876 w 1614361"/>
                      <a:gd name="connsiteY43" fmla="*/ 92939 h 1516157"/>
                      <a:gd name="connsiteX44" fmla="*/ 356911 w 1614361"/>
                      <a:gd name="connsiteY44" fmla="*/ 78474 h 1516157"/>
                      <a:gd name="connsiteX45" fmla="*/ 500934 w 1614361"/>
                      <a:gd name="connsiteY45" fmla="*/ 25615 h 1516157"/>
                      <a:gd name="connsiteX46" fmla="*/ 518685 w 1614361"/>
                      <a:gd name="connsiteY46" fmla="*/ 29414 h 1516157"/>
                      <a:gd name="connsiteX47" fmla="*/ 630019 w 1614361"/>
                      <a:gd name="connsiteY47" fmla="*/ 196418 h 1516157"/>
                      <a:gd name="connsiteX48" fmla="*/ 706476 w 1614361"/>
                      <a:gd name="connsiteY48" fmla="*/ 188384 h 1516157"/>
                      <a:gd name="connsiteX49" fmla="*/ 796675 w 1614361"/>
                      <a:gd name="connsiteY49" fmla="*/ 8690 h 1516157"/>
                      <a:gd name="connsiteX50" fmla="*/ 810828 w 1614361"/>
                      <a:gd name="connsiteY50" fmla="*/ 222 h 1516157"/>
                      <a:gd name="connsiteX0" fmla="*/ 810828 w 1614361"/>
                      <a:gd name="connsiteY0" fmla="*/ 222 h 1516157"/>
                      <a:gd name="connsiteX1" fmla="*/ 963593 w 1614361"/>
                      <a:gd name="connsiteY1" fmla="*/ 26793 h 1516157"/>
                      <a:gd name="connsiteX2" fmla="*/ 976465 w 1614361"/>
                      <a:gd name="connsiteY2" fmla="*/ 41896 h 1516157"/>
                      <a:gd name="connsiteX3" fmla="*/ 996209 w 1614361"/>
                      <a:gd name="connsiteY3" fmla="*/ 240606 h 1516157"/>
                      <a:gd name="connsiteX4" fmla="*/ 1060594 w 1614361"/>
                      <a:gd name="connsiteY4" fmla="*/ 276760 h 1516157"/>
                      <a:gd name="connsiteX5" fmla="*/ 1233629 w 1614361"/>
                      <a:gd name="connsiteY5" fmla="*/ 160265 h 1516157"/>
                      <a:gd name="connsiteX6" fmla="*/ 1251383 w 1614361"/>
                      <a:gd name="connsiteY6" fmla="*/ 165243 h 1516157"/>
                      <a:gd name="connsiteX7" fmla="*/ 1360742 w 1614361"/>
                      <a:gd name="connsiteY7" fmla="*/ 259731 h 1516157"/>
                      <a:gd name="connsiteX8" fmla="*/ 1366423 w 1614361"/>
                      <a:gd name="connsiteY8" fmla="*/ 276760 h 1516157"/>
                      <a:gd name="connsiteX9" fmla="*/ 1281918 w 1614361"/>
                      <a:gd name="connsiteY9" fmla="*/ 461545 h 1516157"/>
                      <a:gd name="connsiteX10" fmla="*/ 1322158 w 1614361"/>
                      <a:gd name="connsiteY10" fmla="*/ 521802 h 1516157"/>
                      <a:gd name="connsiteX11" fmla="*/ 1520965 w 1614361"/>
                      <a:gd name="connsiteY11" fmla="*/ 506918 h 1516157"/>
                      <a:gd name="connsiteX12" fmla="*/ 1535434 w 1614361"/>
                      <a:gd name="connsiteY12" fmla="*/ 517784 h 1516157"/>
                      <a:gd name="connsiteX13" fmla="*/ 1590322 w 1614361"/>
                      <a:gd name="connsiteY13" fmla="*/ 661864 h 1516157"/>
                      <a:gd name="connsiteX14" fmla="*/ 1581046 w 1614361"/>
                      <a:gd name="connsiteY14" fmla="*/ 680237 h 1516157"/>
                      <a:gd name="connsiteX15" fmla="*/ 1418736 w 1614361"/>
                      <a:gd name="connsiteY15" fmla="*/ 790945 h 1516157"/>
                      <a:gd name="connsiteX16" fmla="*/ 1422760 w 1614361"/>
                      <a:gd name="connsiteY16" fmla="*/ 867270 h 1516157"/>
                      <a:gd name="connsiteX17" fmla="*/ 1608890 w 1614361"/>
                      <a:gd name="connsiteY17" fmla="*/ 958111 h 1516157"/>
                      <a:gd name="connsiteX18" fmla="*/ 1613459 w 1614361"/>
                      <a:gd name="connsiteY18" fmla="*/ 980341 h 1516157"/>
                      <a:gd name="connsiteX19" fmla="*/ 1586393 w 1614361"/>
                      <a:gd name="connsiteY19" fmla="*/ 1112201 h 1516157"/>
                      <a:gd name="connsiteX20" fmla="*/ 1575675 w 1614361"/>
                      <a:gd name="connsiteY20" fmla="*/ 1132397 h 1516157"/>
                      <a:gd name="connsiteX21" fmla="*/ 1374471 w 1614361"/>
                      <a:gd name="connsiteY21" fmla="*/ 1148465 h 1516157"/>
                      <a:gd name="connsiteX22" fmla="*/ 1338255 w 1614361"/>
                      <a:gd name="connsiteY22" fmla="*/ 1220772 h 1516157"/>
                      <a:gd name="connsiteX23" fmla="*/ 1446801 w 1614361"/>
                      <a:gd name="connsiteY23" fmla="*/ 1376370 h 1516157"/>
                      <a:gd name="connsiteX24" fmla="*/ 1449492 w 1614361"/>
                      <a:gd name="connsiteY24" fmla="*/ 1407437 h 1516157"/>
                      <a:gd name="connsiteX25" fmla="*/ 1351763 w 1614361"/>
                      <a:gd name="connsiteY25" fmla="*/ 1516157 h 1516157"/>
                      <a:gd name="connsiteX26" fmla="*/ 1325769 w 1614361"/>
                      <a:gd name="connsiteY26" fmla="*/ 1516061 h 1516157"/>
                      <a:gd name="connsiteX27" fmla="*/ 1153147 w 1614361"/>
                      <a:gd name="connsiteY27" fmla="*/ 1433677 h 1516157"/>
                      <a:gd name="connsiteX28" fmla="*/ 1130579 w 1614361"/>
                      <a:gd name="connsiteY28" fmla="*/ 1438356 h 1516157"/>
                      <a:gd name="connsiteX29" fmla="*/ 1115337 w 1614361"/>
                      <a:gd name="connsiteY29" fmla="*/ 1366372 h 1516157"/>
                      <a:gd name="connsiteX30" fmla="*/ 1163788 w 1614361"/>
                      <a:gd name="connsiteY30" fmla="*/ 1326605 h 1516157"/>
                      <a:gd name="connsiteX31" fmla="*/ 1347577 w 1614361"/>
                      <a:gd name="connsiteY31" fmla="*/ 885207 h 1516157"/>
                      <a:gd name="connsiteX32" fmla="*/ 720082 w 1614361"/>
                      <a:gd name="connsiteY32" fmla="*/ 260977 h 1516157"/>
                      <a:gd name="connsiteX33" fmla="*/ 199753 w 1614361"/>
                      <a:gd name="connsiteY33" fmla="*/ 536194 h 1516157"/>
                      <a:gd name="connsiteX34" fmla="*/ 165635 w 1614361"/>
                      <a:gd name="connsiteY34" fmla="*/ 591907 h 1516157"/>
                      <a:gd name="connsiteX35" fmla="*/ 97073 w 1614361"/>
                      <a:gd name="connsiteY35" fmla="*/ 583476 h 1516157"/>
                      <a:gd name="connsiteX36" fmla="*/ 110914 w 1614361"/>
                      <a:gd name="connsiteY36" fmla="*/ 549921 h 1516157"/>
                      <a:gd name="connsiteX37" fmla="*/ 3981 w 1614361"/>
                      <a:gd name="connsiteY37" fmla="*/ 385060 h 1516157"/>
                      <a:gd name="connsiteX38" fmla="*/ 2264 w 1614361"/>
                      <a:gd name="connsiteY38" fmla="*/ 365136 h 1516157"/>
                      <a:gd name="connsiteX39" fmla="*/ 101635 w 1614361"/>
                      <a:gd name="connsiteY39" fmla="*/ 245749 h 1516157"/>
                      <a:gd name="connsiteX40" fmla="*/ 117724 w 1614361"/>
                      <a:gd name="connsiteY40" fmla="*/ 245692 h 1516157"/>
                      <a:gd name="connsiteX41" fmla="*/ 300045 w 1614361"/>
                      <a:gd name="connsiteY41" fmla="*/ 328982 h 1516157"/>
                      <a:gd name="connsiteX42" fmla="*/ 360406 w 1614361"/>
                      <a:gd name="connsiteY42" fmla="*/ 288811 h 1516157"/>
                      <a:gd name="connsiteX43" fmla="*/ 348876 w 1614361"/>
                      <a:gd name="connsiteY43" fmla="*/ 92939 h 1516157"/>
                      <a:gd name="connsiteX44" fmla="*/ 356911 w 1614361"/>
                      <a:gd name="connsiteY44" fmla="*/ 78474 h 1516157"/>
                      <a:gd name="connsiteX45" fmla="*/ 500934 w 1614361"/>
                      <a:gd name="connsiteY45" fmla="*/ 25615 h 1516157"/>
                      <a:gd name="connsiteX46" fmla="*/ 518685 w 1614361"/>
                      <a:gd name="connsiteY46" fmla="*/ 29414 h 1516157"/>
                      <a:gd name="connsiteX47" fmla="*/ 630019 w 1614361"/>
                      <a:gd name="connsiteY47" fmla="*/ 196418 h 1516157"/>
                      <a:gd name="connsiteX48" fmla="*/ 706476 w 1614361"/>
                      <a:gd name="connsiteY48" fmla="*/ 188384 h 1516157"/>
                      <a:gd name="connsiteX49" fmla="*/ 796675 w 1614361"/>
                      <a:gd name="connsiteY49" fmla="*/ 8690 h 1516157"/>
                      <a:gd name="connsiteX50" fmla="*/ 810828 w 1614361"/>
                      <a:gd name="connsiteY50" fmla="*/ 222 h 1516157"/>
                      <a:gd name="connsiteX0" fmla="*/ 810828 w 1614361"/>
                      <a:gd name="connsiteY0" fmla="*/ 222 h 1516157"/>
                      <a:gd name="connsiteX1" fmla="*/ 963593 w 1614361"/>
                      <a:gd name="connsiteY1" fmla="*/ 26793 h 1516157"/>
                      <a:gd name="connsiteX2" fmla="*/ 976465 w 1614361"/>
                      <a:gd name="connsiteY2" fmla="*/ 41896 h 1516157"/>
                      <a:gd name="connsiteX3" fmla="*/ 996209 w 1614361"/>
                      <a:gd name="connsiteY3" fmla="*/ 240606 h 1516157"/>
                      <a:gd name="connsiteX4" fmla="*/ 1060594 w 1614361"/>
                      <a:gd name="connsiteY4" fmla="*/ 276760 h 1516157"/>
                      <a:gd name="connsiteX5" fmla="*/ 1233629 w 1614361"/>
                      <a:gd name="connsiteY5" fmla="*/ 160265 h 1516157"/>
                      <a:gd name="connsiteX6" fmla="*/ 1251383 w 1614361"/>
                      <a:gd name="connsiteY6" fmla="*/ 165243 h 1516157"/>
                      <a:gd name="connsiteX7" fmla="*/ 1360742 w 1614361"/>
                      <a:gd name="connsiteY7" fmla="*/ 259731 h 1516157"/>
                      <a:gd name="connsiteX8" fmla="*/ 1366423 w 1614361"/>
                      <a:gd name="connsiteY8" fmla="*/ 276760 h 1516157"/>
                      <a:gd name="connsiteX9" fmla="*/ 1281918 w 1614361"/>
                      <a:gd name="connsiteY9" fmla="*/ 461545 h 1516157"/>
                      <a:gd name="connsiteX10" fmla="*/ 1322158 w 1614361"/>
                      <a:gd name="connsiteY10" fmla="*/ 521802 h 1516157"/>
                      <a:gd name="connsiteX11" fmla="*/ 1520965 w 1614361"/>
                      <a:gd name="connsiteY11" fmla="*/ 506918 h 1516157"/>
                      <a:gd name="connsiteX12" fmla="*/ 1535434 w 1614361"/>
                      <a:gd name="connsiteY12" fmla="*/ 517784 h 1516157"/>
                      <a:gd name="connsiteX13" fmla="*/ 1590322 w 1614361"/>
                      <a:gd name="connsiteY13" fmla="*/ 661864 h 1516157"/>
                      <a:gd name="connsiteX14" fmla="*/ 1581046 w 1614361"/>
                      <a:gd name="connsiteY14" fmla="*/ 680237 h 1516157"/>
                      <a:gd name="connsiteX15" fmla="*/ 1418736 w 1614361"/>
                      <a:gd name="connsiteY15" fmla="*/ 790945 h 1516157"/>
                      <a:gd name="connsiteX16" fmla="*/ 1422760 w 1614361"/>
                      <a:gd name="connsiteY16" fmla="*/ 867270 h 1516157"/>
                      <a:gd name="connsiteX17" fmla="*/ 1608890 w 1614361"/>
                      <a:gd name="connsiteY17" fmla="*/ 958111 h 1516157"/>
                      <a:gd name="connsiteX18" fmla="*/ 1613459 w 1614361"/>
                      <a:gd name="connsiteY18" fmla="*/ 980341 h 1516157"/>
                      <a:gd name="connsiteX19" fmla="*/ 1586393 w 1614361"/>
                      <a:gd name="connsiteY19" fmla="*/ 1112201 h 1516157"/>
                      <a:gd name="connsiteX20" fmla="*/ 1575675 w 1614361"/>
                      <a:gd name="connsiteY20" fmla="*/ 1132397 h 1516157"/>
                      <a:gd name="connsiteX21" fmla="*/ 1374471 w 1614361"/>
                      <a:gd name="connsiteY21" fmla="*/ 1148465 h 1516157"/>
                      <a:gd name="connsiteX22" fmla="*/ 1338255 w 1614361"/>
                      <a:gd name="connsiteY22" fmla="*/ 1220772 h 1516157"/>
                      <a:gd name="connsiteX23" fmla="*/ 1446801 w 1614361"/>
                      <a:gd name="connsiteY23" fmla="*/ 1376370 h 1516157"/>
                      <a:gd name="connsiteX24" fmla="*/ 1449492 w 1614361"/>
                      <a:gd name="connsiteY24" fmla="*/ 1407437 h 1516157"/>
                      <a:gd name="connsiteX25" fmla="*/ 1351763 w 1614361"/>
                      <a:gd name="connsiteY25" fmla="*/ 1516157 h 1516157"/>
                      <a:gd name="connsiteX26" fmla="*/ 1325769 w 1614361"/>
                      <a:gd name="connsiteY26" fmla="*/ 1516061 h 1516157"/>
                      <a:gd name="connsiteX27" fmla="*/ 1153147 w 1614361"/>
                      <a:gd name="connsiteY27" fmla="*/ 1433677 h 1516157"/>
                      <a:gd name="connsiteX28" fmla="*/ 1130579 w 1614361"/>
                      <a:gd name="connsiteY28" fmla="*/ 1438356 h 1516157"/>
                      <a:gd name="connsiteX29" fmla="*/ 1115337 w 1614361"/>
                      <a:gd name="connsiteY29" fmla="*/ 1366372 h 1516157"/>
                      <a:gd name="connsiteX30" fmla="*/ 1163788 w 1614361"/>
                      <a:gd name="connsiteY30" fmla="*/ 1326605 h 1516157"/>
                      <a:gd name="connsiteX31" fmla="*/ 1347577 w 1614361"/>
                      <a:gd name="connsiteY31" fmla="*/ 885207 h 1516157"/>
                      <a:gd name="connsiteX32" fmla="*/ 720082 w 1614361"/>
                      <a:gd name="connsiteY32" fmla="*/ 260977 h 1516157"/>
                      <a:gd name="connsiteX33" fmla="*/ 199753 w 1614361"/>
                      <a:gd name="connsiteY33" fmla="*/ 536194 h 1516157"/>
                      <a:gd name="connsiteX34" fmla="*/ 165635 w 1614361"/>
                      <a:gd name="connsiteY34" fmla="*/ 591907 h 1516157"/>
                      <a:gd name="connsiteX35" fmla="*/ 97073 w 1614361"/>
                      <a:gd name="connsiteY35" fmla="*/ 583476 h 1516157"/>
                      <a:gd name="connsiteX36" fmla="*/ 110914 w 1614361"/>
                      <a:gd name="connsiteY36" fmla="*/ 549921 h 1516157"/>
                      <a:gd name="connsiteX37" fmla="*/ 3981 w 1614361"/>
                      <a:gd name="connsiteY37" fmla="*/ 385060 h 1516157"/>
                      <a:gd name="connsiteX38" fmla="*/ 2264 w 1614361"/>
                      <a:gd name="connsiteY38" fmla="*/ 365136 h 1516157"/>
                      <a:gd name="connsiteX39" fmla="*/ 101635 w 1614361"/>
                      <a:gd name="connsiteY39" fmla="*/ 245749 h 1516157"/>
                      <a:gd name="connsiteX40" fmla="*/ 117724 w 1614361"/>
                      <a:gd name="connsiteY40" fmla="*/ 245692 h 1516157"/>
                      <a:gd name="connsiteX41" fmla="*/ 300045 w 1614361"/>
                      <a:gd name="connsiteY41" fmla="*/ 328982 h 1516157"/>
                      <a:gd name="connsiteX42" fmla="*/ 360406 w 1614361"/>
                      <a:gd name="connsiteY42" fmla="*/ 288811 h 1516157"/>
                      <a:gd name="connsiteX43" fmla="*/ 348876 w 1614361"/>
                      <a:gd name="connsiteY43" fmla="*/ 92939 h 1516157"/>
                      <a:gd name="connsiteX44" fmla="*/ 356911 w 1614361"/>
                      <a:gd name="connsiteY44" fmla="*/ 78474 h 1516157"/>
                      <a:gd name="connsiteX45" fmla="*/ 500934 w 1614361"/>
                      <a:gd name="connsiteY45" fmla="*/ 25615 h 1516157"/>
                      <a:gd name="connsiteX46" fmla="*/ 518685 w 1614361"/>
                      <a:gd name="connsiteY46" fmla="*/ 29414 h 1516157"/>
                      <a:gd name="connsiteX47" fmla="*/ 630019 w 1614361"/>
                      <a:gd name="connsiteY47" fmla="*/ 196418 h 1516157"/>
                      <a:gd name="connsiteX48" fmla="*/ 706476 w 1614361"/>
                      <a:gd name="connsiteY48" fmla="*/ 188384 h 1516157"/>
                      <a:gd name="connsiteX49" fmla="*/ 796675 w 1614361"/>
                      <a:gd name="connsiteY49" fmla="*/ 8690 h 1516157"/>
                      <a:gd name="connsiteX50" fmla="*/ 810828 w 1614361"/>
                      <a:gd name="connsiteY50" fmla="*/ 222 h 1516157"/>
                      <a:gd name="connsiteX0" fmla="*/ 810828 w 1614361"/>
                      <a:gd name="connsiteY0" fmla="*/ 222 h 1518886"/>
                      <a:gd name="connsiteX1" fmla="*/ 963593 w 1614361"/>
                      <a:gd name="connsiteY1" fmla="*/ 26793 h 1518886"/>
                      <a:gd name="connsiteX2" fmla="*/ 976465 w 1614361"/>
                      <a:gd name="connsiteY2" fmla="*/ 41896 h 1518886"/>
                      <a:gd name="connsiteX3" fmla="*/ 996209 w 1614361"/>
                      <a:gd name="connsiteY3" fmla="*/ 240606 h 1518886"/>
                      <a:gd name="connsiteX4" fmla="*/ 1060594 w 1614361"/>
                      <a:gd name="connsiteY4" fmla="*/ 276760 h 1518886"/>
                      <a:gd name="connsiteX5" fmla="*/ 1233629 w 1614361"/>
                      <a:gd name="connsiteY5" fmla="*/ 160265 h 1518886"/>
                      <a:gd name="connsiteX6" fmla="*/ 1251383 w 1614361"/>
                      <a:gd name="connsiteY6" fmla="*/ 165243 h 1518886"/>
                      <a:gd name="connsiteX7" fmla="*/ 1360742 w 1614361"/>
                      <a:gd name="connsiteY7" fmla="*/ 259731 h 1518886"/>
                      <a:gd name="connsiteX8" fmla="*/ 1366423 w 1614361"/>
                      <a:gd name="connsiteY8" fmla="*/ 276760 h 1518886"/>
                      <a:gd name="connsiteX9" fmla="*/ 1281918 w 1614361"/>
                      <a:gd name="connsiteY9" fmla="*/ 461545 h 1518886"/>
                      <a:gd name="connsiteX10" fmla="*/ 1322158 w 1614361"/>
                      <a:gd name="connsiteY10" fmla="*/ 521802 h 1518886"/>
                      <a:gd name="connsiteX11" fmla="*/ 1520965 w 1614361"/>
                      <a:gd name="connsiteY11" fmla="*/ 506918 h 1518886"/>
                      <a:gd name="connsiteX12" fmla="*/ 1535434 w 1614361"/>
                      <a:gd name="connsiteY12" fmla="*/ 517784 h 1518886"/>
                      <a:gd name="connsiteX13" fmla="*/ 1590322 w 1614361"/>
                      <a:gd name="connsiteY13" fmla="*/ 661864 h 1518886"/>
                      <a:gd name="connsiteX14" fmla="*/ 1581046 w 1614361"/>
                      <a:gd name="connsiteY14" fmla="*/ 680237 h 1518886"/>
                      <a:gd name="connsiteX15" fmla="*/ 1418736 w 1614361"/>
                      <a:gd name="connsiteY15" fmla="*/ 790945 h 1518886"/>
                      <a:gd name="connsiteX16" fmla="*/ 1422760 w 1614361"/>
                      <a:gd name="connsiteY16" fmla="*/ 867270 h 1518886"/>
                      <a:gd name="connsiteX17" fmla="*/ 1608890 w 1614361"/>
                      <a:gd name="connsiteY17" fmla="*/ 958111 h 1518886"/>
                      <a:gd name="connsiteX18" fmla="*/ 1613459 w 1614361"/>
                      <a:gd name="connsiteY18" fmla="*/ 980341 h 1518886"/>
                      <a:gd name="connsiteX19" fmla="*/ 1586393 w 1614361"/>
                      <a:gd name="connsiteY19" fmla="*/ 1112201 h 1518886"/>
                      <a:gd name="connsiteX20" fmla="*/ 1575675 w 1614361"/>
                      <a:gd name="connsiteY20" fmla="*/ 1132397 h 1518886"/>
                      <a:gd name="connsiteX21" fmla="*/ 1374471 w 1614361"/>
                      <a:gd name="connsiteY21" fmla="*/ 1148465 h 1518886"/>
                      <a:gd name="connsiteX22" fmla="*/ 1338255 w 1614361"/>
                      <a:gd name="connsiteY22" fmla="*/ 1220772 h 1518886"/>
                      <a:gd name="connsiteX23" fmla="*/ 1446801 w 1614361"/>
                      <a:gd name="connsiteY23" fmla="*/ 1376370 h 1518886"/>
                      <a:gd name="connsiteX24" fmla="*/ 1449492 w 1614361"/>
                      <a:gd name="connsiteY24" fmla="*/ 1407437 h 1518886"/>
                      <a:gd name="connsiteX25" fmla="*/ 1351763 w 1614361"/>
                      <a:gd name="connsiteY25" fmla="*/ 1516157 h 1518886"/>
                      <a:gd name="connsiteX26" fmla="*/ 1325769 w 1614361"/>
                      <a:gd name="connsiteY26" fmla="*/ 1516061 h 1518886"/>
                      <a:gd name="connsiteX27" fmla="*/ 1153147 w 1614361"/>
                      <a:gd name="connsiteY27" fmla="*/ 1433677 h 1518886"/>
                      <a:gd name="connsiteX28" fmla="*/ 1130579 w 1614361"/>
                      <a:gd name="connsiteY28" fmla="*/ 1438356 h 1518886"/>
                      <a:gd name="connsiteX29" fmla="*/ 1115337 w 1614361"/>
                      <a:gd name="connsiteY29" fmla="*/ 1366372 h 1518886"/>
                      <a:gd name="connsiteX30" fmla="*/ 1163788 w 1614361"/>
                      <a:gd name="connsiteY30" fmla="*/ 1326605 h 1518886"/>
                      <a:gd name="connsiteX31" fmla="*/ 1347577 w 1614361"/>
                      <a:gd name="connsiteY31" fmla="*/ 885207 h 1518886"/>
                      <a:gd name="connsiteX32" fmla="*/ 720082 w 1614361"/>
                      <a:gd name="connsiteY32" fmla="*/ 260977 h 1518886"/>
                      <a:gd name="connsiteX33" fmla="*/ 199753 w 1614361"/>
                      <a:gd name="connsiteY33" fmla="*/ 536194 h 1518886"/>
                      <a:gd name="connsiteX34" fmla="*/ 165635 w 1614361"/>
                      <a:gd name="connsiteY34" fmla="*/ 591907 h 1518886"/>
                      <a:gd name="connsiteX35" fmla="*/ 97073 w 1614361"/>
                      <a:gd name="connsiteY35" fmla="*/ 583476 h 1518886"/>
                      <a:gd name="connsiteX36" fmla="*/ 110914 w 1614361"/>
                      <a:gd name="connsiteY36" fmla="*/ 549921 h 1518886"/>
                      <a:gd name="connsiteX37" fmla="*/ 3981 w 1614361"/>
                      <a:gd name="connsiteY37" fmla="*/ 385060 h 1518886"/>
                      <a:gd name="connsiteX38" fmla="*/ 2264 w 1614361"/>
                      <a:gd name="connsiteY38" fmla="*/ 365136 h 1518886"/>
                      <a:gd name="connsiteX39" fmla="*/ 101635 w 1614361"/>
                      <a:gd name="connsiteY39" fmla="*/ 245749 h 1518886"/>
                      <a:gd name="connsiteX40" fmla="*/ 117724 w 1614361"/>
                      <a:gd name="connsiteY40" fmla="*/ 245692 h 1518886"/>
                      <a:gd name="connsiteX41" fmla="*/ 300045 w 1614361"/>
                      <a:gd name="connsiteY41" fmla="*/ 328982 h 1518886"/>
                      <a:gd name="connsiteX42" fmla="*/ 360406 w 1614361"/>
                      <a:gd name="connsiteY42" fmla="*/ 288811 h 1518886"/>
                      <a:gd name="connsiteX43" fmla="*/ 348876 w 1614361"/>
                      <a:gd name="connsiteY43" fmla="*/ 92939 h 1518886"/>
                      <a:gd name="connsiteX44" fmla="*/ 356911 w 1614361"/>
                      <a:gd name="connsiteY44" fmla="*/ 78474 h 1518886"/>
                      <a:gd name="connsiteX45" fmla="*/ 500934 w 1614361"/>
                      <a:gd name="connsiteY45" fmla="*/ 25615 h 1518886"/>
                      <a:gd name="connsiteX46" fmla="*/ 518685 w 1614361"/>
                      <a:gd name="connsiteY46" fmla="*/ 29414 h 1518886"/>
                      <a:gd name="connsiteX47" fmla="*/ 630019 w 1614361"/>
                      <a:gd name="connsiteY47" fmla="*/ 196418 h 1518886"/>
                      <a:gd name="connsiteX48" fmla="*/ 706476 w 1614361"/>
                      <a:gd name="connsiteY48" fmla="*/ 188384 h 1518886"/>
                      <a:gd name="connsiteX49" fmla="*/ 796675 w 1614361"/>
                      <a:gd name="connsiteY49" fmla="*/ 8690 h 1518886"/>
                      <a:gd name="connsiteX50" fmla="*/ 810828 w 1614361"/>
                      <a:gd name="connsiteY50" fmla="*/ 222 h 1518886"/>
                      <a:gd name="connsiteX0" fmla="*/ 810828 w 1614361"/>
                      <a:gd name="connsiteY0" fmla="*/ 222 h 1519837"/>
                      <a:gd name="connsiteX1" fmla="*/ 963593 w 1614361"/>
                      <a:gd name="connsiteY1" fmla="*/ 26793 h 1519837"/>
                      <a:gd name="connsiteX2" fmla="*/ 976465 w 1614361"/>
                      <a:gd name="connsiteY2" fmla="*/ 41896 h 1519837"/>
                      <a:gd name="connsiteX3" fmla="*/ 996209 w 1614361"/>
                      <a:gd name="connsiteY3" fmla="*/ 240606 h 1519837"/>
                      <a:gd name="connsiteX4" fmla="*/ 1060594 w 1614361"/>
                      <a:gd name="connsiteY4" fmla="*/ 276760 h 1519837"/>
                      <a:gd name="connsiteX5" fmla="*/ 1233629 w 1614361"/>
                      <a:gd name="connsiteY5" fmla="*/ 160265 h 1519837"/>
                      <a:gd name="connsiteX6" fmla="*/ 1251383 w 1614361"/>
                      <a:gd name="connsiteY6" fmla="*/ 165243 h 1519837"/>
                      <a:gd name="connsiteX7" fmla="*/ 1360742 w 1614361"/>
                      <a:gd name="connsiteY7" fmla="*/ 259731 h 1519837"/>
                      <a:gd name="connsiteX8" fmla="*/ 1366423 w 1614361"/>
                      <a:gd name="connsiteY8" fmla="*/ 276760 h 1519837"/>
                      <a:gd name="connsiteX9" fmla="*/ 1281918 w 1614361"/>
                      <a:gd name="connsiteY9" fmla="*/ 461545 h 1519837"/>
                      <a:gd name="connsiteX10" fmla="*/ 1322158 w 1614361"/>
                      <a:gd name="connsiteY10" fmla="*/ 521802 h 1519837"/>
                      <a:gd name="connsiteX11" fmla="*/ 1520965 w 1614361"/>
                      <a:gd name="connsiteY11" fmla="*/ 506918 h 1519837"/>
                      <a:gd name="connsiteX12" fmla="*/ 1535434 w 1614361"/>
                      <a:gd name="connsiteY12" fmla="*/ 517784 h 1519837"/>
                      <a:gd name="connsiteX13" fmla="*/ 1590322 w 1614361"/>
                      <a:gd name="connsiteY13" fmla="*/ 661864 h 1519837"/>
                      <a:gd name="connsiteX14" fmla="*/ 1581046 w 1614361"/>
                      <a:gd name="connsiteY14" fmla="*/ 680237 h 1519837"/>
                      <a:gd name="connsiteX15" fmla="*/ 1418736 w 1614361"/>
                      <a:gd name="connsiteY15" fmla="*/ 790945 h 1519837"/>
                      <a:gd name="connsiteX16" fmla="*/ 1422760 w 1614361"/>
                      <a:gd name="connsiteY16" fmla="*/ 867270 h 1519837"/>
                      <a:gd name="connsiteX17" fmla="*/ 1608890 w 1614361"/>
                      <a:gd name="connsiteY17" fmla="*/ 958111 h 1519837"/>
                      <a:gd name="connsiteX18" fmla="*/ 1613459 w 1614361"/>
                      <a:gd name="connsiteY18" fmla="*/ 980341 h 1519837"/>
                      <a:gd name="connsiteX19" fmla="*/ 1586393 w 1614361"/>
                      <a:gd name="connsiteY19" fmla="*/ 1112201 h 1519837"/>
                      <a:gd name="connsiteX20" fmla="*/ 1575675 w 1614361"/>
                      <a:gd name="connsiteY20" fmla="*/ 1132397 h 1519837"/>
                      <a:gd name="connsiteX21" fmla="*/ 1374471 w 1614361"/>
                      <a:gd name="connsiteY21" fmla="*/ 1148465 h 1519837"/>
                      <a:gd name="connsiteX22" fmla="*/ 1338255 w 1614361"/>
                      <a:gd name="connsiteY22" fmla="*/ 1220772 h 1519837"/>
                      <a:gd name="connsiteX23" fmla="*/ 1446801 w 1614361"/>
                      <a:gd name="connsiteY23" fmla="*/ 1376370 h 1519837"/>
                      <a:gd name="connsiteX24" fmla="*/ 1449492 w 1614361"/>
                      <a:gd name="connsiteY24" fmla="*/ 1407437 h 1519837"/>
                      <a:gd name="connsiteX25" fmla="*/ 1351763 w 1614361"/>
                      <a:gd name="connsiteY25" fmla="*/ 1516157 h 1519837"/>
                      <a:gd name="connsiteX26" fmla="*/ 1325769 w 1614361"/>
                      <a:gd name="connsiteY26" fmla="*/ 1516061 h 1519837"/>
                      <a:gd name="connsiteX27" fmla="*/ 1153147 w 1614361"/>
                      <a:gd name="connsiteY27" fmla="*/ 1433677 h 1519837"/>
                      <a:gd name="connsiteX28" fmla="*/ 1130579 w 1614361"/>
                      <a:gd name="connsiteY28" fmla="*/ 1438356 h 1519837"/>
                      <a:gd name="connsiteX29" fmla="*/ 1115337 w 1614361"/>
                      <a:gd name="connsiteY29" fmla="*/ 1366372 h 1519837"/>
                      <a:gd name="connsiteX30" fmla="*/ 1163788 w 1614361"/>
                      <a:gd name="connsiteY30" fmla="*/ 1326605 h 1519837"/>
                      <a:gd name="connsiteX31" fmla="*/ 1347577 w 1614361"/>
                      <a:gd name="connsiteY31" fmla="*/ 885207 h 1519837"/>
                      <a:gd name="connsiteX32" fmla="*/ 720082 w 1614361"/>
                      <a:gd name="connsiteY32" fmla="*/ 260977 h 1519837"/>
                      <a:gd name="connsiteX33" fmla="*/ 199753 w 1614361"/>
                      <a:gd name="connsiteY33" fmla="*/ 536194 h 1519837"/>
                      <a:gd name="connsiteX34" fmla="*/ 165635 w 1614361"/>
                      <a:gd name="connsiteY34" fmla="*/ 591907 h 1519837"/>
                      <a:gd name="connsiteX35" fmla="*/ 97073 w 1614361"/>
                      <a:gd name="connsiteY35" fmla="*/ 583476 h 1519837"/>
                      <a:gd name="connsiteX36" fmla="*/ 110914 w 1614361"/>
                      <a:gd name="connsiteY36" fmla="*/ 549921 h 1519837"/>
                      <a:gd name="connsiteX37" fmla="*/ 3981 w 1614361"/>
                      <a:gd name="connsiteY37" fmla="*/ 385060 h 1519837"/>
                      <a:gd name="connsiteX38" fmla="*/ 2264 w 1614361"/>
                      <a:gd name="connsiteY38" fmla="*/ 365136 h 1519837"/>
                      <a:gd name="connsiteX39" fmla="*/ 101635 w 1614361"/>
                      <a:gd name="connsiteY39" fmla="*/ 245749 h 1519837"/>
                      <a:gd name="connsiteX40" fmla="*/ 117724 w 1614361"/>
                      <a:gd name="connsiteY40" fmla="*/ 245692 h 1519837"/>
                      <a:gd name="connsiteX41" fmla="*/ 300045 w 1614361"/>
                      <a:gd name="connsiteY41" fmla="*/ 328982 h 1519837"/>
                      <a:gd name="connsiteX42" fmla="*/ 360406 w 1614361"/>
                      <a:gd name="connsiteY42" fmla="*/ 288811 h 1519837"/>
                      <a:gd name="connsiteX43" fmla="*/ 348876 w 1614361"/>
                      <a:gd name="connsiteY43" fmla="*/ 92939 h 1519837"/>
                      <a:gd name="connsiteX44" fmla="*/ 356911 w 1614361"/>
                      <a:gd name="connsiteY44" fmla="*/ 78474 h 1519837"/>
                      <a:gd name="connsiteX45" fmla="*/ 500934 w 1614361"/>
                      <a:gd name="connsiteY45" fmla="*/ 25615 h 1519837"/>
                      <a:gd name="connsiteX46" fmla="*/ 518685 w 1614361"/>
                      <a:gd name="connsiteY46" fmla="*/ 29414 h 1519837"/>
                      <a:gd name="connsiteX47" fmla="*/ 630019 w 1614361"/>
                      <a:gd name="connsiteY47" fmla="*/ 196418 h 1519837"/>
                      <a:gd name="connsiteX48" fmla="*/ 706476 w 1614361"/>
                      <a:gd name="connsiteY48" fmla="*/ 188384 h 1519837"/>
                      <a:gd name="connsiteX49" fmla="*/ 796675 w 1614361"/>
                      <a:gd name="connsiteY49" fmla="*/ 8690 h 1519837"/>
                      <a:gd name="connsiteX50" fmla="*/ 810828 w 1614361"/>
                      <a:gd name="connsiteY50" fmla="*/ 222 h 1519837"/>
                      <a:gd name="connsiteX0" fmla="*/ 810828 w 1614361"/>
                      <a:gd name="connsiteY0" fmla="*/ 222 h 1520426"/>
                      <a:gd name="connsiteX1" fmla="*/ 963593 w 1614361"/>
                      <a:gd name="connsiteY1" fmla="*/ 26793 h 1520426"/>
                      <a:gd name="connsiteX2" fmla="*/ 976465 w 1614361"/>
                      <a:gd name="connsiteY2" fmla="*/ 41896 h 1520426"/>
                      <a:gd name="connsiteX3" fmla="*/ 996209 w 1614361"/>
                      <a:gd name="connsiteY3" fmla="*/ 240606 h 1520426"/>
                      <a:gd name="connsiteX4" fmla="*/ 1060594 w 1614361"/>
                      <a:gd name="connsiteY4" fmla="*/ 276760 h 1520426"/>
                      <a:gd name="connsiteX5" fmla="*/ 1233629 w 1614361"/>
                      <a:gd name="connsiteY5" fmla="*/ 160265 h 1520426"/>
                      <a:gd name="connsiteX6" fmla="*/ 1251383 w 1614361"/>
                      <a:gd name="connsiteY6" fmla="*/ 165243 h 1520426"/>
                      <a:gd name="connsiteX7" fmla="*/ 1360742 w 1614361"/>
                      <a:gd name="connsiteY7" fmla="*/ 259731 h 1520426"/>
                      <a:gd name="connsiteX8" fmla="*/ 1366423 w 1614361"/>
                      <a:gd name="connsiteY8" fmla="*/ 276760 h 1520426"/>
                      <a:gd name="connsiteX9" fmla="*/ 1281918 w 1614361"/>
                      <a:gd name="connsiteY9" fmla="*/ 461545 h 1520426"/>
                      <a:gd name="connsiteX10" fmla="*/ 1322158 w 1614361"/>
                      <a:gd name="connsiteY10" fmla="*/ 521802 h 1520426"/>
                      <a:gd name="connsiteX11" fmla="*/ 1520965 w 1614361"/>
                      <a:gd name="connsiteY11" fmla="*/ 506918 h 1520426"/>
                      <a:gd name="connsiteX12" fmla="*/ 1535434 w 1614361"/>
                      <a:gd name="connsiteY12" fmla="*/ 517784 h 1520426"/>
                      <a:gd name="connsiteX13" fmla="*/ 1590322 w 1614361"/>
                      <a:gd name="connsiteY13" fmla="*/ 661864 h 1520426"/>
                      <a:gd name="connsiteX14" fmla="*/ 1581046 w 1614361"/>
                      <a:gd name="connsiteY14" fmla="*/ 680237 h 1520426"/>
                      <a:gd name="connsiteX15" fmla="*/ 1418736 w 1614361"/>
                      <a:gd name="connsiteY15" fmla="*/ 790945 h 1520426"/>
                      <a:gd name="connsiteX16" fmla="*/ 1422760 w 1614361"/>
                      <a:gd name="connsiteY16" fmla="*/ 867270 h 1520426"/>
                      <a:gd name="connsiteX17" fmla="*/ 1608890 w 1614361"/>
                      <a:gd name="connsiteY17" fmla="*/ 958111 h 1520426"/>
                      <a:gd name="connsiteX18" fmla="*/ 1613459 w 1614361"/>
                      <a:gd name="connsiteY18" fmla="*/ 980341 h 1520426"/>
                      <a:gd name="connsiteX19" fmla="*/ 1586393 w 1614361"/>
                      <a:gd name="connsiteY19" fmla="*/ 1112201 h 1520426"/>
                      <a:gd name="connsiteX20" fmla="*/ 1575675 w 1614361"/>
                      <a:gd name="connsiteY20" fmla="*/ 1132397 h 1520426"/>
                      <a:gd name="connsiteX21" fmla="*/ 1374471 w 1614361"/>
                      <a:gd name="connsiteY21" fmla="*/ 1148465 h 1520426"/>
                      <a:gd name="connsiteX22" fmla="*/ 1338255 w 1614361"/>
                      <a:gd name="connsiteY22" fmla="*/ 1220772 h 1520426"/>
                      <a:gd name="connsiteX23" fmla="*/ 1446801 w 1614361"/>
                      <a:gd name="connsiteY23" fmla="*/ 1376370 h 1520426"/>
                      <a:gd name="connsiteX24" fmla="*/ 1449492 w 1614361"/>
                      <a:gd name="connsiteY24" fmla="*/ 1407437 h 1520426"/>
                      <a:gd name="connsiteX25" fmla="*/ 1351763 w 1614361"/>
                      <a:gd name="connsiteY25" fmla="*/ 1516157 h 1520426"/>
                      <a:gd name="connsiteX26" fmla="*/ 1325769 w 1614361"/>
                      <a:gd name="connsiteY26" fmla="*/ 1516061 h 1520426"/>
                      <a:gd name="connsiteX27" fmla="*/ 1153147 w 1614361"/>
                      <a:gd name="connsiteY27" fmla="*/ 1433677 h 1520426"/>
                      <a:gd name="connsiteX28" fmla="*/ 1130579 w 1614361"/>
                      <a:gd name="connsiteY28" fmla="*/ 1438356 h 1520426"/>
                      <a:gd name="connsiteX29" fmla="*/ 1115337 w 1614361"/>
                      <a:gd name="connsiteY29" fmla="*/ 1366372 h 1520426"/>
                      <a:gd name="connsiteX30" fmla="*/ 1163788 w 1614361"/>
                      <a:gd name="connsiteY30" fmla="*/ 1326605 h 1520426"/>
                      <a:gd name="connsiteX31" fmla="*/ 1347577 w 1614361"/>
                      <a:gd name="connsiteY31" fmla="*/ 885207 h 1520426"/>
                      <a:gd name="connsiteX32" fmla="*/ 720082 w 1614361"/>
                      <a:gd name="connsiteY32" fmla="*/ 260977 h 1520426"/>
                      <a:gd name="connsiteX33" fmla="*/ 199753 w 1614361"/>
                      <a:gd name="connsiteY33" fmla="*/ 536194 h 1520426"/>
                      <a:gd name="connsiteX34" fmla="*/ 165635 w 1614361"/>
                      <a:gd name="connsiteY34" fmla="*/ 591907 h 1520426"/>
                      <a:gd name="connsiteX35" fmla="*/ 97073 w 1614361"/>
                      <a:gd name="connsiteY35" fmla="*/ 583476 h 1520426"/>
                      <a:gd name="connsiteX36" fmla="*/ 110914 w 1614361"/>
                      <a:gd name="connsiteY36" fmla="*/ 549921 h 1520426"/>
                      <a:gd name="connsiteX37" fmla="*/ 3981 w 1614361"/>
                      <a:gd name="connsiteY37" fmla="*/ 385060 h 1520426"/>
                      <a:gd name="connsiteX38" fmla="*/ 2264 w 1614361"/>
                      <a:gd name="connsiteY38" fmla="*/ 365136 h 1520426"/>
                      <a:gd name="connsiteX39" fmla="*/ 101635 w 1614361"/>
                      <a:gd name="connsiteY39" fmla="*/ 245749 h 1520426"/>
                      <a:gd name="connsiteX40" fmla="*/ 117724 w 1614361"/>
                      <a:gd name="connsiteY40" fmla="*/ 245692 h 1520426"/>
                      <a:gd name="connsiteX41" fmla="*/ 300045 w 1614361"/>
                      <a:gd name="connsiteY41" fmla="*/ 328982 h 1520426"/>
                      <a:gd name="connsiteX42" fmla="*/ 360406 w 1614361"/>
                      <a:gd name="connsiteY42" fmla="*/ 288811 h 1520426"/>
                      <a:gd name="connsiteX43" fmla="*/ 348876 w 1614361"/>
                      <a:gd name="connsiteY43" fmla="*/ 92939 h 1520426"/>
                      <a:gd name="connsiteX44" fmla="*/ 356911 w 1614361"/>
                      <a:gd name="connsiteY44" fmla="*/ 78474 h 1520426"/>
                      <a:gd name="connsiteX45" fmla="*/ 500934 w 1614361"/>
                      <a:gd name="connsiteY45" fmla="*/ 25615 h 1520426"/>
                      <a:gd name="connsiteX46" fmla="*/ 518685 w 1614361"/>
                      <a:gd name="connsiteY46" fmla="*/ 29414 h 1520426"/>
                      <a:gd name="connsiteX47" fmla="*/ 630019 w 1614361"/>
                      <a:gd name="connsiteY47" fmla="*/ 196418 h 1520426"/>
                      <a:gd name="connsiteX48" fmla="*/ 706476 w 1614361"/>
                      <a:gd name="connsiteY48" fmla="*/ 188384 h 1520426"/>
                      <a:gd name="connsiteX49" fmla="*/ 796675 w 1614361"/>
                      <a:gd name="connsiteY49" fmla="*/ 8690 h 1520426"/>
                      <a:gd name="connsiteX50" fmla="*/ 810828 w 1614361"/>
                      <a:gd name="connsiteY50" fmla="*/ 222 h 1520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614361" h="1520426">
                        <a:moveTo>
                          <a:pt x="810828" y="222"/>
                        </a:moveTo>
                        <a:lnTo>
                          <a:pt x="963593" y="26793"/>
                        </a:lnTo>
                        <a:cubicBezTo>
                          <a:pt x="968792" y="27380"/>
                          <a:pt x="975600" y="34181"/>
                          <a:pt x="976465" y="41896"/>
                        </a:cubicBezTo>
                        <a:lnTo>
                          <a:pt x="996209" y="240606"/>
                        </a:lnTo>
                        <a:lnTo>
                          <a:pt x="1060594" y="276760"/>
                        </a:lnTo>
                        <a:lnTo>
                          <a:pt x="1233629" y="160265"/>
                        </a:lnTo>
                        <a:cubicBezTo>
                          <a:pt x="1240187" y="158174"/>
                          <a:pt x="1247285" y="159886"/>
                          <a:pt x="1251383" y="165243"/>
                        </a:cubicBezTo>
                        <a:lnTo>
                          <a:pt x="1360742" y="259731"/>
                        </a:lnTo>
                        <a:cubicBezTo>
                          <a:pt x="1364832" y="263852"/>
                          <a:pt x="1367637" y="270278"/>
                          <a:pt x="1366423" y="276760"/>
                        </a:cubicBezTo>
                        <a:lnTo>
                          <a:pt x="1281918" y="461545"/>
                        </a:lnTo>
                        <a:lnTo>
                          <a:pt x="1322158" y="521802"/>
                        </a:lnTo>
                        <a:lnTo>
                          <a:pt x="1520965" y="506918"/>
                        </a:lnTo>
                        <a:cubicBezTo>
                          <a:pt x="1526643" y="507272"/>
                          <a:pt x="1532644" y="510947"/>
                          <a:pt x="1535434" y="517784"/>
                        </a:cubicBezTo>
                        <a:lnTo>
                          <a:pt x="1590322" y="661864"/>
                        </a:lnTo>
                        <a:cubicBezTo>
                          <a:pt x="1591677" y="668896"/>
                          <a:pt x="1587783" y="677110"/>
                          <a:pt x="1581046" y="680237"/>
                        </a:cubicBezTo>
                        <a:lnTo>
                          <a:pt x="1418736" y="790945"/>
                        </a:lnTo>
                        <a:lnTo>
                          <a:pt x="1422760" y="867270"/>
                        </a:lnTo>
                        <a:lnTo>
                          <a:pt x="1608890" y="958111"/>
                        </a:lnTo>
                        <a:cubicBezTo>
                          <a:pt x="1615894" y="962696"/>
                          <a:pt x="1614597" y="973286"/>
                          <a:pt x="1613459" y="980341"/>
                        </a:cubicBezTo>
                        <a:lnTo>
                          <a:pt x="1586393" y="1112201"/>
                        </a:lnTo>
                        <a:cubicBezTo>
                          <a:pt x="1585716" y="1122842"/>
                          <a:pt x="1581876" y="1130270"/>
                          <a:pt x="1575675" y="1132397"/>
                        </a:cubicBezTo>
                        <a:lnTo>
                          <a:pt x="1374471" y="1148465"/>
                        </a:lnTo>
                        <a:lnTo>
                          <a:pt x="1338255" y="1220772"/>
                        </a:lnTo>
                        <a:lnTo>
                          <a:pt x="1446801" y="1376370"/>
                        </a:lnTo>
                        <a:cubicBezTo>
                          <a:pt x="1454020" y="1387954"/>
                          <a:pt x="1455132" y="1398791"/>
                          <a:pt x="1449492" y="1407437"/>
                        </a:cubicBezTo>
                        <a:lnTo>
                          <a:pt x="1351763" y="1516157"/>
                        </a:lnTo>
                        <a:cubicBezTo>
                          <a:pt x="1344174" y="1523731"/>
                          <a:pt x="1334276" y="1519629"/>
                          <a:pt x="1325769" y="1516061"/>
                        </a:cubicBezTo>
                        <a:lnTo>
                          <a:pt x="1153147" y="1433677"/>
                        </a:lnTo>
                        <a:lnTo>
                          <a:pt x="1130579" y="1438356"/>
                        </a:lnTo>
                        <a:lnTo>
                          <a:pt x="1115337" y="1366372"/>
                        </a:lnTo>
                        <a:lnTo>
                          <a:pt x="1163788" y="1326605"/>
                        </a:lnTo>
                        <a:cubicBezTo>
                          <a:pt x="1277342" y="1213641"/>
                          <a:pt x="1347577" y="1057584"/>
                          <a:pt x="1347577" y="885207"/>
                        </a:cubicBezTo>
                        <a:cubicBezTo>
                          <a:pt x="1347577" y="540454"/>
                          <a:pt x="1066638" y="260977"/>
                          <a:pt x="720082" y="260977"/>
                        </a:cubicBezTo>
                        <a:cubicBezTo>
                          <a:pt x="503485" y="260977"/>
                          <a:pt x="312519" y="370148"/>
                          <a:pt x="199753" y="536194"/>
                        </a:cubicBezTo>
                        <a:lnTo>
                          <a:pt x="165635" y="591907"/>
                        </a:lnTo>
                        <a:lnTo>
                          <a:pt x="97073" y="583476"/>
                        </a:lnTo>
                        <a:lnTo>
                          <a:pt x="110914" y="549921"/>
                        </a:lnTo>
                        <a:lnTo>
                          <a:pt x="3981" y="385060"/>
                        </a:lnTo>
                        <a:cubicBezTo>
                          <a:pt x="-1466" y="376548"/>
                          <a:pt x="-594" y="369261"/>
                          <a:pt x="2264" y="365136"/>
                        </a:cubicBezTo>
                        <a:lnTo>
                          <a:pt x="101635" y="245749"/>
                        </a:lnTo>
                        <a:cubicBezTo>
                          <a:pt x="106800" y="241391"/>
                          <a:pt x="112876" y="242980"/>
                          <a:pt x="117724" y="245692"/>
                        </a:cubicBezTo>
                        <a:lnTo>
                          <a:pt x="300045" y="328982"/>
                        </a:lnTo>
                        <a:lnTo>
                          <a:pt x="360406" y="288811"/>
                        </a:lnTo>
                        <a:lnTo>
                          <a:pt x="348876" y="92939"/>
                        </a:lnTo>
                        <a:cubicBezTo>
                          <a:pt x="348768" y="87047"/>
                          <a:pt x="351018" y="81263"/>
                          <a:pt x="356911" y="78474"/>
                        </a:cubicBezTo>
                        <a:lnTo>
                          <a:pt x="500934" y="25615"/>
                        </a:lnTo>
                        <a:cubicBezTo>
                          <a:pt x="507064" y="23899"/>
                          <a:pt x="514480" y="25075"/>
                          <a:pt x="518685" y="29414"/>
                        </a:cubicBezTo>
                        <a:lnTo>
                          <a:pt x="630019" y="196418"/>
                        </a:lnTo>
                        <a:lnTo>
                          <a:pt x="706476" y="188384"/>
                        </a:lnTo>
                        <a:lnTo>
                          <a:pt x="796675" y="8690"/>
                        </a:lnTo>
                        <a:cubicBezTo>
                          <a:pt x="800587" y="2760"/>
                          <a:pt x="806054" y="-973"/>
                          <a:pt x="810828" y="222"/>
                        </a:cubicBezTo>
                        <a:close/>
                      </a:path>
                    </a:pathLst>
                  </a:custGeom>
                  <a:grpFill/>
                  <a:ln w="19050">
                    <a:solidFill>
                      <a:schemeClr val="bg1"/>
                    </a:solidFill>
                    <a:prstDash val="solid"/>
                    <a:round/>
                    <a:headEnd/>
                    <a:tailEnd/>
                  </a:ln>
                  <a:effectLst/>
                </p:spPr>
                <p:txBody>
                  <a:bodyPr vert="horz" wrap="square" lIns="91440" tIns="45720" rIns="91440" bIns="45720" numCol="1" anchor="t" anchorCtr="0" compatLnSpc="1">
                    <a:prstTxWarp prst="textNoShape">
                      <a:avLst/>
                    </a:prstTxWarp>
                    <a:noAutofit/>
                  </a:bodyPr>
                  <a:lstStyle/>
                  <a:p>
                    <a:pPr>
                      <a:defRPr/>
                    </a:pPr>
                    <a:endParaRPr lang="en-US" dirty="0">
                      <a:solidFill>
                        <a:prstClr val="black"/>
                      </a:solidFill>
                      <a:latin typeface="Univers for KPMG" panose="020B0603020202020204" pitchFamily="34" charset="0"/>
                      <a:cs typeface="Arial" panose="020B0604020202020204" pitchFamily="34" charset="0"/>
                    </a:endParaRPr>
                  </a:p>
                </p:txBody>
              </p:sp>
            </p:grpSp>
          </p:grpSp>
          <p:grpSp>
            <p:nvGrpSpPr>
              <p:cNvPr id="82" name="Group 81"/>
              <p:cNvGrpSpPr/>
              <p:nvPr/>
            </p:nvGrpSpPr>
            <p:grpSpPr>
              <a:xfrm>
                <a:off x="3793443" y="3123906"/>
                <a:ext cx="1571073" cy="835102"/>
                <a:chOff x="3793443" y="3123906"/>
                <a:chExt cx="1571073" cy="835102"/>
              </a:xfrm>
            </p:grpSpPr>
            <p:sp>
              <p:nvSpPr>
                <p:cNvPr id="113" name="Freeform 112"/>
                <p:cNvSpPr/>
                <p:nvPr/>
              </p:nvSpPr>
              <p:spPr>
                <a:xfrm>
                  <a:off x="3793443" y="3123906"/>
                  <a:ext cx="1571073" cy="835102"/>
                </a:xfrm>
                <a:custGeom>
                  <a:avLst/>
                  <a:gdLst>
                    <a:gd name="connsiteX0" fmla="*/ 14685 w 1571073"/>
                    <a:gd name="connsiteY0" fmla="*/ 0 h 835102"/>
                    <a:gd name="connsiteX1" fmla="*/ 1556389 w 1571073"/>
                    <a:gd name="connsiteY1" fmla="*/ 0 h 835102"/>
                    <a:gd name="connsiteX2" fmla="*/ 1557905 w 1571073"/>
                    <a:gd name="connsiteY2" fmla="*/ 2250 h 835102"/>
                    <a:gd name="connsiteX3" fmla="*/ 1571073 w 1571073"/>
                    <a:gd name="connsiteY3" fmla="*/ 67472 h 835102"/>
                    <a:gd name="connsiteX4" fmla="*/ 1403515 w 1571073"/>
                    <a:gd name="connsiteY4" fmla="*/ 235030 h 835102"/>
                    <a:gd name="connsiteX5" fmla="*/ 1169864 w 1571073"/>
                    <a:gd name="connsiteY5" fmla="*/ 235030 h 835102"/>
                    <a:gd name="connsiteX6" fmla="*/ 1187534 w 1571073"/>
                    <a:gd name="connsiteY6" fmla="*/ 449935 h 835102"/>
                    <a:gd name="connsiteX7" fmla="*/ 1225291 w 1571073"/>
                    <a:gd name="connsiteY7" fmla="*/ 709137 h 835102"/>
                    <a:gd name="connsiteX8" fmla="*/ 1252207 w 1571073"/>
                    <a:gd name="connsiteY8" fmla="*/ 835102 h 835102"/>
                    <a:gd name="connsiteX9" fmla="*/ 943004 w 1571073"/>
                    <a:gd name="connsiteY9" fmla="*/ 835102 h 835102"/>
                    <a:gd name="connsiteX10" fmla="*/ 940963 w 1571073"/>
                    <a:gd name="connsiteY10" fmla="*/ 830259 h 835102"/>
                    <a:gd name="connsiteX11" fmla="*/ 970022 w 1571073"/>
                    <a:gd name="connsiteY11" fmla="*/ 759444 h 835102"/>
                    <a:gd name="connsiteX12" fmla="*/ 827110 w 1571073"/>
                    <a:gd name="connsiteY12" fmla="*/ 586060 h 835102"/>
                    <a:gd name="connsiteX13" fmla="*/ 669255 w 1571073"/>
                    <a:gd name="connsiteY13" fmla="*/ 764976 h 835102"/>
                    <a:gd name="connsiteX14" fmla="*/ 691990 w 1571073"/>
                    <a:gd name="connsiteY14" fmla="*/ 803730 h 835102"/>
                    <a:gd name="connsiteX15" fmla="*/ 692851 w 1571073"/>
                    <a:gd name="connsiteY15" fmla="*/ 835102 h 835102"/>
                    <a:gd name="connsiteX16" fmla="*/ 334594 w 1571073"/>
                    <a:gd name="connsiteY16" fmla="*/ 835102 h 835102"/>
                    <a:gd name="connsiteX17" fmla="*/ 366220 w 1571073"/>
                    <a:gd name="connsiteY17" fmla="*/ 681023 h 835102"/>
                    <a:gd name="connsiteX18" fmla="*/ 401090 w 1571073"/>
                    <a:gd name="connsiteY18" fmla="*/ 432209 h 835102"/>
                    <a:gd name="connsiteX19" fmla="*/ 416389 w 1571073"/>
                    <a:gd name="connsiteY19" fmla="*/ 235030 h 835102"/>
                    <a:gd name="connsiteX20" fmla="*/ 167558 w 1571073"/>
                    <a:gd name="connsiteY20" fmla="*/ 235030 h 835102"/>
                    <a:gd name="connsiteX21" fmla="*/ 0 w 1571073"/>
                    <a:gd name="connsiteY21" fmla="*/ 67472 h 835102"/>
                    <a:gd name="connsiteX22" fmla="*/ 13168 w 1571073"/>
                    <a:gd name="connsiteY22" fmla="*/ 2250 h 835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1073" h="835102">
                      <a:moveTo>
                        <a:pt x="14685" y="0"/>
                      </a:moveTo>
                      <a:lnTo>
                        <a:pt x="1556389" y="0"/>
                      </a:lnTo>
                      <a:lnTo>
                        <a:pt x="1557905" y="2250"/>
                      </a:lnTo>
                      <a:cubicBezTo>
                        <a:pt x="1566385" y="22296"/>
                        <a:pt x="1571073" y="44337"/>
                        <a:pt x="1571073" y="67472"/>
                      </a:cubicBezTo>
                      <a:cubicBezTo>
                        <a:pt x="1571073" y="160013"/>
                        <a:pt x="1496056" y="235030"/>
                        <a:pt x="1403515" y="235030"/>
                      </a:cubicBezTo>
                      <a:lnTo>
                        <a:pt x="1169864" y="235030"/>
                      </a:lnTo>
                      <a:lnTo>
                        <a:pt x="1187534" y="449935"/>
                      </a:lnTo>
                      <a:cubicBezTo>
                        <a:pt x="1197151" y="535920"/>
                        <a:pt x="1209748" y="622508"/>
                        <a:pt x="1225291" y="709137"/>
                      </a:cubicBezTo>
                      <a:lnTo>
                        <a:pt x="1252207" y="835102"/>
                      </a:lnTo>
                      <a:lnTo>
                        <a:pt x="943004" y="835102"/>
                      </a:lnTo>
                      <a:lnTo>
                        <a:pt x="940963" y="830259"/>
                      </a:lnTo>
                      <a:cubicBezTo>
                        <a:pt x="938892" y="809588"/>
                        <a:pt x="948509" y="785380"/>
                        <a:pt x="970022" y="759444"/>
                      </a:cubicBezTo>
                      <a:cubicBezTo>
                        <a:pt x="1039648" y="675826"/>
                        <a:pt x="1003648" y="589441"/>
                        <a:pt x="827110" y="586060"/>
                      </a:cubicBezTo>
                      <a:cubicBezTo>
                        <a:pt x="701985" y="581140"/>
                        <a:pt x="564328" y="647235"/>
                        <a:pt x="669255" y="764976"/>
                      </a:cubicBezTo>
                      <a:cubicBezTo>
                        <a:pt x="681219" y="778776"/>
                        <a:pt x="688424" y="791752"/>
                        <a:pt x="691990" y="803730"/>
                      </a:cubicBezTo>
                      <a:lnTo>
                        <a:pt x="692851" y="835102"/>
                      </a:lnTo>
                      <a:lnTo>
                        <a:pt x="334594" y="835102"/>
                      </a:lnTo>
                      <a:lnTo>
                        <a:pt x="366220" y="681023"/>
                      </a:lnTo>
                      <a:cubicBezTo>
                        <a:pt x="380721" y="597043"/>
                        <a:pt x="392345" y="513927"/>
                        <a:pt x="401090" y="432209"/>
                      </a:cubicBezTo>
                      <a:lnTo>
                        <a:pt x="416389" y="235030"/>
                      </a:lnTo>
                      <a:lnTo>
                        <a:pt x="167558" y="235030"/>
                      </a:lnTo>
                      <a:cubicBezTo>
                        <a:pt x="75017" y="235030"/>
                        <a:pt x="0" y="160013"/>
                        <a:pt x="0" y="67472"/>
                      </a:cubicBezTo>
                      <a:cubicBezTo>
                        <a:pt x="0" y="44337"/>
                        <a:pt x="4689" y="22296"/>
                        <a:pt x="13168" y="2250"/>
                      </a:cubicBezTo>
                      <a:close/>
                    </a:path>
                  </a:pathLst>
                </a:custGeom>
                <a:solidFill>
                  <a:srgbClr val="483698"/>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114" name="Group 113"/>
                <p:cNvGrpSpPr/>
                <p:nvPr/>
              </p:nvGrpSpPr>
              <p:grpSpPr>
                <a:xfrm>
                  <a:off x="4411818" y="3258457"/>
                  <a:ext cx="320365" cy="309714"/>
                  <a:chOff x="1105934" y="5364510"/>
                  <a:chExt cx="813432" cy="786384"/>
                </a:xfrm>
                <a:solidFill>
                  <a:schemeClr val="bg1"/>
                </a:solidFill>
                <a:effectLst/>
              </p:grpSpPr>
              <p:sp>
                <p:nvSpPr>
                  <p:cNvPr id="115" name="Rectangle 7"/>
                  <p:cNvSpPr/>
                  <p:nvPr/>
                </p:nvSpPr>
                <p:spPr>
                  <a:xfrm>
                    <a:off x="1627067" y="5468286"/>
                    <a:ext cx="292299" cy="504614"/>
                  </a:xfrm>
                  <a:custGeom>
                    <a:avLst/>
                    <a:gdLst>
                      <a:gd name="connsiteX0" fmla="*/ 0 w 2522871"/>
                      <a:gd name="connsiteY0" fmla="*/ 0 h 3685084"/>
                      <a:gd name="connsiteX1" fmla="*/ 2522871 w 2522871"/>
                      <a:gd name="connsiteY1" fmla="*/ 0 h 3685084"/>
                      <a:gd name="connsiteX2" fmla="*/ 2522871 w 2522871"/>
                      <a:gd name="connsiteY2" fmla="*/ 3685084 h 3685084"/>
                      <a:gd name="connsiteX3" fmla="*/ 0 w 2522871"/>
                      <a:gd name="connsiteY3" fmla="*/ 3685084 h 3685084"/>
                      <a:gd name="connsiteX4" fmla="*/ 0 w 2522871"/>
                      <a:gd name="connsiteY4"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0 w 2522871"/>
                      <a:gd name="connsiteY4" fmla="*/ 36850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0 w 2522871"/>
                      <a:gd name="connsiteY6"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298951 w 2522871"/>
                      <a:gd name="connsiteY6" fmla="*/ 1698625 h 3685084"/>
                      <a:gd name="connsiteX7" fmla="*/ 0 w 2522871"/>
                      <a:gd name="connsiteY7"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0 w 2522871"/>
                      <a:gd name="connsiteY7"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629151 w 2522871"/>
                      <a:gd name="connsiteY7" fmla="*/ 16478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429126 w 2522871"/>
                      <a:gd name="connsiteY6" fmla="*/ 1784350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660901 w 2522871"/>
                      <a:gd name="connsiteY8" fmla="*/ 1566863 h 3685084"/>
                      <a:gd name="connsiteX9" fmla="*/ 0 w 2522871"/>
                      <a:gd name="connsiteY9"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0 w 2522871"/>
                      <a:gd name="connsiteY9"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273551 w 2522871"/>
                      <a:gd name="connsiteY9" fmla="*/ 9302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421774 w 2141370"/>
                      <a:gd name="connsiteY0" fmla="*/ 10160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87350 w 2141370"/>
                      <a:gd name="connsiteY9" fmla="*/ 574675 h 3685084"/>
                      <a:gd name="connsiteX10" fmla="*/ 421774 w 2141370"/>
                      <a:gd name="connsiteY10" fmla="*/ 101600 h 3685084"/>
                      <a:gd name="connsiteX0" fmla="*/ 421774 w 2141370"/>
                      <a:gd name="connsiteY0" fmla="*/ 10160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21774 w 2141370"/>
                      <a:gd name="connsiteY10" fmla="*/ 101600 h 3685084"/>
                      <a:gd name="connsiteX0" fmla="*/ 405899 w 2141370"/>
                      <a:gd name="connsiteY0" fmla="*/ 9525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05899 w 2141370"/>
                      <a:gd name="connsiteY10" fmla="*/ 95250 h 3685084"/>
                      <a:gd name="connsiteX0" fmla="*/ 421774 w 2141370"/>
                      <a:gd name="connsiteY0" fmla="*/ 92075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21774 w 2141370"/>
                      <a:gd name="connsiteY10" fmla="*/ 92075 h 3685084"/>
                      <a:gd name="connsiteX0" fmla="*/ 421774 w 2141370"/>
                      <a:gd name="connsiteY0" fmla="*/ 92075 h 3685084"/>
                      <a:gd name="connsiteX1" fmla="*/ 857249 w 2141370"/>
                      <a:gd name="connsiteY1" fmla="*/ 73025 h 3685084"/>
                      <a:gd name="connsiteX2" fmla="*/ 2141370 w 2141370"/>
                      <a:gd name="connsiteY2" fmla="*/ 0 h 3685084"/>
                      <a:gd name="connsiteX3" fmla="*/ 2141370 w 2141370"/>
                      <a:gd name="connsiteY3" fmla="*/ 3685084 h 3685084"/>
                      <a:gd name="connsiteX4" fmla="*/ 1796256 w 2141370"/>
                      <a:gd name="connsiteY4" fmla="*/ 3683794 h 3685084"/>
                      <a:gd name="connsiteX5" fmla="*/ 18549 w 2141370"/>
                      <a:gd name="connsiteY5" fmla="*/ 2389684 h 3685084"/>
                      <a:gd name="connsiteX6" fmla="*/ 0 w 2141370"/>
                      <a:gd name="connsiteY6" fmla="*/ 2238375 h 3685084"/>
                      <a:gd name="connsiteX7" fmla="*/ 276225 w 2141370"/>
                      <a:gd name="connsiteY7" fmla="*/ 2048669 h 3685084"/>
                      <a:gd name="connsiteX8" fmla="*/ 381000 w 2141370"/>
                      <a:gd name="connsiteY8" fmla="*/ 1800225 h 3685084"/>
                      <a:gd name="connsiteX9" fmla="*/ 136525 w 2141370"/>
                      <a:gd name="connsiteY9" fmla="*/ 1764507 h 3685084"/>
                      <a:gd name="connsiteX10" fmla="*/ 368300 w 2141370"/>
                      <a:gd name="connsiteY10" fmla="*/ 568325 h 3685084"/>
                      <a:gd name="connsiteX11" fmla="*/ 421774 w 2141370"/>
                      <a:gd name="connsiteY11" fmla="*/ 92075 h 3685084"/>
                      <a:gd name="connsiteX0" fmla="*/ 421774 w 2141370"/>
                      <a:gd name="connsiteY0" fmla="*/ 101600 h 3694609"/>
                      <a:gd name="connsiteX1" fmla="*/ 739774 w 2141370"/>
                      <a:gd name="connsiteY1" fmla="*/ 0 h 3694609"/>
                      <a:gd name="connsiteX2" fmla="*/ 2141370 w 2141370"/>
                      <a:gd name="connsiteY2" fmla="*/ 9525 h 3694609"/>
                      <a:gd name="connsiteX3" fmla="*/ 2141370 w 2141370"/>
                      <a:gd name="connsiteY3" fmla="*/ 3694609 h 3694609"/>
                      <a:gd name="connsiteX4" fmla="*/ 1796256 w 2141370"/>
                      <a:gd name="connsiteY4" fmla="*/ 3693319 h 3694609"/>
                      <a:gd name="connsiteX5" fmla="*/ 18549 w 2141370"/>
                      <a:gd name="connsiteY5" fmla="*/ 2399209 h 3694609"/>
                      <a:gd name="connsiteX6" fmla="*/ 0 w 2141370"/>
                      <a:gd name="connsiteY6" fmla="*/ 2247900 h 3694609"/>
                      <a:gd name="connsiteX7" fmla="*/ 276225 w 2141370"/>
                      <a:gd name="connsiteY7" fmla="*/ 2058194 h 3694609"/>
                      <a:gd name="connsiteX8" fmla="*/ 381000 w 2141370"/>
                      <a:gd name="connsiteY8" fmla="*/ 1809750 h 3694609"/>
                      <a:gd name="connsiteX9" fmla="*/ 136525 w 2141370"/>
                      <a:gd name="connsiteY9" fmla="*/ 1774032 h 3694609"/>
                      <a:gd name="connsiteX10" fmla="*/ 368300 w 2141370"/>
                      <a:gd name="connsiteY10" fmla="*/ 577850 h 3694609"/>
                      <a:gd name="connsiteX11" fmla="*/ 421774 w 2141370"/>
                      <a:gd name="connsiteY11" fmla="*/ 101600 h 3694609"/>
                      <a:gd name="connsiteX0" fmla="*/ 421774 w 2141370"/>
                      <a:gd name="connsiteY0" fmla="*/ 101600 h 3694609"/>
                      <a:gd name="connsiteX1" fmla="*/ 739774 w 2141370"/>
                      <a:gd name="connsiteY1" fmla="*/ 0 h 3694609"/>
                      <a:gd name="connsiteX2" fmla="*/ 2141370 w 2141370"/>
                      <a:gd name="connsiteY2" fmla="*/ 9525 h 3694609"/>
                      <a:gd name="connsiteX3" fmla="*/ 2139949 w 2141370"/>
                      <a:gd name="connsiteY3" fmla="*/ 263526 h 3694609"/>
                      <a:gd name="connsiteX4" fmla="*/ 2141370 w 2141370"/>
                      <a:gd name="connsiteY4" fmla="*/ 3694609 h 3694609"/>
                      <a:gd name="connsiteX5" fmla="*/ 1796256 w 2141370"/>
                      <a:gd name="connsiteY5" fmla="*/ 3693319 h 3694609"/>
                      <a:gd name="connsiteX6" fmla="*/ 18549 w 2141370"/>
                      <a:gd name="connsiteY6" fmla="*/ 2399209 h 3694609"/>
                      <a:gd name="connsiteX7" fmla="*/ 0 w 2141370"/>
                      <a:gd name="connsiteY7" fmla="*/ 2247900 h 3694609"/>
                      <a:gd name="connsiteX8" fmla="*/ 276225 w 2141370"/>
                      <a:gd name="connsiteY8" fmla="*/ 2058194 h 3694609"/>
                      <a:gd name="connsiteX9" fmla="*/ 381000 w 2141370"/>
                      <a:gd name="connsiteY9" fmla="*/ 1809750 h 3694609"/>
                      <a:gd name="connsiteX10" fmla="*/ 136525 w 2141370"/>
                      <a:gd name="connsiteY10" fmla="*/ 1774032 h 3694609"/>
                      <a:gd name="connsiteX11" fmla="*/ 368300 w 2141370"/>
                      <a:gd name="connsiteY11" fmla="*/ 577850 h 3694609"/>
                      <a:gd name="connsiteX12" fmla="*/ 421774 w 2141370"/>
                      <a:gd name="connsiteY12" fmla="*/ 101600 h 3694609"/>
                      <a:gd name="connsiteX0" fmla="*/ 421774 w 2141370"/>
                      <a:gd name="connsiteY0" fmla="*/ 101600 h 3694609"/>
                      <a:gd name="connsiteX1" fmla="*/ 739774 w 2141370"/>
                      <a:gd name="connsiteY1" fmla="*/ 0 h 3694609"/>
                      <a:gd name="connsiteX2" fmla="*/ 1350795 w 2141370"/>
                      <a:gd name="connsiteY2" fmla="*/ 431800 h 3694609"/>
                      <a:gd name="connsiteX3" fmla="*/ 2139949 w 2141370"/>
                      <a:gd name="connsiteY3" fmla="*/ 263526 h 3694609"/>
                      <a:gd name="connsiteX4" fmla="*/ 2141370 w 2141370"/>
                      <a:gd name="connsiteY4" fmla="*/ 3694609 h 3694609"/>
                      <a:gd name="connsiteX5" fmla="*/ 1796256 w 2141370"/>
                      <a:gd name="connsiteY5" fmla="*/ 3693319 h 3694609"/>
                      <a:gd name="connsiteX6" fmla="*/ 18549 w 2141370"/>
                      <a:gd name="connsiteY6" fmla="*/ 2399209 h 3694609"/>
                      <a:gd name="connsiteX7" fmla="*/ 0 w 2141370"/>
                      <a:gd name="connsiteY7" fmla="*/ 2247900 h 3694609"/>
                      <a:gd name="connsiteX8" fmla="*/ 276225 w 2141370"/>
                      <a:gd name="connsiteY8" fmla="*/ 2058194 h 3694609"/>
                      <a:gd name="connsiteX9" fmla="*/ 381000 w 2141370"/>
                      <a:gd name="connsiteY9" fmla="*/ 1809750 h 3694609"/>
                      <a:gd name="connsiteX10" fmla="*/ 136525 w 2141370"/>
                      <a:gd name="connsiteY10" fmla="*/ 1774032 h 3694609"/>
                      <a:gd name="connsiteX11" fmla="*/ 368300 w 2141370"/>
                      <a:gd name="connsiteY11" fmla="*/ 577850 h 3694609"/>
                      <a:gd name="connsiteX12" fmla="*/ 421774 w 2141370"/>
                      <a:gd name="connsiteY12" fmla="*/ 101600 h 3694609"/>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00 h 3696109"/>
                      <a:gd name="connsiteX1" fmla="*/ 739774 w 2141370"/>
                      <a:gd name="connsiteY1" fmla="*/ 1500 h 3696109"/>
                      <a:gd name="connsiteX2" fmla="*/ 1350795 w 2141370"/>
                      <a:gd name="connsiteY2" fmla="*/ 433300 h 3696109"/>
                      <a:gd name="connsiteX3" fmla="*/ 2139949 w 2141370"/>
                      <a:gd name="connsiteY3" fmla="*/ 265026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370"/>
                      <a:gd name="connsiteY0" fmla="*/ 103100 h 3696109"/>
                      <a:gd name="connsiteX1" fmla="*/ 739774 w 2141370"/>
                      <a:gd name="connsiteY1" fmla="*/ 1500 h 3696109"/>
                      <a:gd name="connsiteX2" fmla="*/ 1350795 w 2141370"/>
                      <a:gd name="connsiteY2" fmla="*/ 433300 h 3696109"/>
                      <a:gd name="connsiteX3" fmla="*/ 1730374 w 2141370"/>
                      <a:gd name="connsiteY3" fmla="*/ 1557251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370"/>
                      <a:gd name="connsiteY0" fmla="*/ 103100 h 3696109"/>
                      <a:gd name="connsiteX1" fmla="*/ 739774 w 2141370"/>
                      <a:gd name="connsiteY1" fmla="*/ 1500 h 3696109"/>
                      <a:gd name="connsiteX2" fmla="*/ 1350795 w 2141370"/>
                      <a:gd name="connsiteY2" fmla="*/ 433300 h 3696109"/>
                      <a:gd name="connsiteX3" fmla="*/ 1758949 w 2141370"/>
                      <a:gd name="connsiteY3" fmla="*/ 1623926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439"/>
                      <a:gd name="connsiteY0" fmla="*/ 103100 h 3696109"/>
                      <a:gd name="connsiteX1" fmla="*/ 739774 w 2141439"/>
                      <a:gd name="connsiteY1" fmla="*/ 1500 h 3696109"/>
                      <a:gd name="connsiteX2" fmla="*/ 1350795 w 2141439"/>
                      <a:gd name="connsiteY2" fmla="*/ 433300 h 3696109"/>
                      <a:gd name="connsiteX3" fmla="*/ 1758949 w 2141439"/>
                      <a:gd name="connsiteY3" fmla="*/ 1623926 h 3696109"/>
                      <a:gd name="connsiteX4" fmla="*/ 1825624 w 2141439"/>
                      <a:gd name="connsiteY4" fmla="*/ 2319251 h 3696109"/>
                      <a:gd name="connsiteX5" fmla="*/ 2141370 w 2141439"/>
                      <a:gd name="connsiteY5" fmla="*/ 3696109 h 3696109"/>
                      <a:gd name="connsiteX6" fmla="*/ 1796256 w 2141439"/>
                      <a:gd name="connsiteY6" fmla="*/ 3694819 h 3696109"/>
                      <a:gd name="connsiteX7" fmla="*/ 18549 w 2141439"/>
                      <a:gd name="connsiteY7" fmla="*/ 2400709 h 3696109"/>
                      <a:gd name="connsiteX8" fmla="*/ 0 w 2141439"/>
                      <a:gd name="connsiteY8" fmla="*/ 2249400 h 3696109"/>
                      <a:gd name="connsiteX9" fmla="*/ 276225 w 2141439"/>
                      <a:gd name="connsiteY9" fmla="*/ 2059694 h 3696109"/>
                      <a:gd name="connsiteX10" fmla="*/ 381000 w 2141439"/>
                      <a:gd name="connsiteY10" fmla="*/ 1811250 h 3696109"/>
                      <a:gd name="connsiteX11" fmla="*/ 136525 w 2141439"/>
                      <a:gd name="connsiteY11" fmla="*/ 1775532 h 3696109"/>
                      <a:gd name="connsiteX12" fmla="*/ 368300 w 2141439"/>
                      <a:gd name="connsiteY12" fmla="*/ 579350 h 3696109"/>
                      <a:gd name="connsiteX13" fmla="*/ 421774 w 2141439"/>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250949 w 2141370"/>
                      <a:gd name="connsiteY5" fmla="*/ 2128751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3147"/>
                      <a:gd name="connsiteY0" fmla="*/ 103100 h 3696109"/>
                      <a:gd name="connsiteX1" fmla="*/ 739774 w 2143147"/>
                      <a:gd name="connsiteY1" fmla="*/ 1500 h 3696109"/>
                      <a:gd name="connsiteX2" fmla="*/ 1357145 w 2143147"/>
                      <a:gd name="connsiteY2" fmla="*/ 465050 h 3696109"/>
                      <a:gd name="connsiteX3" fmla="*/ 1758949 w 2143147"/>
                      <a:gd name="connsiteY3" fmla="*/ 1623926 h 3696109"/>
                      <a:gd name="connsiteX4" fmla="*/ 1130299 w 2143147"/>
                      <a:gd name="connsiteY4" fmla="*/ 1823951 h 3696109"/>
                      <a:gd name="connsiteX5" fmla="*/ 1171574 w 2143147"/>
                      <a:gd name="connsiteY5" fmla="*/ 2023976 h 3696109"/>
                      <a:gd name="connsiteX6" fmla="*/ 2141370 w 2143147"/>
                      <a:gd name="connsiteY6" fmla="*/ 3696109 h 3696109"/>
                      <a:gd name="connsiteX7" fmla="*/ 1796256 w 2143147"/>
                      <a:gd name="connsiteY7" fmla="*/ 3694819 h 3696109"/>
                      <a:gd name="connsiteX8" fmla="*/ 18549 w 2143147"/>
                      <a:gd name="connsiteY8" fmla="*/ 2400709 h 3696109"/>
                      <a:gd name="connsiteX9" fmla="*/ 0 w 2143147"/>
                      <a:gd name="connsiteY9" fmla="*/ 2249400 h 3696109"/>
                      <a:gd name="connsiteX10" fmla="*/ 276225 w 2143147"/>
                      <a:gd name="connsiteY10" fmla="*/ 2059694 h 3696109"/>
                      <a:gd name="connsiteX11" fmla="*/ 381000 w 2143147"/>
                      <a:gd name="connsiteY11" fmla="*/ 1811250 h 3696109"/>
                      <a:gd name="connsiteX12" fmla="*/ 136525 w 2143147"/>
                      <a:gd name="connsiteY12" fmla="*/ 1775532 h 3696109"/>
                      <a:gd name="connsiteX13" fmla="*/ 368300 w 2143147"/>
                      <a:gd name="connsiteY13" fmla="*/ 579350 h 3696109"/>
                      <a:gd name="connsiteX14" fmla="*/ 421774 w 2143147"/>
                      <a:gd name="connsiteY14" fmla="*/ 103100 h 3696109"/>
                      <a:gd name="connsiteX0" fmla="*/ 421774 w 2145092"/>
                      <a:gd name="connsiteY0" fmla="*/ 103100 h 3696109"/>
                      <a:gd name="connsiteX1" fmla="*/ 739774 w 2145092"/>
                      <a:gd name="connsiteY1" fmla="*/ 1500 h 3696109"/>
                      <a:gd name="connsiteX2" fmla="*/ 1357145 w 2145092"/>
                      <a:gd name="connsiteY2" fmla="*/ 465050 h 3696109"/>
                      <a:gd name="connsiteX3" fmla="*/ 1758949 w 2145092"/>
                      <a:gd name="connsiteY3" fmla="*/ 1623926 h 3696109"/>
                      <a:gd name="connsiteX4" fmla="*/ 1130299 w 2145092"/>
                      <a:gd name="connsiteY4" fmla="*/ 1823951 h 3696109"/>
                      <a:gd name="connsiteX5" fmla="*/ 1171574 w 2145092"/>
                      <a:gd name="connsiteY5" fmla="*/ 2023976 h 3696109"/>
                      <a:gd name="connsiteX6" fmla="*/ 2141370 w 2145092"/>
                      <a:gd name="connsiteY6" fmla="*/ 3696109 h 3696109"/>
                      <a:gd name="connsiteX7" fmla="*/ 1796256 w 2145092"/>
                      <a:gd name="connsiteY7" fmla="*/ 3694819 h 3696109"/>
                      <a:gd name="connsiteX8" fmla="*/ 18549 w 2145092"/>
                      <a:gd name="connsiteY8" fmla="*/ 2400709 h 3696109"/>
                      <a:gd name="connsiteX9" fmla="*/ 0 w 2145092"/>
                      <a:gd name="connsiteY9" fmla="*/ 2249400 h 3696109"/>
                      <a:gd name="connsiteX10" fmla="*/ 276225 w 2145092"/>
                      <a:gd name="connsiteY10" fmla="*/ 2059694 h 3696109"/>
                      <a:gd name="connsiteX11" fmla="*/ 381000 w 2145092"/>
                      <a:gd name="connsiteY11" fmla="*/ 1811250 h 3696109"/>
                      <a:gd name="connsiteX12" fmla="*/ 136525 w 2145092"/>
                      <a:gd name="connsiteY12" fmla="*/ 1775532 h 3696109"/>
                      <a:gd name="connsiteX13" fmla="*/ 368300 w 2145092"/>
                      <a:gd name="connsiteY13" fmla="*/ 579350 h 3696109"/>
                      <a:gd name="connsiteX14" fmla="*/ 421774 w 2145092"/>
                      <a:gd name="connsiteY14" fmla="*/ 103100 h 3696109"/>
                      <a:gd name="connsiteX0" fmla="*/ 421774 w 2155745"/>
                      <a:gd name="connsiteY0" fmla="*/ 103100 h 3696109"/>
                      <a:gd name="connsiteX1" fmla="*/ 739774 w 2155745"/>
                      <a:gd name="connsiteY1" fmla="*/ 1500 h 3696109"/>
                      <a:gd name="connsiteX2" fmla="*/ 1357145 w 2155745"/>
                      <a:gd name="connsiteY2" fmla="*/ 465050 h 3696109"/>
                      <a:gd name="connsiteX3" fmla="*/ 1758949 w 2155745"/>
                      <a:gd name="connsiteY3" fmla="*/ 1623926 h 3696109"/>
                      <a:gd name="connsiteX4" fmla="*/ 1130299 w 2155745"/>
                      <a:gd name="connsiteY4" fmla="*/ 1823951 h 3696109"/>
                      <a:gd name="connsiteX5" fmla="*/ 1171574 w 2155745"/>
                      <a:gd name="connsiteY5" fmla="*/ 2023976 h 3696109"/>
                      <a:gd name="connsiteX6" fmla="*/ 1997073 w 2155745"/>
                      <a:gd name="connsiteY6" fmla="*/ 2687551 h 3696109"/>
                      <a:gd name="connsiteX7" fmla="*/ 2141370 w 2155745"/>
                      <a:gd name="connsiteY7" fmla="*/ 3696109 h 3696109"/>
                      <a:gd name="connsiteX8" fmla="*/ 1796256 w 2155745"/>
                      <a:gd name="connsiteY8" fmla="*/ 3694819 h 3696109"/>
                      <a:gd name="connsiteX9" fmla="*/ 18549 w 2155745"/>
                      <a:gd name="connsiteY9" fmla="*/ 2400709 h 3696109"/>
                      <a:gd name="connsiteX10" fmla="*/ 0 w 2155745"/>
                      <a:gd name="connsiteY10" fmla="*/ 2249400 h 3696109"/>
                      <a:gd name="connsiteX11" fmla="*/ 276225 w 2155745"/>
                      <a:gd name="connsiteY11" fmla="*/ 2059694 h 3696109"/>
                      <a:gd name="connsiteX12" fmla="*/ 381000 w 2155745"/>
                      <a:gd name="connsiteY12" fmla="*/ 1811250 h 3696109"/>
                      <a:gd name="connsiteX13" fmla="*/ 136525 w 2155745"/>
                      <a:gd name="connsiteY13" fmla="*/ 1775532 h 3696109"/>
                      <a:gd name="connsiteX14" fmla="*/ 368300 w 2155745"/>
                      <a:gd name="connsiteY14" fmla="*/ 579350 h 3696109"/>
                      <a:gd name="connsiteX15" fmla="*/ 421774 w 2155745"/>
                      <a:gd name="connsiteY15" fmla="*/ 103100 h 3696109"/>
                      <a:gd name="connsiteX0" fmla="*/ 421774 w 2159724"/>
                      <a:gd name="connsiteY0" fmla="*/ 103100 h 3696109"/>
                      <a:gd name="connsiteX1" fmla="*/ 739774 w 2159724"/>
                      <a:gd name="connsiteY1" fmla="*/ 1500 h 3696109"/>
                      <a:gd name="connsiteX2" fmla="*/ 1357145 w 2159724"/>
                      <a:gd name="connsiteY2" fmla="*/ 465050 h 3696109"/>
                      <a:gd name="connsiteX3" fmla="*/ 1758949 w 2159724"/>
                      <a:gd name="connsiteY3" fmla="*/ 1623926 h 3696109"/>
                      <a:gd name="connsiteX4" fmla="*/ 1130299 w 2159724"/>
                      <a:gd name="connsiteY4" fmla="*/ 1823951 h 3696109"/>
                      <a:gd name="connsiteX5" fmla="*/ 1171574 w 2159724"/>
                      <a:gd name="connsiteY5" fmla="*/ 2023976 h 3696109"/>
                      <a:gd name="connsiteX6" fmla="*/ 2016123 w 2159724"/>
                      <a:gd name="connsiteY6" fmla="*/ 2605001 h 3696109"/>
                      <a:gd name="connsiteX7" fmla="*/ 2141370 w 2159724"/>
                      <a:gd name="connsiteY7" fmla="*/ 3696109 h 3696109"/>
                      <a:gd name="connsiteX8" fmla="*/ 1796256 w 2159724"/>
                      <a:gd name="connsiteY8" fmla="*/ 3694819 h 3696109"/>
                      <a:gd name="connsiteX9" fmla="*/ 18549 w 2159724"/>
                      <a:gd name="connsiteY9" fmla="*/ 2400709 h 3696109"/>
                      <a:gd name="connsiteX10" fmla="*/ 0 w 2159724"/>
                      <a:gd name="connsiteY10" fmla="*/ 2249400 h 3696109"/>
                      <a:gd name="connsiteX11" fmla="*/ 276225 w 2159724"/>
                      <a:gd name="connsiteY11" fmla="*/ 2059694 h 3696109"/>
                      <a:gd name="connsiteX12" fmla="*/ 381000 w 2159724"/>
                      <a:gd name="connsiteY12" fmla="*/ 1811250 h 3696109"/>
                      <a:gd name="connsiteX13" fmla="*/ 136525 w 2159724"/>
                      <a:gd name="connsiteY13" fmla="*/ 1775532 h 3696109"/>
                      <a:gd name="connsiteX14" fmla="*/ 368300 w 2159724"/>
                      <a:gd name="connsiteY14" fmla="*/ 579350 h 3696109"/>
                      <a:gd name="connsiteX15" fmla="*/ 421774 w 2159724"/>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0649" h="3696109">
                        <a:moveTo>
                          <a:pt x="421774" y="103100"/>
                        </a:moveTo>
                        <a:cubicBezTo>
                          <a:pt x="429349" y="72408"/>
                          <a:pt x="582974" y="-12258"/>
                          <a:pt x="739774" y="1500"/>
                        </a:cubicBezTo>
                        <a:cubicBezTo>
                          <a:pt x="1276823" y="-6967"/>
                          <a:pt x="1324921" y="330642"/>
                          <a:pt x="1357145" y="465050"/>
                        </a:cubicBezTo>
                        <a:cubicBezTo>
                          <a:pt x="1388421" y="616392"/>
                          <a:pt x="1311748" y="1434484"/>
                          <a:pt x="1758949" y="1623926"/>
                        </a:cubicBezTo>
                        <a:cubicBezTo>
                          <a:pt x="1606312" y="1741401"/>
                          <a:pt x="1396762" y="1773862"/>
                          <a:pt x="1130299" y="1823951"/>
                        </a:cubicBezTo>
                        <a:cubicBezTo>
                          <a:pt x="1109133" y="1965238"/>
                          <a:pt x="1155462" y="1994525"/>
                          <a:pt x="1171574" y="2023976"/>
                        </a:cubicBezTo>
                        <a:cubicBezTo>
                          <a:pt x="1268411" y="2069484"/>
                          <a:pt x="1943390" y="2418387"/>
                          <a:pt x="2016123" y="2605001"/>
                        </a:cubicBezTo>
                        <a:cubicBezTo>
                          <a:pt x="2114256" y="2909090"/>
                          <a:pt x="2174840" y="3528231"/>
                          <a:pt x="2141370" y="3696109"/>
                        </a:cubicBezTo>
                        <a:lnTo>
                          <a:pt x="1796256" y="3694819"/>
                        </a:lnTo>
                        <a:cubicBezTo>
                          <a:pt x="1692637" y="3079299"/>
                          <a:pt x="687318" y="2736829"/>
                          <a:pt x="18549" y="2400709"/>
                        </a:cubicBezTo>
                        <a:lnTo>
                          <a:pt x="0" y="2249400"/>
                        </a:lnTo>
                        <a:lnTo>
                          <a:pt x="276225" y="2059694"/>
                        </a:lnTo>
                        <a:cubicBezTo>
                          <a:pt x="342106" y="2012598"/>
                          <a:pt x="403225" y="1963121"/>
                          <a:pt x="381000" y="1811250"/>
                        </a:cubicBezTo>
                        <a:lnTo>
                          <a:pt x="136525" y="1775532"/>
                        </a:lnTo>
                        <a:cubicBezTo>
                          <a:pt x="321733" y="1620221"/>
                          <a:pt x="722842" y="1172811"/>
                          <a:pt x="368300" y="579350"/>
                        </a:cubicBezTo>
                        <a:lnTo>
                          <a:pt x="421774" y="103100"/>
                        </a:lnTo>
                        <a:close/>
                      </a:path>
                    </a:pathLst>
                  </a:cu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sp>
                <p:nvSpPr>
                  <p:cNvPr id="116" name="Rectangle 7"/>
                  <p:cNvSpPr/>
                  <p:nvPr/>
                </p:nvSpPr>
                <p:spPr>
                  <a:xfrm flipH="1">
                    <a:off x="1105934" y="5468286"/>
                    <a:ext cx="292299" cy="504614"/>
                  </a:xfrm>
                  <a:custGeom>
                    <a:avLst/>
                    <a:gdLst>
                      <a:gd name="connsiteX0" fmla="*/ 0 w 2522871"/>
                      <a:gd name="connsiteY0" fmla="*/ 0 h 3685084"/>
                      <a:gd name="connsiteX1" fmla="*/ 2522871 w 2522871"/>
                      <a:gd name="connsiteY1" fmla="*/ 0 h 3685084"/>
                      <a:gd name="connsiteX2" fmla="*/ 2522871 w 2522871"/>
                      <a:gd name="connsiteY2" fmla="*/ 3685084 h 3685084"/>
                      <a:gd name="connsiteX3" fmla="*/ 0 w 2522871"/>
                      <a:gd name="connsiteY3" fmla="*/ 3685084 h 3685084"/>
                      <a:gd name="connsiteX4" fmla="*/ 0 w 2522871"/>
                      <a:gd name="connsiteY4"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0 w 2522871"/>
                      <a:gd name="connsiteY4" fmla="*/ 36850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0 w 2522871"/>
                      <a:gd name="connsiteY5"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0 w 2522871"/>
                      <a:gd name="connsiteY6"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298951 w 2522871"/>
                      <a:gd name="connsiteY6" fmla="*/ 1698625 h 3685084"/>
                      <a:gd name="connsiteX7" fmla="*/ 0 w 2522871"/>
                      <a:gd name="connsiteY7"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0 w 2522871"/>
                      <a:gd name="connsiteY7"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629151 w 2522871"/>
                      <a:gd name="connsiteY7" fmla="*/ 16478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743451 w 2522871"/>
                      <a:gd name="connsiteY6" fmla="*/ 1965325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429126 w 2522871"/>
                      <a:gd name="connsiteY6" fmla="*/ 1784350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0 w 2522871"/>
                      <a:gd name="connsiteY8"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660901 w 2522871"/>
                      <a:gd name="connsiteY8" fmla="*/ 1566863 h 3685084"/>
                      <a:gd name="connsiteX9" fmla="*/ 0 w 2522871"/>
                      <a:gd name="connsiteY9"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0 w 2522871"/>
                      <a:gd name="connsiteY9"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273551 w 2522871"/>
                      <a:gd name="connsiteY9" fmla="*/ 9302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0 w 2522871"/>
                      <a:gd name="connsiteY0" fmla="*/ 0 h 3685084"/>
                      <a:gd name="connsiteX1" fmla="*/ 2522871 w 2522871"/>
                      <a:gd name="connsiteY1" fmla="*/ 0 h 3685084"/>
                      <a:gd name="connsiteX2" fmla="*/ 2522871 w 2522871"/>
                      <a:gd name="connsiteY2" fmla="*/ 3685084 h 3685084"/>
                      <a:gd name="connsiteX3" fmla="*/ 2177757 w 2522871"/>
                      <a:gd name="connsiteY3" fmla="*/ 3683794 h 3685084"/>
                      <a:gd name="connsiteX4" fmla="*/ 400050 w 2522871"/>
                      <a:gd name="connsiteY4" fmla="*/ 2389684 h 3685084"/>
                      <a:gd name="connsiteX5" fmla="*/ 381501 w 2522871"/>
                      <a:gd name="connsiteY5" fmla="*/ 2238375 h 3685084"/>
                      <a:gd name="connsiteX6" fmla="*/ 657726 w 2522871"/>
                      <a:gd name="connsiteY6" fmla="*/ 2048669 h 3685084"/>
                      <a:gd name="connsiteX7" fmla="*/ 762501 w 2522871"/>
                      <a:gd name="connsiteY7" fmla="*/ 1800225 h 3685084"/>
                      <a:gd name="connsiteX8" fmla="*/ 518026 w 2522871"/>
                      <a:gd name="connsiteY8" fmla="*/ 1764507 h 3685084"/>
                      <a:gd name="connsiteX9" fmla="*/ 768851 w 2522871"/>
                      <a:gd name="connsiteY9" fmla="*/ 574675 h 3685084"/>
                      <a:gd name="connsiteX10" fmla="*/ 0 w 2522871"/>
                      <a:gd name="connsiteY10" fmla="*/ 0 h 3685084"/>
                      <a:gd name="connsiteX0" fmla="*/ 421774 w 2141370"/>
                      <a:gd name="connsiteY0" fmla="*/ 10160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87350 w 2141370"/>
                      <a:gd name="connsiteY9" fmla="*/ 574675 h 3685084"/>
                      <a:gd name="connsiteX10" fmla="*/ 421774 w 2141370"/>
                      <a:gd name="connsiteY10" fmla="*/ 101600 h 3685084"/>
                      <a:gd name="connsiteX0" fmla="*/ 421774 w 2141370"/>
                      <a:gd name="connsiteY0" fmla="*/ 10160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21774 w 2141370"/>
                      <a:gd name="connsiteY10" fmla="*/ 101600 h 3685084"/>
                      <a:gd name="connsiteX0" fmla="*/ 405899 w 2141370"/>
                      <a:gd name="connsiteY0" fmla="*/ 95250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05899 w 2141370"/>
                      <a:gd name="connsiteY10" fmla="*/ 95250 h 3685084"/>
                      <a:gd name="connsiteX0" fmla="*/ 421774 w 2141370"/>
                      <a:gd name="connsiteY0" fmla="*/ 92075 h 3685084"/>
                      <a:gd name="connsiteX1" fmla="*/ 2141370 w 2141370"/>
                      <a:gd name="connsiteY1" fmla="*/ 0 h 3685084"/>
                      <a:gd name="connsiteX2" fmla="*/ 2141370 w 2141370"/>
                      <a:gd name="connsiteY2" fmla="*/ 3685084 h 3685084"/>
                      <a:gd name="connsiteX3" fmla="*/ 1796256 w 2141370"/>
                      <a:gd name="connsiteY3" fmla="*/ 3683794 h 3685084"/>
                      <a:gd name="connsiteX4" fmla="*/ 18549 w 2141370"/>
                      <a:gd name="connsiteY4" fmla="*/ 2389684 h 3685084"/>
                      <a:gd name="connsiteX5" fmla="*/ 0 w 2141370"/>
                      <a:gd name="connsiteY5" fmla="*/ 2238375 h 3685084"/>
                      <a:gd name="connsiteX6" fmla="*/ 276225 w 2141370"/>
                      <a:gd name="connsiteY6" fmla="*/ 2048669 h 3685084"/>
                      <a:gd name="connsiteX7" fmla="*/ 381000 w 2141370"/>
                      <a:gd name="connsiteY7" fmla="*/ 1800225 h 3685084"/>
                      <a:gd name="connsiteX8" fmla="*/ 136525 w 2141370"/>
                      <a:gd name="connsiteY8" fmla="*/ 1764507 h 3685084"/>
                      <a:gd name="connsiteX9" fmla="*/ 368300 w 2141370"/>
                      <a:gd name="connsiteY9" fmla="*/ 568325 h 3685084"/>
                      <a:gd name="connsiteX10" fmla="*/ 421774 w 2141370"/>
                      <a:gd name="connsiteY10" fmla="*/ 92075 h 3685084"/>
                      <a:gd name="connsiteX0" fmla="*/ 421774 w 2141370"/>
                      <a:gd name="connsiteY0" fmla="*/ 92075 h 3685084"/>
                      <a:gd name="connsiteX1" fmla="*/ 857249 w 2141370"/>
                      <a:gd name="connsiteY1" fmla="*/ 73025 h 3685084"/>
                      <a:gd name="connsiteX2" fmla="*/ 2141370 w 2141370"/>
                      <a:gd name="connsiteY2" fmla="*/ 0 h 3685084"/>
                      <a:gd name="connsiteX3" fmla="*/ 2141370 w 2141370"/>
                      <a:gd name="connsiteY3" fmla="*/ 3685084 h 3685084"/>
                      <a:gd name="connsiteX4" fmla="*/ 1796256 w 2141370"/>
                      <a:gd name="connsiteY4" fmla="*/ 3683794 h 3685084"/>
                      <a:gd name="connsiteX5" fmla="*/ 18549 w 2141370"/>
                      <a:gd name="connsiteY5" fmla="*/ 2389684 h 3685084"/>
                      <a:gd name="connsiteX6" fmla="*/ 0 w 2141370"/>
                      <a:gd name="connsiteY6" fmla="*/ 2238375 h 3685084"/>
                      <a:gd name="connsiteX7" fmla="*/ 276225 w 2141370"/>
                      <a:gd name="connsiteY7" fmla="*/ 2048669 h 3685084"/>
                      <a:gd name="connsiteX8" fmla="*/ 381000 w 2141370"/>
                      <a:gd name="connsiteY8" fmla="*/ 1800225 h 3685084"/>
                      <a:gd name="connsiteX9" fmla="*/ 136525 w 2141370"/>
                      <a:gd name="connsiteY9" fmla="*/ 1764507 h 3685084"/>
                      <a:gd name="connsiteX10" fmla="*/ 368300 w 2141370"/>
                      <a:gd name="connsiteY10" fmla="*/ 568325 h 3685084"/>
                      <a:gd name="connsiteX11" fmla="*/ 421774 w 2141370"/>
                      <a:gd name="connsiteY11" fmla="*/ 92075 h 3685084"/>
                      <a:gd name="connsiteX0" fmla="*/ 421774 w 2141370"/>
                      <a:gd name="connsiteY0" fmla="*/ 101600 h 3694609"/>
                      <a:gd name="connsiteX1" fmla="*/ 739774 w 2141370"/>
                      <a:gd name="connsiteY1" fmla="*/ 0 h 3694609"/>
                      <a:gd name="connsiteX2" fmla="*/ 2141370 w 2141370"/>
                      <a:gd name="connsiteY2" fmla="*/ 9525 h 3694609"/>
                      <a:gd name="connsiteX3" fmla="*/ 2141370 w 2141370"/>
                      <a:gd name="connsiteY3" fmla="*/ 3694609 h 3694609"/>
                      <a:gd name="connsiteX4" fmla="*/ 1796256 w 2141370"/>
                      <a:gd name="connsiteY4" fmla="*/ 3693319 h 3694609"/>
                      <a:gd name="connsiteX5" fmla="*/ 18549 w 2141370"/>
                      <a:gd name="connsiteY5" fmla="*/ 2399209 h 3694609"/>
                      <a:gd name="connsiteX6" fmla="*/ 0 w 2141370"/>
                      <a:gd name="connsiteY6" fmla="*/ 2247900 h 3694609"/>
                      <a:gd name="connsiteX7" fmla="*/ 276225 w 2141370"/>
                      <a:gd name="connsiteY7" fmla="*/ 2058194 h 3694609"/>
                      <a:gd name="connsiteX8" fmla="*/ 381000 w 2141370"/>
                      <a:gd name="connsiteY8" fmla="*/ 1809750 h 3694609"/>
                      <a:gd name="connsiteX9" fmla="*/ 136525 w 2141370"/>
                      <a:gd name="connsiteY9" fmla="*/ 1774032 h 3694609"/>
                      <a:gd name="connsiteX10" fmla="*/ 368300 w 2141370"/>
                      <a:gd name="connsiteY10" fmla="*/ 577850 h 3694609"/>
                      <a:gd name="connsiteX11" fmla="*/ 421774 w 2141370"/>
                      <a:gd name="connsiteY11" fmla="*/ 101600 h 3694609"/>
                      <a:gd name="connsiteX0" fmla="*/ 421774 w 2141370"/>
                      <a:gd name="connsiteY0" fmla="*/ 101600 h 3694609"/>
                      <a:gd name="connsiteX1" fmla="*/ 739774 w 2141370"/>
                      <a:gd name="connsiteY1" fmla="*/ 0 h 3694609"/>
                      <a:gd name="connsiteX2" fmla="*/ 2141370 w 2141370"/>
                      <a:gd name="connsiteY2" fmla="*/ 9525 h 3694609"/>
                      <a:gd name="connsiteX3" fmla="*/ 2139949 w 2141370"/>
                      <a:gd name="connsiteY3" fmla="*/ 263526 h 3694609"/>
                      <a:gd name="connsiteX4" fmla="*/ 2141370 w 2141370"/>
                      <a:gd name="connsiteY4" fmla="*/ 3694609 h 3694609"/>
                      <a:gd name="connsiteX5" fmla="*/ 1796256 w 2141370"/>
                      <a:gd name="connsiteY5" fmla="*/ 3693319 h 3694609"/>
                      <a:gd name="connsiteX6" fmla="*/ 18549 w 2141370"/>
                      <a:gd name="connsiteY6" fmla="*/ 2399209 h 3694609"/>
                      <a:gd name="connsiteX7" fmla="*/ 0 w 2141370"/>
                      <a:gd name="connsiteY7" fmla="*/ 2247900 h 3694609"/>
                      <a:gd name="connsiteX8" fmla="*/ 276225 w 2141370"/>
                      <a:gd name="connsiteY8" fmla="*/ 2058194 h 3694609"/>
                      <a:gd name="connsiteX9" fmla="*/ 381000 w 2141370"/>
                      <a:gd name="connsiteY9" fmla="*/ 1809750 h 3694609"/>
                      <a:gd name="connsiteX10" fmla="*/ 136525 w 2141370"/>
                      <a:gd name="connsiteY10" fmla="*/ 1774032 h 3694609"/>
                      <a:gd name="connsiteX11" fmla="*/ 368300 w 2141370"/>
                      <a:gd name="connsiteY11" fmla="*/ 577850 h 3694609"/>
                      <a:gd name="connsiteX12" fmla="*/ 421774 w 2141370"/>
                      <a:gd name="connsiteY12" fmla="*/ 101600 h 3694609"/>
                      <a:gd name="connsiteX0" fmla="*/ 421774 w 2141370"/>
                      <a:gd name="connsiteY0" fmla="*/ 101600 h 3694609"/>
                      <a:gd name="connsiteX1" fmla="*/ 739774 w 2141370"/>
                      <a:gd name="connsiteY1" fmla="*/ 0 h 3694609"/>
                      <a:gd name="connsiteX2" fmla="*/ 1350795 w 2141370"/>
                      <a:gd name="connsiteY2" fmla="*/ 431800 h 3694609"/>
                      <a:gd name="connsiteX3" fmla="*/ 2139949 w 2141370"/>
                      <a:gd name="connsiteY3" fmla="*/ 263526 h 3694609"/>
                      <a:gd name="connsiteX4" fmla="*/ 2141370 w 2141370"/>
                      <a:gd name="connsiteY4" fmla="*/ 3694609 h 3694609"/>
                      <a:gd name="connsiteX5" fmla="*/ 1796256 w 2141370"/>
                      <a:gd name="connsiteY5" fmla="*/ 3693319 h 3694609"/>
                      <a:gd name="connsiteX6" fmla="*/ 18549 w 2141370"/>
                      <a:gd name="connsiteY6" fmla="*/ 2399209 h 3694609"/>
                      <a:gd name="connsiteX7" fmla="*/ 0 w 2141370"/>
                      <a:gd name="connsiteY7" fmla="*/ 2247900 h 3694609"/>
                      <a:gd name="connsiteX8" fmla="*/ 276225 w 2141370"/>
                      <a:gd name="connsiteY8" fmla="*/ 2058194 h 3694609"/>
                      <a:gd name="connsiteX9" fmla="*/ 381000 w 2141370"/>
                      <a:gd name="connsiteY9" fmla="*/ 1809750 h 3694609"/>
                      <a:gd name="connsiteX10" fmla="*/ 136525 w 2141370"/>
                      <a:gd name="connsiteY10" fmla="*/ 1774032 h 3694609"/>
                      <a:gd name="connsiteX11" fmla="*/ 368300 w 2141370"/>
                      <a:gd name="connsiteY11" fmla="*/ 577850 h 3694609"/>
                      <a:gd name="connsiteX12" fmla="*/ 421774 w 2141370"/>
                      <a:gd name="connsiteY12" fmla="*/ 101600 h 3694609"/>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49 h 3696158"/>
                      <a:gd name="connsiteX1" fmla="*/ 739774 w 2141370"/>
                      <a:gd name="connsiteY1" fmla="*/ 1549 h 3696158"/>
                      <a:gd name="connsiteX2" fmla="*/ 1350795 w 2141370"/>
                      <a:gd name="connsiteY2" fmla="*/ 433349 h 3696158"/>
                      <a:gd name="connsiteX3" fmla="*/ 2139949 w 2141370"/>
                      <a:gd name="connsiteY3" fmla="*/ 265075 h 3696158"/>
                      <a:gd name="connsiteX4" fmla="*/ 2141370 w 2141370"/>
                      <a:gd name="connsiteY4" fmla="*/ 3696158 h 3696158"/>
                      <a:gd name="connsiteX5" fmla="*/ 1796256 w 2141370"/>
                      <a:gd name="connsiteY5" fmla="*/ 3694868 h 3696158"/>
                      <a:gd name="connsiteX6" fmla="*/ 18549 w 2141370"/>
                      <a:gd name="connsiteY6" fmla="*/ 2400758 h 3696158"/>
                      <a:gd name="connsiteX7" fmla="*/ 0 w 2141370"/>
                      <a:gd name="connsiteY7" fmla="*/ 2249449 h 3696158"/>
                      <a:gd name="connsiteX8" fmla="*/ 276225 w 2141370"/>
                      <a:gd name="connsiteY8" fmla="*/ 2059743 h 3696158"/>
                      <a:gd name="connsiteX9" fmla="*/ 381000 w 2141370"/>
                      <a:gd name="connsiteY9" fmla="*/ 1811299 h 3696158"/>
                      <a:gd name="connsiteX10" fmla="*/ 136525 w 2141370"/>
                      <a:gd name="connsiteY10" fmla="*/ 1775581 h 3696158"/>
                      <a:gd name="connsiteX11" fmla="*/ 368300 w 2141370"/>
                      <a:gd name="connsiteY11" fmla="*/ 579399 h 3696158"/>
                      <a:gd name="connsiteX12" fmla="*/ 421774 w 2141370"/>
                      <a:gd name="connsiteY12" fmla="*/ 103149 h 3696158"/>
                      <a:gd name="connsiteX0" fmla="*/ 421774 w 2141370"/>
                      <a:gd name="connsiteY0" fmla="*/ 103100 h 3696109"/>
                      <a:gd name="connsiteX1" fmla="*/ 739774 w 2141370"/>
                      <a:gd name="connsiteY1" fmla="*/ 1500 h 3696109"/>
                      <a:gd name="connsiteX2" fmla="*/ 1350795 w 2141370"/>
                      <a:gd name="connsiteY2" fmla="*/ 433300 h 3696109"/>
                      <a:gd name="connsiteX3" fmla="*/ 2139949 w 2141370"/>
                      <a:gd name="connsiteY3" fmla="*/ 265026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370"/>
                      <a:gd name="connsiteY0" fmla="*/ 103100 h 3696109"/>
                      <a:gd name="connsiteX1" fmla="*/ 739774 w 2141370"/>
                      <a:gd name="connsiteY1" fmla="*/ 1500 h 3696109"/>
                      <a:gd name="connsiteX2" fmla="*/ 1350795 w 2141370"/>
                      <a:gd name="connsiteY2" fmla="*/ 433300 h 3696109"/>
                      <a:gd name="connsiteX3" fmla="*/ 1730374 w 2141370"/>
                      <a:gd name="connsiteY3" fmla="*/ 1557251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370"/>
                      <a:gd name="connsiteY0" fmla="*/ 103100 h 3696109"/>
                      <a:gd name="connsiteX1" fmla="*/ 739774 w 2141370"/>
                      <a:gd name="connsiteY1" fmla="*/ 1500 h 3696109"/>
                      <a:gd name="connsiteX2" fmla="*/ 1350795 w 2141370"/>
                      <a:gd name="connsiteY2" fmla="*/ 433300 h 3696109"/>
                      <a:gd name="connsiteX3" fmla="*/ 1758949 w 2141370"/>
                      <a:gd name="connsiteY3" fmla="*/ 1623926 h 3696109"/>
                      <a:gd name="connsiteX4" fmla="*/ 2141370 w 2141370"/>
                      <a:gd name="connsiteY4" fmla="*/ 3696109 h 3696109"/>
                      <a:gd name="connsiteX5" fmla="*/ 1796256 w 2141370"/>
                      <a:gd name="connsiteY5" fmla="*/ 3694819 h 3696109"/>
                      <a:gd name="connsiteX6" fmla="*/ 18549 w 2141370"/>
                      <a:gd name="connsiteY6" fmla="*/ 2400709 h 3696109"/>
                      <a:gd name="connsiteX7" fmla="*/ 0 w 2141370"/>
                      <a:gd name="connsiteY7" fmla="*/ 2249400 h 3696109"/>
                      <a:gd name="connsiteX8" fmla="*/ 276225 w 2141370"/>
                      <a:gd name="connsiteY8" fmla="*/ 2059694 h 3696109"/>
                      <a:gd name="connsiteX9" fmla="*/ 381000 w 2141370"/>
                      <a:gd name="connsiteY9" fmla="*/ 1811250 h 3696109"/>
                      <a:gd name="connsiteX10" fmla="*/ 136525 w 2141370"/>
                      <a:gd name="connsiteY10" fmla="*/ 1775532 h 3696109"/>
                      <a:gd name="connsiteX11" fmla="*/ 368300 w 2141370"/>
                      <a:gd name="connsiteY11" fmla="*/ 579350 h 3696109"/>
                      <a:gd name="connsiteX12" fmla="*/ 421774 w 2141370"/>
                      <a:gd name="connsiteY12" fmla="*/ 103100 h 3696109"/>
                      <a:gd name="connsiteX0" fmla="*/ 421774 w 2141439"/>
                      <a:gd name="connsiteY0" fmla="*/ 103100 h 3696109"/>
                      <a:gd name="connsiteX1" fmla="*/ 739774 w 2141439"/>
                      <a:gd name="connsiteY1" fmla="*/ 1500 h 3696109"/>
                      <a:gd name="connsiteX2" fmla="*/ 1350795 w 2141439"/>
                      <a:gd name="connsiteY2" fmla="*/ 433300 h 3696109"/>
                      <a:gd name="connsiteX3" fmla="*/ 1758949 w 2141439"/>
                      <a:gd name="connsiteY3" fmla="*/ 1623926 h 3696109"/>
                      <a:gd name="connsiteX4" fmla="*/ 1825624 w 2141439"/>
                      <a:gd name="connsiteY4" fmla="*/ 2319251 h 3696109"/>
                      <a:gd name="connsiteX5" fmla="*/ 2141370 w 2141439"/>
                      <a:gd name="connsiteY5" fmla="*/ 3696109 h 3696109"/>
                      <a:gd name="connsiteX6" fmla="*/ 1796256 w 2141439"/>
                      <a:gd name="connsiteY6" fmla="*/ 3694819 h 3696109"/>
                      <a:gd name="connsiteX7" fmla="*/ 18549 w 2141439"/>
                      <a:gd name="connsiteY7" fmla="*/ 2400709 h 3696109"/>
                      <a:gd name="connsiteX8" fmla="*/ 0 w 2141439"/>
                      <a:gd name="connsiteY8" fmla="*/ 2249400 h 3696109"/>
                      <a:gd name="connsiteX9" fmla="*/ 276225 w 2141439"/>
                      <a:gd name="connsiteY9" fmla="*/ 2059694 h 3696109"/>
                      <a:gd name="connsiteX10" fmla="*/ 381000 w 2141439"/>
                      <a:gd name="connsiteY10" fmla="*/ 1811250 h 3696109"/>
                      <a:gd name="connsiteX11" fmla="*/ 136525 w 2141439"/>
                      <a:gd name="connsiteY11" fmla="*/ 1775532 h 3696109"/>
                      <a:gd name="connsiteX12" fmla="*/ 368300 w 2141439"/>
                      <a:gd name="connsiteY12" fmla="*/ 579350 h 3696109"/>
                      <a:gd name="connsiteX13" fmla="*/ 421774 w 2141439"/>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0795 w 2141388"/>
                      <a:gd name="connsiteY2" fmla="*/ 43330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88"/>
                      <a:gd name="connsiteY0" fmla="*/ 103100 h 3696109"/>
                      <a:gd name="connsiteX1" fmla="*/ 739774 w 2141388"/>
                      <a:gd name="connsiteY1" fmla="*/ 1500 h 3696109"/>
                      <a:gd name="connsiteX2" fmla="*/ 1357145 w 2141388"/>
                      <a:gd name="connsiteY2" fmla="*/ 465050 h 3696109"/>
                      <a:gd name="connsiteX3" fmla="*/ 1758949 w 2141388"/>
                      <a:gd name="connsiteY3" fmla="*/ 1623926 h 3696109"/>
                      <a:gd name="connsiteX4" fmla="*/ 1130299 w 2141388"/>
                      <a:gd name="connsiteY4" fmla="*/ 1823951 h 3696109"/>
                      <a:gd name="connsiteX5" fmla="*/ 2141370 w 2141388"/>
                      <a:gd name="connsiteY5" fmla="*/ 3696109 h 3696109"/>
                      <a:gd name="connsiteX6" fmla="*/ 1796256 w 2141388"/>
                      <a:gd name="connsiteY6" fmla="*/ 3694819 h 3696109"/>
                      <a:gd name="connsiteX7" fmla="*/ 18549 w 2141388"/>
                      <a:gd name="connsiteY7" fmla="*/ 2400709 h 3696109"/>
                      <a:gd name="connsiteX8" fmla="*/ 0 w 2141388"/>
                      <a:gd name="connsiteY8" fmla="*/ 2249400 h 3696109"/>
                      <a:gd name="connsiteX9" fmla="*/ 276225 w 2141388"/>
                      <a:gd name="connsiteY9" fmla="*/ 2059694 h 3696109"/>
                      <a:gd name="connsiteX10" fmla="*/ 381000 w 2141388"/>
                      <a:gd name="connsiteY10" fmla="*/ 1811250 h 3696109"/>
                      <a:gd name="connsiteX11" fmla="*/ 136525 w 2141388"/>
                      <a:gd name="connsiteY11" fmla="*/ 1775532 h 3696109"/>
                      <a:gd name="connsiteX12" fmla="*/ 368300 w 2141388"/>
                      <a:gd name="connsiteY12" fmla="*/ 579350 h 3696109"/>
                      <a:gd name="connsiteX13" fmla="*/ 421774 w 2141388"/>
                      <a:gd name="connsiteY13"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250949 w 2141370"/>
                      <a:gd name="connsiteY5" fmla="*/ 2128751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1370"/>
                      <a:gd name="connsiteY0" fmla="*/ 103100 h 3696109"/>
                      <a:gd name="connsiteX1" fmla="*/ 739774 w 2141370"/>
                      <a:gd name="connsiteY1" fmla="*/ 1500 h 3696109"/>
                      <a:gd name="connsiteX2" fmla="*/ 1357145 w 2141370"/>
                      <a:gd name="connsiteY2" fmla="*/ 465050 h 3696109"/>
                      <a:gd name="connsiteX3" fmla="*/ 1758949 w 2141370"/>
                      <a:gd name="connsiteY3" fmla="*/ 1623926 h 3696109"/>
                      <a:gd name="connsiteX4" fmla="*/ 1130299 w 2141370"/>
                      <a:gd name="connsiteY4" fmla="*/ 1823951 h 3696109"/>
                      <a:gd name="connsiteX5" fmla="*/ 1171574 w 2141370"/>
                      <a:gd name="connsiteY5" fmla="*/ 2023976 h 3696109"/>
                      <a:gd name="connsiteX6" fmla="*/ 2141370 w 2141370"/>
                      <a:gd name="connsiteY6" fmla="*/ 3696109 h 3696109"/>
                      <a:gd name="connsiteX7" fmla="*/ 1796256 w 2141370"/>
                      <a:gd name="connsiteY7" fmla="*/ 3694819 h 3696109"/>
                      <a:gd name="connsiteX8" fmla="*/ 18549 w 2141370"/>
                      <a:gd name="connsiteY8" fmla="*/ 2400709 h 3696109"/>
                      <a:gd name="connsiteX9" fmla="*/ 0 w 2141370"/>
                      <a:gd name="connsiteY9" fmla="*/ 2249400 h 3696109"/>
                      <a:gd name="connsiteX10" fmla="*/ 276225 w 2141370"/>
                      <a:gd name="connsiteY10" fmla="*/ 2059694 h 3696109"/>
                      <a:gd name="connsiteX11" fmla="*/ 381000 w 2141370"/>
                      <a:gd name="connsiteY11" fmla="*/ 1811250 h 3696109"/>
                      <a:gd name="connsiteX12" fmla="*/ 136525 w 2141370"/>
                      <a:gd name="connsiteY12" fmla="*/ 1775532 h 3696109"/>
                      <a:gd name="connsiteX13" fmla="*/ 368300 w 2141370"/>
                      <a:gd name="connsiteY13" fmla="*/ 579350 h 3696109"/>
                      <a:gd name="connsiteX14" fmla="*/ 421774 w 2141370"/>
                      <a:gd name="connsiteY14" fmla="*/ 103100 h 3696109"/>
                      <a:gd name="connsiteX0" fmla="*/ 421774 w 2143147"/>
                      <a:gd name="connsiteY0" fmla="*/ 103100 h 3696109"/>
                      <a:gd name="connsiteX1" fmla="*/ 739774 w 2143147"/>
                      <a:gd name="connsiteY1" fmla="*/ 1500 h 3696109"/>
                      <a:gd name="connsiteX2" fmla="*/ 1357145 w 2143147"/>
                      <a:gd name="connsiteY2" fmla="*/ 465050 h 3696109"/>
                      <a:gd name="connsiteX3" fmla="*/ 1758949 w 2143147"/>
                      <a:gd name="connsiteY3" fmla="*/ 1623926 h 3696109"/>
                      <a:gd name="connsiteX4" fmla="*/ 1130299 w 2143147"/>
                      <a:gd name="connsiteY4" fmla="*/ 1823951 h 3696109"/>
                      <a:gd name="connsiteX5" fmla="*/ 1171574 w 2143147"/>
                      <a:gd name="connsiteY5" fmla="*/ 2023976 h 3696109"/>
                      <a:gd name="connsiteX6" fmla="*/ 2141370 w 2143147"/>
                      <a:gd name="connsiteY6" fmla="*/ 3696109 h 3696109"/>
                      <a:gd name="connsiteX7" fmla="*/ 1796256 w 2143147"/>
                      <a:gd name="connsiteY7" fmla="*/ 3694819 h 3696109"/>
                      <a:gd name="connsiteX8" fmla="*/ 18549 w 2143147"/>
                      <a:gd name="connsiteY8" fmla="*/ 2400709 h 3696109"/>
                      <a:gd name="connsiteX9" fmla="*/ 0 w 2143147"/>
                      <a:gd name="connsiteY9" fmla="*/ 2249400 h 3696109"/>
                      <a:gd name="connsiteX10" fmla="*/ 276225 w 2143147"/>
                      <a:gd name="connsiteY10" fmla="*/ 2059694 h 3696109"/>
                      <a:gd name="connsiteX11" fmla="*/ 381000 w 2143147"/>
                      <a:gd name="connsiteY11" fmla="*/ 1811250 h 3696109"/>
                      <a:gd name="connsiteX12" fmla="*/ 136525 w 2143147"/>
                      <a:gd name="connsiteY12" fmla="*/ 1775532 h 3696109"/>
                      <a:gd name="connsiteX13" fmla="*/ 368300 w 2143147"/>
                      <a:gd name="connsiteY13" fmla="*/ 579350 h 3696109"/>
                      <a:gd name="connsiteX14" fmla="*/ 421774 w 2143147"/>
                      <a:gd name="connsiteY14" fmla="*/ 103100 h 3696109"/>
                      <a:gd name="connsiteX0" fmla="*/ 421774 w 2145092"/>
                      <a:gd name="connsiteY0" fmla="*/ 103100 h 3696109"/>
                      <a:gd name="connsiteX1" fmla="*/ 739774 w 2145092"/>
                      <a:gd name="connsiteY1" fmla="*/ 1500 h 3696109"/>
                      <a:gd name="connsiteX2" fmla="*/ 1357145 w 2145092"/>
                      <a:gd name="connsiteY2" fmla="*/ 465050 h 3696109"/>
                      <a:gd name="connsiteX3" fmla="*/ 1758949 w 2145092"/>
                      <a:gd name="connsiteY3" fmla="*/ 1623926 h 3696109"/>
                      <a:gd name="connsiteX4" fmla="*/ 1130299 w 2145092"/>
                      <a:gd name="connsiteY4" fmla="*/ 1823951 h 3696109"/>
                      <a:gd name="connsiteX5" fmla="*/ 1171574 w 2145092"/>
                      <a:gd name="connsiteY5" fmla="*/ 2023976 h 3696109"/>
                      <a:gd name="connsiteX6" fmla="*/ 2141370 w 2145092"/>
                      <a:gd name="connsiteY6" fmla="*/ 3696109 h 3696109"/>
                      <a:gd name="connsiteX7" fmla="*/ 1796256 w 2145092"/>
                      <a:gd name="connsiteY7" fmla="*/ 3694819 h 3696109"/>
                      <a:gd name="connsiteX8" fmla="*/ 18549 w 2145092"/>
                      <a:gd name="connsiteY8" fmla="*/ 2400709 h 3696109"/>
                      <a:gd name="connsiteX9" fmla="*/ 0 w 2145092"/>
                      <a:gd name="connsiteY9" fmla="*/ 2249400 h 3696109"/>
                      <a:gd name="connsiteX10" fmla="*/ 276225 w 2145092"/>
                      <a:gd name="connsiteY10" fmla="*/ 2059694 h 3696109"/>
                      <a:gd name="connsiteX11" fmla="*/ 381000 w 2145092"/>
                      <a:gd name="connsiteY11" fmla="*/ 1811250 h 3696109"/>
                      <a:gd name="connsiteX12" fmla="*/ 136525 w 2145092"/>
                      <a:gd name="connsiteY12" fmla="*/ 1775532 h 3696109"/>
                      <a:gd name="connsiteX13" fmla="*/ 368300 w 2145092"/>
                      <a:gd name="connsiteY13" fmla="*/ 579350 h 3696109"/>
                      <a:gd name="connsiteX14" fmla="*/ 421774 w 2145092"/>
                      <a:gd name="connsiteY14" fmla="*/ 103100 h 3696109"/>
                      <a:gd name="connsiteX0" fmla="*/ 421774 w 2155745"/>
                      <a:gd name="connsiteY0" fmla="*/ 103100 h 3696109"/>
                      <a:gd name="connsiteX1" fmla="*/ 739774 w 2155745"/>
                      <a:gd name="connsiteY1" fmla="*/ 1500 h 3696109"/>
                      <a:gd name="connsiteX2" fmla="*/ 1357145 w 2155745"/>
                      <a:gd name="connsiteY2" fmla="*/ 465050 h 3696109"/>
                      <a:gd name="connsiteX3" fmla="*/ 1758949 w 2155745"/>
                      <a:gd name="connsiteY3" fmla="*/ 1623926 h 3696109"/>
                      <a:gd name="connsiteX4" fmla="*/ 1130299 w 2155745"/>
                      <a:gd name="connsiteY4" fmla="*/ 1823951 h 3696109"/>
                      <a:gd name="connsiteX5" fmla="*/ 1171574 w 2155745"/>
                      <a:gd name="connsiteY5" fmla="*/ 2023976 h 3696109"/>
                      <a:gd name="connsiteX6" fmla="*/ 1997073 w 2155745"/>
                      <a:gd name="connsiteY6" fmla="*/ 2687551 h 3696109"/>
                      <a:gd name="connsiteX7" fmla="*/ 2141370 w 2155745"/>
                      <a:gd name="connsiteY7" fmla="*/ 3696109 h 3696109"/>
                      <a:gd name="connsiteX8" fmla="*/ 1796256 w 2155745"/>
                      <a:gd name="connsiteY8" fmla="*/ 3694819 h 3696109"/>
                      <a:gd name="connsiteX9" fmla="*/ 18549 w 2155745"/>
                      <a:gd name="connsiteY9" fmla="*/ 2400709 h 3696109"/>
                      <a:gd name="connsiteX10" fmla="*/ 0 w 2155745"/>
                      <a:gd name="connsiteY10" fmla="*/ 2249400 h 3696109"/>
                      <a:gd name="connsiteX11" fmla="*/ 276225 w 2155745"/>
                      <a:gd name="connsiteY11" fmla="*/ 2059694 h 3696109"/>
                      <a:gd name="connsiteX12" fmla="*/ 381000 w 2155745"/>
                      <a:gd name="connsiteY12" fmla="*/ 1811250 h 3696109"/>
                      <a:gd name="connsiteX13" fmla="*/ 136525 w 2155745"/>
                      <a:gd name="connsiteY13" fmla="*/ 1775532 h 3696109"/>
                      <a:gd name="connsiteX14" fmla="*/ 368300 w 2155745"/>
                      <a:gd name="connsiteY14" fmla="*/ 579350 h 3696109"/>
                      <a:gd name="connsiteX15" fmla="*/ 421774 w 2155745"/>
                      <a:gd name="connsiteY15" fmla="*/ 103100 h 3696109"/>
                      <a:gd name="connsiteX0" fmla="*/ 421774 w 2159724"/>
                      <a:gd name="connsiteY0" fmla="*/ 103100 h 3696109"/>
                      <a:gd name="connsiteX1" fmla="*/ 739774 w 2159724"/>
                      <a:gd name="connsiteY1" fmla="*/ 1500 h 3696109"/>
                      <a:gd name="connsiteX2" fmla="*/ 1357145 w 2159724"/>
                      <a:gd name="connsiteY2" fmla="*/ 465050 h 3696109"/>
                      <a:gd name="connsiteX3" fmla="*/ 1758949 w 2159724"/>
                      <a:gd name="connsiteY3" fmla="*/ 1623926 h 3696109"/>
                      <a:gd name="connsiteX4" fmla="*/ 1130299 w 2159724"/>
                      <a:gd name="connsiteY4" fmla="*/ 1823951 h 3696109"/>
                      <a:gd name="connsiteX5" fmla="*/ 1171574 w 2159724"/>
                      <a:gd name="connsiteY5" fmla="*/ 2023976 h 3696109"/>
                      <a:gd name="connsiteX6" fmla="*/ 2016123 w 2159724"/>
                      <a:gd name="connsiteY6" fmla="*/ 2605001 h 3696109"/>
                      <a:gd name="connsiteX7" fmla="*/ 2141370 w 2159724"/>
                      <a:gd name="connsiteY7" fmla="*/ 3696109 h 3696109"/>
                      <a:gd name="connsiteX8" fmla="*/ 1796256 w 2159724"/>
                      <a:gd name="connsiteY8" fmla="*/ 3694819 h 3696109"/>
                      <a:gd name="connsiteX9" fmla="*/ 18549 w 2159724"/>
                      <a:gd name="connsiteY9" fmla="*/ 2400709 h 3696109"/>
                      <a:gd name="connsiteX10" fmla="*/ 0 w 2159724"/>
                      <a:gd name="connsiteY10" fmla="*/ 2249400 h 3696109"/>
                      <a:gd name="connsiteX11" fmla="*/ 276225 w 2159724"/>
                      <a:gd name="connsiteY11" fmla="*/ 2059694 h 3696109"/>
                      <a:gd name="connsiteX12" fmla="*/ 381000 w 2159724"/>
                      <a:gd name="connsiteY12" fmla="*/ 1811250 h 3696109"/>
                      <a:gd name="connsiteX13" fmla="*/ 136525 w 2159724"/>
                      <a:gd name="connsiteY13" fmla="*/ 1775532 h 3696109"/>
                      <a:gd name="connsiteX14" fmla="*/ 368300 w 2159724"/>
                      <a:gd name="connsiteY14" fmla="*/ 579350 h 3696109"/>
                      <a:gd name="connsiteX15" fmla="*/ 421774 w 2159724"/>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 name="connsiteX0" fmla="*/ 421774 w 2150649"/>
                      <a:gd name="connsiteY0" fmla="*/ 103100 h 3696109"/>
                      <a:gd name="connsiteX1" fmla="*/ 739774 w 2150649"/>
                      <a:gd name="connsiteY1" fmla="*/ 1500 h 3696109"/>
                      <a:gd name="connsiteX2" fmla="*/ 1357145 w 2150649"/>
                      <a:gd name="connsiteY2" fmla="*/ 465050 h 3696109"/>
                      <a:gd name="connsiteX3" fmla="*/ 1758949 w 2150649"/>
                      <a:gd name="connsiteY3" fmla="*/ 1623926 h 3696109"/>
                      <a:gd name="connsiteX4" fmla="*/ 1130299 w 2150649"/>
                      <a:gd name="connsiteY4" fmla="*/ 1823951 h 3696109"/>
                      <a:gd name="connsiteX5" fmla="*/ 1171574 w 2150649"/>
                      <a:gd name="connsiteY5" fmla="*/ 2023976 h 3696109"/>
                      <a:gd name="connsiteX6" fmla="*/ 2016123 w 2150649"/>
                      <a:gd name="connsiteY6" fmla="*/ 2605001 h 3696109"/>
                      <a:gd name="connsiteX7" fmla="*/ 2141370 w 2150649"/>
                      <a:gd name="connsiteY7" fmla="*/ 3696109 h 3696109"/>
                      <a:gd name="connsiteX8" fmla="*/ 1796256 w 2150649"/>
                      <a:gd name="connsiteY8" fmla="*/ 3694819 h 3696109"/>
                      <a:gd name="connsiteX9" fmla="*/ 18549 w 2150649"/>
                      <a:gd name="connsiteY9" fmla="*/ 2400709 h 3696109"/>
                      <a:gd name="connsiteX10" fmla="*/ 0 w 2150649"/>
                      <a:gd name="connsiteY10" fmla="*/ 2249400 h 3696109"/>
                      <a:gd name="connsiteX11" fmla="*/ 276225 w 2150649"/>
                      <a:gd name="connsiteY11" fmla="*/ 2059694 h 3696109"/>
                      <a:gd name="connsiteX12" fmla="*/ 381000 w 2150649"/>
                      <a:gd name="connsiteY12" fmla="*/ 1811250 h 3696109"/>
                      <a:gd name="connsiteX13" fmla="*/ 136525 w 2150649"/>
                      <a:gd name="connsiteY13" fmla="*/ 1775532 h 3696109"/>
                      <a:gd name="connsiteX14" fmla="*/ 368300 w 2150649"/>
                      <a:gd name="connsiteY14" fmla="*/ 579350 h 3696109"/>
                      <a:gd name="connsiteX15" fmla="*/ 421774 w 2150649"/>
                      <a:gd name="connsiteY15" fmla="*/ 103100 h 3696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0649" h="3696109">
                        <a:moveTo>
                          <a:pt x="421774" y="103100"/>
                        </a:moveTo>
                        <a:cubicBezTo>
                          <a:pt x="429349" y="72408"/>
                          <a:pt x="582974" y="-12258"/>
                          <a:pt x="739774" y="1500"/>
                        </a:cubicBezTo>
                        <a:cubicBezTo>
                          <a:pt x="1276823" y="-6967"/>
                          <a:pt x="1324921" y="330642"/>
                          <a:pt x="1357145" y="465050"/>
                        </a:cubicBezTo>
                        <a:cubicBezTo>
                          <a:pt x="1388421" y="616392"/>
                          <a:pt x="1311748" y="1434484"/>
                          <a:pt x="1758949" y="1623926"/>
                        </a:cubicBezTo>
                        <a:cubicBezTo>
                          <a:pt x="1606312" y="1741401"/>
                          <a:pt x="1396762" y="1773862"/>
                          <a:pt x="1130299" y="1823951"/>
                        </a:cubicBezTo>
                        <a:cubicBezTo>
                          <a:pt x="1109133" y="1965238"/>
                          <a:pt x="1155462" y="1994525"/>
                          <a:pt x="1171574" y="2023976"/>
                        </a:cubicBezTo>
                        <a:cubicBezTo>
                          <a:pt x="1268411" y="2069484"/>
                          <a:pt x="1943390" y="2418387"/>
                          <a:pt x="2016123" y="2605001"/>
                        </a:cubicBezTo>
                        <a:cubicBezTo>
                          <a:pt x="2114256" y="2909090"/>
                          <a:pt x="2174840" y="3528231"/>
                          <a:pt x="2141370" y="3696109"/>
                        </a:cubicBezTo>
                        <a:lnTo>
                          <a:pt x="1796256" y="3694819"/>
                        </a:lnTo>
                        <a:cubicBezTo>
                          <a:pt x="1692637" y="3079299"/>
                          <a:pt x="687318" y="2736829"/>
                          <a:pt x="18549" y="2400709"/>
                        </a:cubicBezTo>
                        <a:lnTo>
                          <a:pt x="0" y="2249400"/>
                        </a:lnTo>
                        <a:lnTo>
                          <a:pt x="276225" y="2059694"/>
                        </a:lnTo>
                        <a:cubicBezTo>
                          <a:pt x="342106" y="2012598"/>
                          <a:pt x="403225" y="1963121"/>
                          <a:pt x="381000" y="1811250"/>
                        </a:cubicBezTo>
                        <a:lnTo>
                          <a:pt x="136525" y="1775532"/>
                        </a:lnTo>
                        <a:cubicBezTo>
                          <a:pt x="321733" y="1620221"/>
                          <a:pt x="722842" y="1172811"/>
                          <a:pt x="368300" y="579350"/>
                        </a:cubicBezTo>
                        <a:lnTo>
                          <a:pt x="421774" y="103100"/>
                        </a:lnTo>
                        <a:close/>
                      </a:path>
                    </a:pathLst>
                  </a:cu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sp>
                <p:nvSpPr>
                  <p:cNvPr id="117" name="Rectangle 10"/>
                  <p:cNvSpPr/>
                  <p:nvPr/>
                </p:nvSpPr>
                <p:spPr>
                  <a:xfrm>
                    <a:off x="1171911" y="5364510"/>
                    <a:ext cx="681723" cy="786384"/>
                  </a:xfrm>
                  <a:custGeom>
                    <a:avLst/>
                    <a:gdLst>
                      <a:gd name="connsiteX0" fmla="*/ 0 w 5015897"/>
                      <a:gd name="connsiteY0" fmla="*/ 0 h 5769736"/>
                      <a:gd name="connsiteX1" fmla="*/ 5015897 w 5015897"/>
                      <a:gd name="connsiteY1" fmla="*/ 0 h 5769736"/>
                      <a:gd name="connsiteX2" fmla="*/ 5015897 w 5015897"/>
                      <a:gd name="connsiteY2" fmla="*/ 5769736 h 5769736"/>
                      <a:gd name="connsiteX3" fmla="*/ 0 w 5015897"/>
                      <a:gd name="connsiteY3" fmla="*/ 5769736 h 5769736"/>
                      <a:gd name="connsiteX4" fmla="*/ 0 w 5015897"/>
                      <a:gd name="connsiteY4" fmla="*/ 0 h 5769736"/>
                      <a:gd name="connsiteX0" fmla="*/ 3778 w 5019675"/>
                      <a:gd name="connsiteY0" fmla="*/ 0 h 5769736"/>
                      <a:gd name="connsiteX1" fmla="*/ 5019675 w 5019675"/>
                      <a:gd name="connsiteY1" fmla="*/ 0 h 5769736"/>
                      <a:gd name="connsiteX2" fmla="*/ 5019675 w 5019675"/>
                      <a:gd name="connsiteY2" fmla="*/ 5769736 h 5769736"/>
                      <a:gd name="connsiteX3" fmla="*/ 3778 w 5019675"/>
                      <a:gd name="connsiteY3" fmla="*/ 5769736 h 5769736"/>
                      <a:gd name="connsiteX4" fmla="*/ 0 w 5019675"/>
                      <a:gd name="connsiteY4" fmla="*/ 4122179 h 5769736"/>
                      <a:gd name="connsiteX5" fmla="*/ 3778 w 5019675"/>
                      <a:gd name="connsiteY5" fmla="*/ 0 h 5769736"/>
                      <a:gd name="connsiteX0" fmla="*/ 5 w 5015902"/>
                      <a:gd name="connsiteY0" fmla="*/ 0 h 5769736"/>
                      <a:gd name="connsiteX1" fmla="*/ 5015902 w 5015902"/>
                      <a:gd name="connsiteY1" fmla="*/ 0 h 5769736"/>
                      <a:gd name="connsiteX2" fmla="*/ 5015902 w 5015902"/>
                      <a:gd name="connsiteY2" fmla="*/ 5769736 h 5769736"/>
                      <a:gd name="connsiteX3" fmla="*/ 5 w 5015902"/>
                      <a:gd name="connsiteY3" fmla="*/ 5769736 h 5769736"/>
                      <a:gd name="connsiteX4" fmla="*/ 262927 w 5015902"/>
                      <a:gd name="connsiteY4" fmla="*/ 4284104 h 5769736"/>
                      <a:gd name="connsiteX5" fmla="*/ 5 w 5015902"/>
                      <a:gd name="connsiteY5" fmla="*/ 0 h 5769736"/>
                      <a:gd name="connsiteX0" fmla="*/ 10 w 5015907"/>
                      <a:gd name="connsiteY0" fmla="*/ 0 h 5769736"/>
                      <a:gd name="connsiteX1" fmla="*/ 5015907 w 5015907"/>
                      <a:gd name="connsiteY1" fmla="*/ 0 h 5769736"/>
                      <a:gd name="connsiteX2" fmla="*/ 5015907 w 5015907"/>
                      <a:gd name="connsiteY2" fmla="*/ 5769736 h 5769736"/>
                      <a:gd name="connsiteX3" fmla="*/ 10 w 5015907"/>
                      <a:gd name="connsiteY3" fmla="*/ 5769736 h 5769736"/>
                      <a:gd name="connsiteX4" fmla="*/ 262932 w 5015907"/>
                      <a:gd name="connsiteY4" fmla="*/ 4284104 h 5769736"/>
                      <a:gd name="connsiteX5" fmla="*/ 10 w 5015907"/>
                      <a:gd name="connsiteY5" fmla="*/ 0 h 5769736"/>
                      <a:gd name="connsiteX0" fmla="*/ 10 w 5015907"/>
                      <a:gd name="connsiteY0" fmla="*/ 0 h 5769736"/>
                      <a:gd name="connsiteX1" fmla="*/ 5015907 w 5015907"/>
                      <a:gd name="connsiteY1" fmla="*/ 0 h 5769736"/>
                      <a:gd name="connsiteX2" fmla="*/ 4996857 w 5015907"/>
                      <a:gd name="connsiteY2" fmla="*/ 4122179 h 5769736"/>
                      <a:gd name="connsiteX3" fmla="*/ 5015907 w 5015907"/>
                      <a:gd name="connsiteY3" fmla="*/ 5769736 h 5769736"/>
                      <a:gd name="connsiteX4" fmla="*/ 10 w 5015907"/>
                      <a:gd name="connsiteY4" fmla="*/ 5769736 h 5769736"/>
                      <a:gd name="connsiteX5" fmla="*/ 262932 w 5015907"/>
                      <a:gd name="connsiteY5" fmla="*/ 4284104 h 5769736"/>
                      <a:gd name="connsiteX6" fmla="*/ 10 w 5015907"/>
                      <a:gd name="connsiteY6" fmla="*/ 0 h 5769736"/>
                      <a:gd name="connsiteX0" fmla="*/ 10 w 5015907"/>
                      <a:gd name="connsiteY0" fmla="*/ 0 h 5769736"/>
                      <a:gd name="connsiteX1" fmla="*/ 5015907 w 5015907"/>
                      <a:gd name="connsiteY1" fmla="*/ 0 h 5769736"/>
                      <a:gd name="connsiteX2" fmla="*/ 4739682 w 5015907"/>
                      <a:gd name="connsiteY2" fmla="*/ 4217429 h 5769736"/>
                      <a:gd name="connsiteX3" fmla="*/ 5015907 w 5015907"/>
                      <a:gd name="connsiteY3" fmla="*/ 5769736 h 5769736"/>
                      <a:gd name="connsiteX4" fmla="*/ 10 w 5015907"/>
                      <a:gd name="connsiteY4" fmla="*/ 5769736 h 5769736"/>
                      <a:gd name="connsiteX5" fmla="*/ 262932 w 5015907"/>
                      <a:gd name="connsiteY5" fmla="*/ 4284104 h 5769736"/>
                      <a:gd name="connsiteX6" fmla="*/ 10 w 5015907"/>
                      <a:gd name="connsiteY6" fmla="*/ 0 h 5769736"/>
                      <a:gd name="connsiteX0" fmla="*/ 10 w 5015907"/>
                      <a:gd name="connsiteY0" fmla="*/ 0 h 5769736"/>
                      <a:gd name="connsiteX1" fmla="*/ 5015907 w 5015907"/>
                      <a:gd name="connsiteY1" fmla="*/ 0 h 5769736"/>
                      <a:gd name="connsiteX2" fmla="*/ 4739682 w 5015907"/>
                      <a:gd name="connsiteY2" fmla="*/ 4217429 h 5769736"/>
                      <a:gd name="connsiteX3" fmla="*/ 5015907 w 5015907"/>
                      <a:gd name="connsiteY3" fmla="*/ 5769736 h 5769736"/>
                      <a:gd name="connsiteX4" fmla="*/ 10 w 5015907"/>
                      <a:gd name="connsiteY4" fmla="*/ 5769736 h 5769736"/>
                      <a:gd name="connsiteX5" fmla="*/ 262932 w 5015907"/>
                      <a:gd name="connsiteY5" fmla="*/ 4284104 h 5769736"/>
                      <a:gd name="connsiteX6" fmla="*/ 10 w 5015907"/>
                      <a:gd name="connsiteY6" fmla="*/ 0 h 5769736"/>
                      <a:gd name="connsiteX0" fmla="*/ 10 w 5335493"/>
                      <a:gd name="connsiteY0" fmla="*/ 0 h 5769736"/>
                      <a:gd name="connsiteX1" fmla="*/ 5015907 w 5335493"/>
                      <a:gd name="connsiteY1" fmla="*/ 0 h 5769736"/>
                      <a:gd name="connsiteX2" fmla="*/ 4815882 w 5335493"/>
                      <a:gd name="connsiteY2" fmla="*/ 2645804 h 5769736"/>
                      <a:gd name="connsiteX3" fmla="*/ 4739682 w 5335493"/>
                      <a:gd name="connsiteY3" fmla="*/ 4217429 h 5769736"/>
                      <a:gd name="connsiteX4" fmla="*/ 5015907 w 5335493"/>
                      <a:gd name="connsiteY4" fmla="*/ 5769736 h 5769736"/>
                      <a:gd name="connsiteX5" fmla="*/ 10 w 5335493"/>
                      <a:gd name="connsiteY5" fmla="*/ 5769736 h 5769736"/>
                      <a:gd name="connsiteX6" fmla="*/ 262932 w 5335493"/>
                      <a:gd name="connsiteY6" fmla="*/ 4284104 h 5769736"/>
                      <a:gd name="connsiteX7" fmla="*/ 10 w 5335493"/>
                      <a:gd name="connsiteY7" fmla="*/ 0 h 5769736"/>
                      <a:gd name="connsiteX0" fmla="*/ 10 w 5165776"/>
                      <a:gd name="connsiteY0" fmla="*/ 0 h 5769736"/>
                      <a:gd name="connsiteX1" fmla="*/ 5015907 w 5165776"/>
                      <a:gd name="connsiteY1" fmla="*/ 0 h 5769736"/>
                      <a:gd name="connsiteX2" fmla="*/ 3091857 w 5165776"/>
                      <a:gd name="connsiteY2" fmla="*/ 3007754 h 5769736"/>
                      <a:gd name="connsiteX3" fmla="*/ 4739682 w 5165776"/>
                      <a:gd name="connsiteY3" fmla="*/ 4217429 h 5769736"/>
                      <a:gd name="connsiteX4" fmla="*/ 5015907 w 5165776"/>
                      <a:gd name="connsiteY4" fmla="*/ 5769736 h 5769736"/>
                      <a:gd name="connsiteX5" fmla="*/ 10 w 5165776"/>
                      <a:gd name="connsiteY5" fmla="*/ 5769736 h 5769736"/>
                      <a:gd name="connsiteX6" fmla="*/ 262932 w 5165776"/>
                      <a:gd name="connsiteY6" fmla="*/ 4284104 h 5769736"/>
                      <a:gd name="connsiteX7" fmla="*/ 10 w 5165776"/>
                      <a:gd name="connsiteY7" fmla="*/ 0 h 5769736"/>
                      <a:gd name="connsiteX0" fmla="*/ 327709 w 5493475"/>
                      <a:gd name="connsiteY0" fmla="*/ 0 h 5769736"/>
                      <a:gd name="connsiteX1" fmla="*/ 5343606 w 5493475"/>
                      <a:gd name="connsiteY1" fmla="*/ 0 h 5769736"/>
                      <a:gd name="connsiteX2" fmla="*/ 3419556 w 5493475"/>
                      <a:gd name="connsiteY2" fmla="*/ 3007754 h 5769736"/>
                      <a:gd name="connsiteX3" fmla="*/ 5067381 w 5493475"/>
                      <a:gd name="connsiteY3" fmla="*/ 4217429 h 5769736"/>
                      <a:gd name="connsiteX4" fmla="*/ 5343606 w 5493475"/>
                      <a:gd name="connsiteY4" fmla="*/ 5769736 h 5769736"/>
                      <a:gd name="connsiteX5" fmla="*/ 327709 w 5493475"/>
                      <a:gd name="connsiteY5" fmla="*/ 5769736 h 5769736"/>
                      <a:gd name="connsiteX6" fmla="*/ 590631 w 5493475"/>
                      <a:gd name="connsiteY6" fmla="*/ 4284104 h 5769736"/>
                      <a:gd name="connsiteX7" fmla="*/ 495381 w 5493475"/>
                      <a:gd name="connsiteY7" fmla="*/ 2817254 h 5769736"/>
                      <a:gd name="connsiteX8" fmla="*/ 327709 w 5493475"/>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2871 w 5318637"/>
                      <a:gd name="connsiteY0" fmla="*/ 0 h 5769736"/>
                      <a:gd name="connsiteX1" fmla="*/ 5168768 w 5318637"/>
                      <a:gd name="connsiteY1" fmla="*/ 0 h 5769736"/>
                      <a:gd name="connsiteX2" fmla="*/ 3244718 w 5318637"/>
                      <a:gd name="connsiteY2" fmla="*/ 3007754 h 5769736"/>
                      <a:gd name="connsiteX3" fmla="*/ 4892543 w 5318637"/>
                      <a:gd name="connsiteY3" fmla="*/ 4217429 h 5769736"/>
                      <a:gd name="connsiteX4" fmla="*/ 5168768 w 5318637"/>
                      <a:gd name="connsiteY4" fmla="*/ 5769736 h 5769736"/>
                      <a:gd name="connsiteX5" fmla="*/ 152871 w 5318637"/>
                      <a:gd name="connsiteY5" fmla="*/ 5769736 h 5769736"/>
                      <a:gd name="connsiteX6" fmla="*/ 415793 w 5318637"/>
                      <a:gd name="connsiteY6" fmla="*/ 4284104 h 5769736"/>
                      <a:gd name="connsiteX7" fmla="*/ 2035043 w 5318637"/>
                      <a:gd name="connsiteY7" fmla="*/ 3103004 h 5769736"/>
                      <a:gd name="connsiteX8" fmla="*/ 152871 w 5318637"/>
                      <a:gd name="connsiteY8" fmla="*/ 0 h 5769736"/>
                      <a:gd name="connsiteX0" fmla="*/ 153326 w 5319092"/>
                      <a:gd name="connsiteY0" fmla="*/ 0 h 5769736"/>
                      <a:gd name="connsiteX1" fmla="*/ 5169223 w 5319092"/>
                      <a:gd name="connsiteY1" fmla="*/ 0 h 5769736"/>
                      <a:gd name="connsiteX2" fmla="*/ 3245173 w 5319092"/>
                      <a:gd name="connsiteY2" fmla="*/ 3007754 h 5769736"/>
                      <a:gd name="connsiteX3" fmla="*/ 4892998 w 5319092"/>
                      <a:gd name="connsiteY3" fmla="*/ 4217429 h 5769736"/>
                      <a:gd name="connsiteX4" fmla="*/ 5169223 w 5319092"/>
                      <a:gd name="connsiteY4" fmla="*/ 5769736 h 5769736"/>
                      <a:gd name="connsiteX5" fmla="*/ 153326 w 5319092"/>
                      <a:gd name="connsiteY5" fmla="*/ 5769736 h 5769736"/>
                      <a:gd name="connsiteX6" fmla="*/ 416248 w 5319092"/>
                      <a:gd name="connsiteY6" fmla="*/ 4284104 h 5769736"/>
                      <a:gd name="connsiteX7" fmla="*/ 2025973 w 5319092"/>
                      <a:gd name="connsiteY7" fmla="*/ 3274454 h 5769736"/>
                      <a:gd name="connsiteX8" fmla="*/ 153326 w 5319092"/>
                      <a:gd name="connsiteY8" fmla="*/ 0 h 5769736"/>
                      <a:gd name="connsiteX0" fmla="*/ 153326 w 5319092"/>
                      <a:gd name="connsiteY0" fmla="*/ 0 h 5769736"/>
                      <a:gd name="connsiteX1" fmla="*/ 5169223 w 5319092"/>
                      <a:gd name="connsiteY1" fmla="*/ 0 h 5769736"/>
                      <a:gd name="connsiteX2" fmla="*/ 3245173 w 5319092"/>
                      <a:gd name="connsiteY2" fmla="*/ 3007754 h 5769736"/>
                      <a:gd name="connsiteX3" fmla="*/ 4892998 w 5319092"/>
                      <a:gd name="connsiteY3" fmla="*/ 4217429 h 5769736"/>
                      <a:gd name="connsiteX4" fmla="*/ 5169223 w 5319092"/>
                      <a:gd name="connsiteY4" fmla="*/ 5769736 h 5769736"/>
                      <a:gd name="connsiteX5" fmla="*/ 153326 w 5319092"/>
                      <a:gd name="connsiteY5" fmla="*/ 5769736 h 5769736"/>
                      <a:gd name="connsiteX6" fmla="*/ 416248 w 5319092"/>
                      <a:gd name="connsiteY6" fmla="*/ 4284104 h 5769736"/>
                      <a:gd name="connsiteX7" fmla="*/ 2025973 w 5319092"/>
                      <a:gd name="connsiteY7" fmla="*/ 3274454 h 5769736"/>
                      <a:gd name="connsiteX8" fmla="*/ 153326 w 5319092"/>
                      <a:gd name="connsiteY8" fmla="*/ 0 h 5769736"/>
                      <a:gd name="connsiteX0" fmla="*/ 143506 w 5309272"/>
                      <a:gd name="connsiteY0" fmla="*/ 0 h 5769736"/>
                      <a:gd name="connsiteX1" fmla="*/ 5159403 w 5309272"/>
                      <a:gd name="connsiteY1" fmla="*/ 0 h 5769736"/>
                      <a:gd name="connsiteX2" fmla="*/ 3235353 w 5309272"/>
                      <a:gd name="connsiteY2" fmla="*/ 3007754 h 5769736"/>
                      <a:gd name="connsiteX3" fmla="*/ 4883178 w 5309272"/>
                      <a:gd name="connsiteY3" fmla="*/ 4217429 h 5769736"/>
                      <a:gd name="connsiteX4" fmla="*/ 5159403 w 5309272"/>
                      <a:gd name="connsiteY4" fmla="*/ 5769736 h 5769736"/>
                      <a:gd name="connsiteX5" fmla="*/ 143506 w 5309272"/>
                      <a:gd name="connsiteY5" fmla="*/ 5769736 h 5769736"/>
                      <a:gd name="connsiteX6" fmla="*/ 406428 w 5309272"/>
                      <a:gd name="connsiteY6" fmla="*/ 4284104 h 5769736"/>
                      <a:gd name="connsiteX7" fmla="*/ 2016153 w 5309272"/>
                      <a:gd name="connsiteY7" fmla="*/ 3274454 h 5769736"/>
                      <a:gd name="connsiteX8" fmla="*/ 143506 w 5309272"/>
                      <a:gd name="connsiteY8" fmla="*/ 0 h 5769736"/>
                      <a:gd name="connsiteX0" fmla="*/ 143506 w 5323797"/>
                      <a:gd name="connsiteY0" fmla="*/ 0 h 5769736"/>
                      <a:gd name="connsiteX1" fmla="*/ 5159403 w 5323797"/>
                      <a:gd name="connsiteY1" fmla="*/ 0 h 5769736"/>
                      <a:gd name="connsiteX2" fmla="*/ 3521103 w 5323797"/>
                      <a:gd name="connsiteY2" fmla="*/ 3160154 h 5769736"/>
                      <a:gd name="connsiteX3" fmla="*/ 4883178 w 5323797"/>
                      <a:gd name="connsiteY3" fmla="*/ 4217429 h 5769736"/>
                      <a:gd name="connsiteX4" fmla="*/ 5159403 w 5323797"/>
                      <a:gd name="connsiteY4" fmla="*/ 5769736 h 5769736"/>
                      <a:gd name="connsiteX5" fmla="*/ 143506 w 5323797"/>
                      <a:gd name="connsiteY5" fmla="*/ 5769736 h 5769736"/>
                      <a:gd name="connsiteX6" fmla="*/ 406428 w 5323797"/>
                      <a:gd name="connsiteY6" fmla="*/ 4284104 h 5769736"/>
                      <a:gd name="connsiteX7" fmla="*/ 2016153 w 5323797"/>
                      <a:gd name="connsiteY7" fmla="*/ 3274454 h 5769736"/>
                      <a:gd name="connsiteX8" fmla="*/ 143506 w 5323797"/>
                      <a:gd name="connsiteY8" fmla="*/ 0 h 5769736"/>
                      <a:gd name="connsiteX0" fmla="*/ 143506 w 5311512"/>
                      <a:gd name="connsiteY0" fmla="*/ 0 h 5769736"/>
                      <a:gd name="connsiteX1" fmla="*/ 5159403 w 5311512"/>
                      <a:gd name="connsiteY1" fmla="*/ 0 h 5769736"/>
                      <a:gd name="connsiteX2" fmla="*/ 3282978 w 5311512"/>
                      <a:gd name="connsiteY2" fmla="*/ 3188729 h 5769736"/>
                      <a:gd name="connsiteX3" fmla="*/ 4883178 w 5311512"/>
                      <a:gd name="connsiteY3" fmla="*/ 4217429 h 5769736"/>
                      <a:gd name="connsiteX4" fmla="*/ 5159403 w 5311512"/>
                      <a:gd name="connsiteY4" fmla="*/ 5769736 h 5769736"/>
                      <a:gd name="connsiteX5" fmla="*/ 143506 w 5311512"/>
                      <a:gd name="connsiteY5" fmla="*/ 5769736 h 5769736"/>
                      <a:gd name="connsiteX6" fmla="*/ 406428 w 5311512"/>
                      <a:gd name="connsiteY6" fmla="*/ 4284104 h 5769736"/>
                      <a:gd name="connsiteX7" fmla="*/ 2016153 w 5311512"/>
                      <a:gd name="connsiteY7" fmla="*/ 3274454 h 5769736"/>
                      <a:gd name="connsiteX8" fmla="*/ 143506 w 5311512"/>
                      <a:gd name="connsiteY8" fmla="*/ 0 h 5769736"/>
                      <a:gd name="connsiteX0" fmla="*/ 143506 w 5311512"/>
                      <a:gd name="connsiteY0" fmla="*/ 0 h 5769736"/>
                      <a:gd name="connsiteX1" fmla="*/ 5159403 w 5311512"/>
                      <a:gd name="connsiteY1" fmla="*/ 0 h 5769736"/>
                      <a:gd name="connsiteX2" fmla="*/ 3282978 w 5311512"/>
                      <a:gd name="connsiteY2" fmla="*/ 3188729 h 5769736"/>
                      <a:gd name="connsiteX3" fmla="*/ 4883178 w 5311512"/>
                      <a:gd name="connsiteY3" fmla="*/ 4217429 h 5769736"/>
                      <a:gd name="connsiteX4" fmla="*/ 5159403 w 5311512"/>
                      <a:gd name="connsiteY4" fmla="*/ 5769736 h 5769736"/>
                      <a:gd name="connsiteX5" fmla="*/ 143506 w 5311512"/>
                      <a:gd name="connsiteY5" fmla="*/ 5769736 h 5769736"/>
                      <a:gd name="connsiteX6" fmla="*/ 406428 w 5311512"/>
                      <a:gd name="connsiteY6" fmla="*/ 4284104 h 5769736"/>
                      <a:gd name="connsiteX7" fmla="*/ 2016153 w 5311512"/>
                      <a:gd name="connsiteY7" fmla="*/ 3274454 h 5769736"/>
                      <a:gd name="connsiteX8" fmla="*/ 143506 w 5311512"/>
                      <a:gd name="connsiteY8" fmla="*/ 0 h 5769736"/>
                      <a:gd name="connsiteX0" fmla="*/ 143506 w 5310651"/>
                      <a:gd name="connsiteY0" fmla="*/ 0 h 5769736"/>
                      <a:gd name="connsiteX1" fmla="*/ 5159403 w 5310651"/>
                      <a:gd name="connsiteY1" fmla="*/ 0 h 5769736"/>
                      <a:gd name="connsiteX2" fmla="*/ 3282978 w 5310651"/>
                      <a:gd name="connsiteY2" fmla="*/ 3188729 h 5769736"/>
                      <a:gd name="connsiteX3" fmla="*/ 4883178 w 5310651"/>
                      <a:gd name="connsiteY3" fmla="*/ 4217429 h 5769736"/>
                      <a:gd name="connsiteX4" fmla="*/ 5159403 w 5310651"/>
                      <a:gd name="connsiteY4" fmla="*/ 5769736 h 5769736"/>
                      <a:gd name="connsiteX5" fmla="*/ 143506 w 5310651"/>
                      <a:gd name="connsiteY5" fmla="*/ 5769736 h 5769736"/>
                      <a:gd name="connsiteX6" fmla="*/ 406428 w 5310651"/>
                      <a:gd name="connsiteY6" fmla="*/ 4284104 h 5769736"/>
                      <a:gd name="connsiteX7" fmla="*/ 2016153 w 5310651"/>
                      <a:gd name="connsiteY7" fmla="*/ 3274454 h 5769736"/>
                      <a:gd name="connsiteX8" fmla="*/ 143506 w 5310651"/>
                      <a:gd name="connsiteY8" fmla="*/ 0 h 5769736"/>
                      <a:gd name="connsiteX0" fmla="*/ 121781 w 5288926"/>
                      <a:gd name="connsiteY0" fmla="*/ 0 h 5769736"/>
                      <a:gd name="connsiteX1" fmla="*/ 5137678 w 5288926"/>
                      <a:gd name="connsiteY1" fmla="*/ 0 h 5769736"/>
                      <a:gd name="connsiteX2" fmla="*/ 3261253 w 5288926"/>
                      <a:gd name="connsiteY2" fmla="*/ 3188729 h 5769736"/>
                      <a:gd name="connsiteX3" fmla="*/ 4861453 w 5288926"/>
                      <a:gd name="connsiteY3" fmla="*/ 4217429 h 5769736"/>
                      <a:gd name="connsiteX4" fmla="*/ 5137678 w 5288926"/>
                      <a:gd name="connsiteY4" fmla="*/ 5769736 h 5769736"/>
                      <a:gd name="connsiteX5" fmla="*/ 121781 w 5288926"/>
                      <a:gd name="connsiteY5" fmla="*/ 5769736 h 5769736"/>
                      <a:gd name="connsiteX6" fmla="*/ 384703 w 5288926"/>
                      <a:gd name="connsiteY6" fmla="*/ 4284104 h 5769736"/>
                      <a:gd name="connsiteX7" fmla="*/ 1994428 w 5288926"/>
                      <a:gd name="connsiteY7" fmla="*/ 3274454 h 5769736"/>
                      <a:gd name="connsiteX8" fmla="*/ 1584855 w 5288926"/>
                      <a:gd name="connsiteY8" fmla="*/ 2626754 h 5769736"/>
                      <a:gd name="connsiteX9" fmla="*/ 121781 w 5288926"/>
                      <a:gd name="connsiteY9" fmla="*/ 0 h 5769736"/>
                      <a:gd name="connsiteX0" fmla="*/ 102897 w 5270042"/>
                      <a:gd name="connsiteY0" fmla="*/ 0 h 5769736"/>
                      <a:gd name="connsiteX1" fmla="*/ 5118794 w 5270042"/>
                      <a:gd name="connsiteY1" fmla="*/ 0 h 5769736"/>
                      <a:gd name="connsiteX2" fmla="*/ 3242369 w 5270042"/>
                      <a:gd name="connsiteY2" fmla="*/ 3188729 h 5769736"/>
                      <a:gd name="connsiteX3" fmla="*/ 4842569 w 5270042"/>
                      <a:gd name="connsiteY3" fmla="*/ 4217429 h 5769736"/>
                      <a:gd name="connsiteX4" fmla="*/ 5118794 w 5270042"/>
                      <a:gd name="connsiteY4" fmla="*/ 5769736 h 5769736"/>
                      <a:gd name="connsiteX5" fmla="*/ 102897 w 5270042"/>
                      <a:gd name="connsiteY5" fmla="*/ 5769736 h 5769736"/>
                      <a:gd name="connsiteX6" fmla="*/ 365819 w 5270042"/>
                      <a:gd name="connsiteY6" fmla="*/ 4284104 h 5769736"/>
                      <a:gd name="connsiteX7" fmla="*/ 1975544 w 5270042"/>
                      <a:gd name="connsiteY7" fmla="*/ 3274454 h 5769736"/>
                      <a:gd name="connsiteX8" fmla="*/ 1966021 w 5270042"/>
                      <a:gd name="connsiteY8" fmla="*/ 2902979 h 5769736"/>
                      <a:gd name="connsiteX9" fmla="*/ 102897 w 5270042"/>
                      <a:gd name="connsiteY9" fmla="*/ 0 h 5769736"/>
                      <a:gd name="connsiteX0" fmla="*/ 102897 w 5270042"/>
                      <a:gd name="connsiteY0" fmla="*/ 0 h 5769736"/>
                      <a:gd name="connsiteX1" fmla="*/ 5118794 w 5270042"/>
                      <a:gd name="connsiteY1" fmla="*/ 0 h 5769736"/>
                      <a:gd name="connsiteX2" fmla="*/ 3242369 w 5270042"/>
                      <a:gd name="connsiteY2" fmla="*/ 3188729 h 5769736"/>
                      <a:gd name="connsiteX3" fmla="*/ 4842569 w 5270042"/>
                      <a:gd name="connsiteY3" fmla="*/ 4217429 h 5769736"/>
                      <a:gd name="connsiteX4" fmla="*/ 5118794 w 5270042"/>
                      <a:gd name="connsiteY4" fmla="*/ 5769736 h 5769736"/>
                      <a:gd name="connsiteX5" fmla="*/ 102897 w 5270042"/>
                      <a:gd name="connsiteY5" fmla="*/ 5769736 h 5769736"/>
                      <a:gd name="connsiteX6" fmla="*/ 365819 w 5270042"/>
                      <a:gd name="connsiteY6" fmla="*/ 4284104 h 5769736"/>
                      <a:gd name="connsiteX7" fmla="*/ 1975544 w 5270042"/>
                      <a:gd name="connsiteY7" fmla="*/ 3274454 h 5769736"/>
                      <a:gd name="connsiteX8" fmla="*/ 1966021 w 5270042"/>
                      <a:gd name="connsiteY8" fmla="*/ 2902979 h 5769736"/>
                      <a:gd name="connsiteX9" fmla="*/ 102897 w 5270042"/>
                      <a:gd name="connsiteY9" fmla="*/ 0 h 5769736"/>
                      <a:gd name="connsiteX0" fmla="*/ 102897 w 5211842"/>
                      <a:gd name="connsiteY0" fmla="*/ 0 h 5769736"/>
                      <a:gd name="connsiteX1" fmla="*/ 5118794 w 5211842"/>
                      <a:gd name="connsiteY1" fmla="*/ 0 h 5769736"/>
                      <a:gd name="connsiteX2" fmla="*/ 3356670 w 5211842"/>
                      <a:gd name="connsiteY2" fmla="*/ 2836304 h 5769736"/>
                      <a:gd name="connsiteX3" fmla="*/ 3242369 w 5211842"/>
                      <a:gd name="connsiteY3" fmla="*/ 3188729 h 5769736"/>
                      <a:gd name="connsiteX4" fmla="*/ 4842569 w 5211842"/>
                      <a:gd name="connsiteY4" fmla="*/ 4217429 h 5769736"/>
                      <a:gd name="connsiteX5" fmla="*/ 5118794 w 5211842"/>
                      <a:gd name="connsiteY5" fmla="*/ 5769736 h 5769736"/>
                      <a:gd name="connsiteX6" fmla="*/ 102897 w 5211842"/>
                      <a:gd name="connsiteY6" fmla="*/ 5769736 h 5769736"/>
                      <a:gd name="connsiteX7" fmla="*/ 365819 w 5211842"/>
                      <a:gd name="connsiteY7" fmla="*/ 4284104 h 5769736"/>
                      <a:gd name="connsiteX8" fmla="*/ 1975544 w 5211842"/>
                      <a:gd name="connsiteY8" fmla="*/ 3274454 h 5769736"/>
                      <a:gd name="connsiteX9" fmla="*/ 1966021 w 5211842"/>
                      <a:gd name="connsiteY9" fmla="*/ 2902979 h 5769736"/>
                      <a:gd name="connsiteX10" fmla="*/ 102897 w 5211842"/>
                      <a:gd name="connsiteY10" fmla="*/ 0 h 5769736"/>
                      <a:gd name="connsiteX0" fmla="*/ 102897 w 5206922"/>
                      <a:gd name="connsiteY0" fmla="*/ 0 h 5769736"/>
                      <a:gd name="connsiteX1" fmla="*/ 5118794 w 5206922"/>
                      <a:gd name="connsiteY1" fmla="*/ 0 h 5769736"/>
                      <a:gd name="connsiteX2" fmla="*/ 3223320 w 5206922"/>
                      <a:gd name="connsiteY2" fmla="*/ 2883929 h 5769736"/>
                      <a:gd name="connsiteX3" fmla="*/ 3242369 w 5206922"/>
                      <a:gd name="connsiteY3" fmla="*/ 3188729 h 5769736"/>
                      <a:gd name="connsiteX4" fmla="*/ 4842569 w 5206922"/>
                      <a:gd name="connsiteY4" fmla="*/ 4217429 h 5769736"/>
                      <a:gd name="connsiteX5" fmla="*/ 5118794 w 5206922"/>
                      <a:gd name="connsiteY5" fmla="*/ 5769736 h 5769736"/>
                      <a:gd name="connsiteX6" fmla="*/ 102897 w 5206922"/>
                      <a:gd name="connsiteY6" fmla="*/ 5769736 h 5769736"/>
                      <a:gd name="connsiteX7" fmla="*/ 365819 w 5206922"/>
                      <a:gd name="connsiteY7" fmla="*/ 4284104 h 5769736"/>
                      <a:gd name="connsiteX8" fmla="*/ 1975544 w 5206922"/>
                      <a:gd name="connsiteY8" fmla="*/ 3274454 h 5769736"/>
                      <a:gd name="connsiteX9" fmla="*/ 1966021 w 5206922"/>
                      <a:gd name="connsiteY9" fmla="*/ 2902979 h 5769736"/>
                      <a:gd name="connsiteX10" fmla="*/ 102897 w 5206922"/>
                      <a:gd name="connsiteY10" fmla="*/ 0 h 5769736"/>
                      <a:gd name="connsiteX0" fmla="*/ 102897 w 5206922"/>
                      <a:gd name="connsiteY0" fmla="*/ 0 h 5769736"/>
                      <a:gd name="connsiteX1" fmla="*/ 5118794 w 5206922"/>
                      <a:gd name="connsiteY1" fmla="*/ 0 h 5769736"/>
                      <a:gd name="connsiteX2" fmla="*/ 3223320 w 5206922"/>
                      <a:gd name="connsiteY2" fmla="*/ 2883929 h 5769736"/>
                      <a:gd name="connsiteX3" fmla="*/ 3242369 w 5206922"/>
                      <a:gd name="connsiteY3" fmla="*/ 3188729 h 5769736"/>
                      <a:gd name="connsiteX4" fmla="*/ 4842569 w 5206922"/>
                      <a:gd name="connsiteY4" fmla="*/ 4217429 h 5769736"/>
                      <a:gd name="connsiteX5" fmla="*/ 5118794 w 5206922"/>
                      <a:gd name="connsiteY5" fmla="*/ 5769736 h 5769736"/>
                      <a:gd name="connsiteX6" fmla="*/ 102897 w 5206922"/>
                      <a:gd name="connsiteY6" fmla="*/ 5769736 h 5769736"/>
                      <a:gd name="connsiteX7" fmla="*/ 365819 w 5206922"/>
                      <a:gd name="connsiteY7" fmla="*/ 4284104 h 5769736"/>
                      <a:gd name="connsiteX8" fmla="*/ 1975544 w 5206922"/>
                      <a:gd name="connsiteY8" fmla="*/ 3274454 h 5769736"/>
                      <a:gd name="connsiteX9" fmla="*/ 1966021 w 5206922"/>
                      <a:gd name="connsiteY9" fmla="*/ 2902979 h 5769736"/>
                      <a:gd name="connsiteX10" fmla="*/ 102897 w 5206922"/>
                      <a:gd name="connsiteY10" fmla="*/ 0 h 5769736"/>
                      <a:gd name="connsiteX0" fmla="*/ 102897 w 5206922"/>
                      <a:gd name="connsiteY0" fmla="*/ 0 h 5769736"/>
                      <a:gd name="connsiteX1" fmla="*/ 5118794 w 5206922"/>
                      <a:gd name="connsiteY1" fmla="*/ 0 h 5769736"/>
                      <a:gd name="connsiteX2" fmla="*/ 3223320 w 5206922"/>
                      <a:gd name="connsiteY2" fmla="*/ 2883929 h 5769736"/>
                      <a:gd name="connsiteX3" fmla="*/ 3242369 w 5206922"/>
                      <a:gd name="connsiteY3" fmla="*/ 3188729 h 5769736"/>
                      <a:gd name="connsiteX4" fmla="*/ 4842569 w 5206922"/>
                      <a:gd name="connsiteY4" fmla="*/ 4217429 h 5769736"/>
                      <a:gd name="connsiteX5" fmla="*/ 5118794 w 5206922"/>
                      <a:gd name="connsiteY5" fmla="*/ 5769736 h 5769736"/>
                      <a:gd name="connsiteX6" fmla="*/ 102897 w 5206922"/>
                      <a:gd name="connsiteY6" fmla="*/ 5769736 h 5769736"/>
                      <a:gd name="connsiteX7" fmla="*/ 365819 w 5206922"/>
                      <a:gd name="connsiteY7" fmla="*/ 4284104 h 5769736"/>
                      <a:gd name="connsiteX8" fmla="*/ 1975544 w 5206922"/>
                      <a:gd name="connsiteY8" fmla="*/ 3274454 h 5769736"/>
                      <a:gd name="connsiteX9" fmla="*/ 1966021 w 5206922"/>
                      <a:gd name="connsiteY9" fmla="*/ 2902979 h 5769736"/>
                      <a:gd name="connsiteX10" fmla="*/ 102897 w 5206922"/>
                      <a:gd name="connsiteY10" fmla="*/ 0 h 5769736"/>
                      <a:gd name="connsiteX0" fmla="*/ 102897 w 5206922"/>
                      <a:gd name="connsiteY0" fmla="*/ 0 h 5769736"/>
                      <a:gd name="connsiteX1" fmla="*/ 5118794 w 5206922"/>
                      <a:gd name="connsiteY1" fmla="*/ 0 h 5769736"/>
                      <a:gd name="connsiteX2" fmla="*/ 3223320 w 5206922"/>
                      <a:gd name="connsiteY2" fmla="*/ 2883929 h 5769736"/>
                      <a:gd name="connsiteX3" fmla="*/ 3242369 w 5206922"/>
                      <a:gd name="connsiteY3" fmla="*/ 3188729 h 5769736"/>
                      <a:gd name="connsiteX4" fmla="*/ 4842569 w 5206922"/>
                      <a:gd name="connsiteY4" fmla="*/ 4217429 h 5769736"/>
                      <a:gd name="connsiteX5" fmla="*/ 5118794 w 5206922"/>
                      <a:gd name="connsiteY5" fmla="*/ 5769736 h 5769736"/>
                      <a:gd name="connsiteX6" fmla="*/ 102897 w 5206922"/>
                      <a:gd name="connsiteY6" fmla="*/ 5769736 h 5769736"/>
                      <a:gd name="connsiteX7" fmla="*/ 365819 w 5206922"/>
                      <a:gd name="connsiteY7" fmla="*/ 4284104 h 5769736"/>
                      <a:gd name="connsiteX8" fmla="*/ 1975544 w 5206922"/>
                      <a:gd name="connsiteY8" fmla="*/ 3274454 h 5769736"/>
                      <a:gd name="connsiteX9" fmla="*/ 1966021 w 5206922"/>
                      <a:gd name="connsiteY9" fmla="*/ 2902979 h 5769736"/>
                      <a:gd name="connsiteX10" fmla="*/ 102897 w 5206922"/>
                      <a:gd name="connsiteY10" fmla="*/ 0 h 5769736"/>
                      <a:gd name="connsiteX0" fmla="*/ 102897 w 5206922"/>
                      <a:gd name="connsiteY0" fmla="*/ 0 h 5769736"/>
                      <a:gd name="connsiteX1" fmla="*/ 5118794 w 5206922"/>
                      <a:gd name="connsiteY1" fmla="*/ 0 h 5769736"/>
                      <a:gd name="connsiteX2" fmla="*/ 3223320 w 5206922"/>
                      <a:gd name="connsiteY2" fmla="*/ 2883929 h 5769736"/>
                      <a:gd name="connsiteX3" fmla="*/ 3242369 w 5206922"/>
                      <a:gd name="connsiteY3" fmla="*/ 3188729 h 5769736"/>
                      <a:gd name="connsiteX4" fmla="*/ 4842569 w 5206922"/>
                      <a:gd name="connsiteY4" fmla="*/ 4217429 h 5769736"/>
                      <a:gd name="connsiteX5" fmla="*/ 5118794 w 5206922"/>
                      <a:gd name="connsiteY5" fmla="*/ 5769736 h 5769736"/>
                      <a:gd name="connsiteX6" fmla="*/ 102897 w 5206922"/>
                      <a:gd name="connsiteY6" fmla="*/ 5769736 h 5769736"/>
                      <a:gd name="connsiteX7" fmla="*/ 365819 w 5206922"/>
                      <a:gd name="connsiteY7" fmla="*/ 4284104 h 5769736"/>
                      <a:gd name="connsiteX8" fmla="*/ 1975544 w 5206922"/>
                      <a:gd name="connsiteY8" fmla="*/ 3274454 h 5769736"/>
                      <a:gd name="connsiteX9" fmla="*/ 1966021 w 5206922"/>
                      <a:gd name="connsiteY9" fmla="*/ 2902979 h 5769736"/>
                      <a:gd name="connsiteX10" fmla="*/ 102897 w 5206922"/>
                      <a:gd name="connsiteY10" fmla="*/ 0 h 5769736"/>
                      <a:gd name="connsiteX0" fmla="*/ 125887 w 5229912"/>
                      <a:gd name="connsiteY0" fmla="*/ 0 h 5769736"/>
                      <a:gd name="connsiteX1" fmla="*/ 5141784 w 5229912"/>
                      <a:gd name="connsiteY1" fmla="*/ 0 h 5769736"/>
                      <a:gd name="connsiteX2" fmla="*/ 3246310 w 5229912"/>
                      <a:gd name="connsiteY2" fmla="*/ 2883929 h 5769736"/>
                      <a:gd name="connsiteX3" fmla="*/ 3265359 w 5229912"/>
                      <a:gd name="connsiteY3" fmla="*/ 3188729 h 5769736"/>
                      <a:gd name="connsiteX4" fmla="*/ 4865559 w 5229912"/>
                      <a:gd name="connsiteY4" fmla="*/ 4217429 h 5769736"/>
                      <a:gd name="connsiteX5" fmla="*/ 5141784 w 5229912"/>
                      <a:gd name="connsiteY5" fmla="*/ 5769736 h 5769736"/>
                      <a:gd name="connsiteX6" fmla="*/ 125887 w 5229912"/>
                      <a:gd name="connsiteY6" fmla="*/ 5769736 h 5769736"/>
                      <a:gd name="connsiteX7" fmla="*/ 388809 w 5229912"/>
                      <a:gd name="connsiteY7" fmla="*/ 4284104 h 5769736"/>
                      <a:gd name="connsiteX8" fmla="*/ 1998534 w 5229912"/>
                      <a:gd name="connsiteY8" fmla="*/ 3274454 h 5769736"/>
                      <a:gd name="connsiteX9" fmla="*/ 1989011 w 5229912"/>
                      <a:gd name="connsiteY9" fmla="*/ 2902979 h 5769736"/>
                      <a:gd name="connsiteX10" fmla="*/ 1550860 w 5229912"/>
                      <a:gd name="connsiteY10" fmla="*/ 2341004 h 5769736"/>
                      <a:gd name="connsiteX11" fmla="*/ 125887 w 5229912"/>
                      <a:gd name="connsiteY11" fmla="*/ 0 h 5769736"/>
                      <a:gd name="connsiteX0" fmla="*/ 110723 w 5214748"/>
                      <a:gd name="connsiteY0" fmla="*/ 0 h 5769736"/>
                      <a:gd name="connsiteX1" fmla="*/ 5126620 w 5214748"/>
                      <a:gd name="connsiteY1" fmla="*/ 0 h 5769736"/>
                      <a:gd name="connsiteX2" fmla="*/ 3231146 w 5214748"/>
                      <a:gd name="connsiteY2" fmla="*/ 2883929 h 5769736"/>
                      <a:gd name="connsiteX3" fmla="*/ 3250195 w 5214748"/>
                      <a:gd name="connsiteY3" fmla="*/ 3188729 h 5769736"/>
                      <a:gd name="connsiteX4" fmla="*/ 4850395 w 5214748"/>
                      <a:gd name="connsiteY4" fmla="*/ 4217429 h 5769736"/>
                      <a:gd name="connsiteX5" fmla="*/ 5126620 w 5214748"/>
                      <a:gd name="connsiteY5" fmla="*/ 5769736 h 5769736"/>
                      <a:gd name="connsiteX6" fmla="*/ 110723 w 5214748"/>
                      <a:gd name="connsiteY6" fmla="*/ 5769736 h 5769736"/>
                      <a:gd name="connsiteX7" fmla="*/ 373645 w 5214748"/>
                      <a:gd name="connsiteY7" fmla="*/ 4284104 h 5769736"/>
                      <a:gd name="connsiteX8" fmla="*/ 1983370 w 5214748"/>
                      <a:gd name="connsiteY8" fmla="*/ 3274454 h 5769736"/>
                      <a:gd name="connsiteX9" fmla="*/ 1973847 w 5214748"/>
                      <a:gd name="connsiteY9" fmla="*/ 2902979 h 5769736"/>
                      <a:gd name="connsiteX10" fmla="*/ 1830971 w 5214748"/>
                      <a:gd name="connsiteY10" fmla="*/ 2350529 h 5769736"/>
                      <a:gd name="connsiteX11" fmla="*/ 110723 w 5214748"/>
                      <a:gd name="connsiteY11" fmla="*/ 0 h 5769736"/>
                      <a:gd name="connsiteX0" fmla="*/ 110723 w 5214748"/>
                      <a:gd name="connsiteY0" fmla="*/ 0 h 5769736"/>
                      <a:gd name="connsiteX1" fmla="*/ 5126620 w 5214748"/>
                      <a:gd name="connsiteY1" fmla="*/ 0 h 5769736"/>
                      <a:gd name="connsiteX2" fmla="*/ 3231146 w 5214748"/>
                      <a:gd name="connsiteY2" fmla="*/ 2883929 h 5769736"/>
                      <a:gd name="connsiteX3" fmla="*/ 3250195 w 5214748"/>
                      <a:gd name="connsiteY3" fmla="*/ 3188729 h 5769736"/>
                      <a:gd name="connsiteX4" fmla="*/ 4850395 w 5214748"/>
                      <a:gd name="connsiteY4" fmla="*/ 4217429 h 5769736"/>
                      <a:gd name="connsiteX5" fmla="*/ 5126620 w 5214748"/>
                      <a:gd name="connsiteY5" fmla="*/ 5769736 h 5769736"/>
                      <a:gd name="connsiteX6" fmla="*/ 110723 w 5214748"/>
                      <a:gd name="connsiteY6" fmla="*/ 5769736 h 5769736"/>
                      <a:gd name="connsiteX7" fmla="*/ 373645 w 5214748"/>
                      <a:gd name="connsiteY7" fmla="*/ 4284104 h 5769736"/>
                      <a:gd name="connsiteX8" fmla="*/ 1983370 w 5214748"/>
                      <a:gd name="connsiteY8" fmla="*/ 3274454 h 5769736"/>
                      <a:gd name="connsiteX9" fmla="*/ 1973847 w 5214748"/>
                      <a:gd name="connsiteY9" fmla="*/ 2902979 h 5769736"/>
                      <a:gd name="connsiteX10" fmla="*/ 1830971 w 5214748"/>
                      <a:gd name="connsiteY10" fmla="*/ 2350529 h 5769736"/>
                      <a:gd name="connsiteX11" fmla="*/ 110723 w 5214748"/>
                      <a:gd name="connsiteY11" fmla="*/ 0 h 5769736"/>
                      <a:gd name="connsiteX0" fmla="*/ 110723 w 5234518"/>
                      <a:gd name="connsiteY0" fmla="*/ 0 h 5769736"/>
                      <a:gd name="connsiteX1" fmla="*/ 5126620 w 5234518"/>
                      <a:gd name="connsiteY1" fmla="*/ 0 h 5769736"/>
                      <a:gd name="connsiteX2" fmla="*/ 3526421 w 5234518"/>
                      <a:gd name="connsiteY2" fmla="*/ 2493404 h 5769736"/>
                      <a:gd name="connsiteX3" fmla="*/ 3231146 w 5234518"/>
                      <a:gd name="connsiteY3" fmla="*/ 2883929 h 5769736"/>
                      <a:gd name="connsiteX4" fmla="*/ 3250195 w 5234518"/>
                      <a:gd name="connsiteY4" fmla="*/ 3188729 h 5769736"/>
                      <a:gd name="connsiteX5" fmla="*/ 4850395 w 5234518"/>
                      <a:gd name="connsiteY5" fmla="*/ 4217429 h 5769736"/>
                      <a:gd name="connsiteX6" fmla="*/ 5126620 w 5234518"/>
                      <a:gd name="connsiteY6" fmla="*/ 5769736 h 5769736"/>
                      <a:gd name="connsiteX7" fmla="*/ 110723 w 5234518"/>
                      <a:gd name="connsiteY7" fmla="*/ 5769736 h 5769736"/>
                      <a:gd name="connsiteX8" fmla="*/ 373645 w 5234518"/>
                      <a:gd name="connsiteY8" fmla="*/ 4284104 h 5769736"/>
                      <a:gd name="connsiteX9" fmla="*/ 1983370 w 5234518"/>
                      <a:gd name="connsiteY9" fmla="*/ 3274454 h 5769736"/>
                      <a:gd name="connsiteX10" fmla="*/ 1973847 w 5234518"/>
                      <a:gd name="connsiteY10" fmla="*/ 2902979 h 5769736"/>
                      <a:gd name="connsiteX11" fmla="*/ 1830971 w 5234518"/>
                      <a:gd name="connsiteY11" fmla="*/ 2350529 h 5769736"/>
                      <a:gd name="connsiteX12" fmla="*/ 110723 w 5234518"/>
                      <a:gd name="connsiteY12" fmla="*/ 0 h 5769736"/>
                      <a:gd name="connsiteX0" fmla="*/ 110723 w 5229354"/>
                      <a:gd name="connsiteY0" fmla="*/ 0 h 5769736"/>
                      <a:gd name="connsiteX1" fmla="*/ 5126620 w 5229354"/>
                      <a:gd name="connsiteY1" fmla="*/ 0 h 5769736"/>
                      <a:gd name="connsiteX2" fmla="*/ 3412121 w 5229354"/>
                      <a:gd name="connsiteY2" fmla="*/ 2350529 h 5769736"/>
                      <a:gd name="connsiteX3" fmla="*/ 3231146 w 5229354"/>
                      <a:gd name="connsiteY3" fmla="*/ 2883929 h 5769736"/>
                      <a:gd name="connsiteX4" fmla="*/ 3250195 w 5229354"/>
                      <a:gd name="connsiteY4" fmla="*/ 3188729 h 5769736"/>
                      <a:gd name="connsiteX5" fmla="*/ 4850395 w 5229354"/>
                      <a:gd name="connsiteY5" fmla="*/ 4217429 h 5769736"/>
                      <a:gd name="connsiteX6" fmla="*/ 5126620 w 5229354"/>
                      <a:gd name="connsiteY6" fmla="*/ 5769736 h 5769736"/>
                      <a:gd name="connsiteX7" fmla="*/ 110723 w 5229354"/>
                      <a:gd name="connsiteY7" fmla="*/ 5769736 h 5769736"/>
                      <a:gd name="connsiteX8" fmla="*/ 373645 w 5229354"/>
                      <a:gd name="connsiteY8" fmla="*/ 4284104 h 5769736"/>
                      <a:gd name="connsiteX9" fmla="*/ 1983370 w 5229354"/>
                      <a:gd name="connsiteY9" fmla="*/ 3274454 h 5769736"/>
                      <a:gd name="connsiteX10" fmla="*/ 1973847 w 5229354"/>
                      <a:gd name="connsiteY10" fmla="*/ 2902979 h 5769736"/>
                      <a:gd name="connsiteX11" fmla="*/ 1830971 w 5229354"/>
                      <a:gd name="connsiteY11" fmla="*/ 2350529 h 5769736"/>
                      <a:gd name="connsiteX12" fmla="*/ 110723 w 5229354"/>
                      <a:gd name="connsiteY12" fmla="*/ 0 h 5769736"/>
                      <a:gd name="connsiteX0" fmla="*/ 110723 w 5229354"/>
                      <a:gd name="connsiteY0" fmla="*/ 0 h 5769736"/>
                      <a:gd name="connsiteX1" fmla="*/ 5126620 w 5229354"/>
                      <a:gd name="connsiteY1" fmla="*/ 0 h 5769736"/>
                      <a:gd name="connsiteX2" fmla="*/ 3412121 w 5229354"/>
                      <a:gd name="connsiteY2" fmla="*/ 2350529 h 5769736"/>
                      <a:gd name="connsiteX3" fmla="*/ 3231146 w 5229354"/>
                      <a:gd name="connsiteY3" fmla="*/ 2883929 h 5769736"/>
                      <a:gd name="connsiteX4" fmla="*/ 3250195 w 5229354"/>
                      <a:gd name="connsiteY4" fmla="*/ 3188729 h 5769736"/>
                      <a:gd name="connsiteX5" fmla="*/ 4850395 w 5229354"/>
                      <a:gd name="connsiteY5" fmla="*/ 4217429 h 5769736"/>
                      <a:gd name="connsiteX6" fmla="*/ 5126620 w 5229354"/>
                      <a:gd name="connsiteY6" fmla="*/ 5769736 h 5769736"/>
                      <a:gd name="connsiteX7" fmla="*/ 110723 w 5229354"/>
                      <a:gd name="connsiteY7" fmla="*/ 5769736 h 5769736"/>
                      <a:gd name="connsiteX8" fmla="*/ 373645 w 5229354"/>
                      <a:gd name="connsiteY8" fmla="*/ 4284104 h 5769736"/>
                      <a:gd name="connsiteX9" fmla="*/ 1983370 w 5229354"/>
                      <a:gd name="connsiteY9" fmla="*/ 3274454 h 5769736"/>
                      <a:gd name="connsiteX10" fmla="*/ 1973847 w 5229354"/>
                      <a:gd name="connsiteY10" fmla="*/ 2902979 h 5769736"/>
                      <a:gd name="connsiteX11" fmla="*/ 1830971 w 5229354"/>
                      <a:gd name="connsiteY11" fmla="*/ 2350529 h 5769736"/>
                      <a:gd name="connsiteX12" fmla="*/ 110723 w 5229354"/>
                      <a:gd name="connsiteY12" fmla="*/ 0 h 5769736"/>
                      <a:gd name="connsiteX0" fmla="*/ 110723 w 5229354"/>
                      <a:gd name="connsiteY0" fmla="*/ 0 h 5769736"/>
                      <a:gd name="connsiteX1" fmla="*/ 5126620 w 5229354"/>
                      <a:gd name="connsiteY1" fmla="*/ 0 h 5769736"/>
                      <a:gd name="connsiteX2" fmla="*/ 3412121 w 5229354"/>
                      <a:gd name="connsiteY2" fmla="*/ 2350529 h 5769736"/>
                      <a:gd name="connsiteX3" fmla="*/ 3231146 w 5229354"/>
                      <a:gd name="connsiteY3" fmla="*/ 2883929 h 5769736"/>
                      <a:gd name="connsiteX4" fmla="*/ 3250195 w 5229354"/>
                      <a:gd name="connsiteY4" fmla="*/ 3188729 h 5769736"/>
                      <a:gd name="connsiteX5" fmla="*/ 4850395 w 5229354"/>
                      <a:gd name="connsiteY5" fmla="*/ 4217429 h 5769736"/>
                      <a:gd name="connsiteX6" fmla="*/ 5126620 w 5229354"/>
                      <a:gd name="connsiteY6" fmla="*/ 5769736 h 5769736"/>
                      <a:gd name="connsiteX7" fmla="*/ 110723 w 5229354"/>
                      <a:gd name="connsiteY7" fmla="*/ 5769736 h 5769736"/>
                      <a:gd name="connsiteX8" fmla="*/ 373645 w 5229354"/>
                      <a:gd name="connsiteY8" fmla="*/ 4284104 h 5769736"/>
                      <a:gd name="connsiteX9" fmla="*/ 1983370 w 5229354"/>
                      <a:gd name="connsiteY9" fmla="*/ 3274454 h 5769736"/>
                      <a:gd name="connsiteX10" fmla="*/ 1973847 w 5229354"/>
                      <a:gd name="connsiteY10" fmla="*/ 2902979 h 5769736"/>
                      <a:gd name="connsiteX11" fmla="*/ 1830971 w 5229354"/>
                      <a:gd name="connsiteY11" fmla="*/ 2350529 h 5769736"/>
                      <a:gd name="connsiteX12" fmla="*/ 110723 w 5229354"/>
                      <a:gd name="connsiteY12" fmla="*/ 0 h 5769736"/>
                      <a:gd name="connsiteX0" fmla="*/ 110723 w 5229354"/>
                      <a:gd name="connsiteY0" fmla="*/ 0 h 5769736"/>
                      <a:gd name="connsiteX1" fmla="*/ 5126620 w 5229354"/>
                      <a:gd name="connsiteY1" fmla="*/ 0 h 5769736"/>
                      <a:gd name="connsiteX2" fmla="*/ 3412121 w 5229354"/>
                      <a:gd name="connsiteY2" fmla="*/ 2350529 h 5769736"/>
                      <a:gd name="connsiteX3" fmla="*/ 3231146 w 5229354"/>
                      <a:gd name="connsiteY3" fmla="*/ 2883929 h 5769736"/>
                      <a:gd name="connsiteX4" fmla="*/ 3250195 w 5229354"/>
                      <a:gd name="connsiteY4" fmla="*/ 3188729 h 5769736"/>
                      <a:gd name="connsiteX5" fmla="*/ 4850395 w 5229354"/>
                      <a:gd name="connsiteY5" fmla="*/ 4217429 h 5769736"/>
                      <a:gd name="connsiteX6" fmla="*/ 5126620 w 5229354"/>
                      <a:gd name="connsiteY6" fmla="*/ 5769736 h 5769736"/>
                      <a:gd name="connsiteX7" fmla="*/ 110723 w 5229354"/>
                      <a:gd name="connsiteY7" fmla="*/ 5769736 h 5769736"/>
                      <a:gd name="connsiteX8" fmla="*/ 373645 w 5229354"/>
                      <a:gd name="connsiteY8" fmla="*/ 4284104 h 5769736"/>
                      <a:gd name="connsiteX9" fmla="*/ 1983370 w 5229354"/>
                      <a:gd name="connsiteY9" fmla="*/ 3274454 h 5769736"/>
                      <a:gd name="connsiteX10" fmla="*/ 1973847 w 5229354"/>
                      <a:gd name="connsiteY10" fmla="*/ 2902979 h 5769736"/>
                      <a:gd name="connsiteX11" fmla="*/ 1830971 w 5229354"/>
                      <a:gd name="connsiteY11" fmla="*/ 2350529 h 5769736"/>
                      <a:gd name="connsiteX12" fmla="*/ 110723 w 5229354"/>
                      <a:gd name="connsiteY12" fmla="*/ 0 h 5769736"/>
                      <a:gd name="connsiteX0" fmla="*/ 110723 w 5284847"/>
                      <a:gd name="connsiteY0" fmla="*/ 0 h 5769736"/>
                      <a:gd name="connsiteX1" fmla="*/ 5126620 w 5284847"/>
                      <a:gd name="connsiteY1" fmla="*/ 0 h 5769736"/>
                      <a:gd name="connsiteX2" fmla="*/ 3974096 w 5284847"/>
                      <a:gd name="connsiteY2" fmla="*/ 1740929 h 5769736"/>
                      <a:gd name="connsiteX3" fmla="*/ 3412121 w 5284847"/>
                      <a:gd name="connsiteY3" fmla="*/ 2350529 h 5769736"/>
                      <a:gd name="connsiteX4" fmla="*/ 3231146 w 5284847"/>
                      <a:gd name="connsiteY4" fmla="*/ 2883929 h 5769736"/>
                      <a:gd name="connsiteX5" fmla="*/ 3250195 w 5284847"/>
                      <a:gd name="connsiteY5" fmla="*/ 3188729 h 5769736"/>
                      <a:gd name="connsiteX6" fmla="*/ 4850395 w 5284847"/>
                      <a:gd name="connsiteY6" fmla="*/ 4217429 h 5769736"/>
                      <a:gd name="connsiteX7" fmla="*/ 5126620 w 5284847"/>
                      <a:gd name="connsiteY7" fmla="*/ 5769736 h 5769736"/>
                      <a:gd name="connsiteX8" fmla="*/ 110723 w 5284847"/>
                      <a:gd name="connsiteY8" fmla="*/ 5769736 h 5769736"/>
                      <a:gd name="connsiteX9" fmla="*/ 373645 w 5284847"/>
                      <a:gd name="connsiteY9" fmla="*/ 4284104 h 5769736"/>
                      <a:gd name="connsiteX10" fmla="*/ 1983370 w 5284847"/>
                      <a:gd name="connsiteY10" fmla="*/ 3274454 h 5769736"/>
                      <a:gd name="connsiteX11" fmla="*/ 1973847 w 5284847"/>
                      <a:gd name="connsiteY11" fmla="*/ 2902979 h 5769736"/>
                      <a:gd name="connsiteX12" fmla="*/ 1830971 w 5284847"/>
                      <a:gd name="connsiteY12" fmla="*/ 2350529 h 5769736"/>
                      <a:gd name="connsiteX13" fmla="*/ 110723 w 5284847"/>
                      <a:gd name="connsiteY13" fmla="*/ 0 h 5769736"/>
                      <a:gd name="connsiteX0" fmla="*/ 110723 w 5258355"/>
                      <a:gd name="connsiteY0" fmla="*/ 0 h 5769736"/>
                      <a:gd name="connsiteX1" fmla="*/ 5126620 w 5258355"/>
                      <a:gd name="connsiteY1" fmla="*/ 0 h 5769736"/>
                      <a:gd name="connsiteX2" fmla="*/ 3574046 w 5258355"/>
                      <a:gd name="connsiteY2" fmla="*/ 1493279 h 5769736"/>
                      <a:gd name="connsiteX3" fmla="*/ 3412121 w 5258355"/>
                      <a:gd name="connsiteY3" fmla="*/ 2350529 h 5769736"/>
                      <a:gd name="connsiteX4" fmla="*/ 3231146 w 5258355"/>
                      <a:gd name="connsiteY4" fmla="*/ 2883929 h 5769736"/>
                      <a:gd name="connsiteX5" fmla="*/ 3250195 w 5258355"/>
                      <a:gd name="connsiteY5" fmla="*/ 3188729 h 5769736"/>
                      <a:gd name="connsiteX6" fmla="*/ 4850395 w 5258355"/>
                      <a:gd name="connsiteY6" fmla="*/ 4217429 h 5769736"/>
                      <a:gd name="connsiteX7" fmla="*/ 5126620 w 5258355"/>
                      <a:gd name="connsiteY7" fmla="*/ 5769736 h 5769736"/>
                      <a:gd name="connsiteX8" fmla="*/ 110723 w 5258355"/>
                      <a:gd name="connsiteY8" fmla="*/ 5769736 h 5769736"/>
                      <a:gd name="connsiteX9" fmla="*/ 373645 w 5258355"/>
                      <a:gd name="connsiteY9" fmla="*/ 4284104 h 5769736"/>
                      <a:gd name="connsiteX10" fmla="*/ 1983370 w 5258355"/>
                      <a:gd name="connsiteY10" fmla="*/ 3274454 h 5769736"/>
                      <a:gd name="connsiteX11" fmla="*/ 1973847 w 5258355"/>
                      <a:gd name="connsiteY11" fmla="*/ 2902979 h 5769736"/>
                      <a:gd name="connsiteX12" fmla="*/ 1830971 w 5258355"/>
                      <a:gd name="connsiteY12" fmla="*/ 2350529 h 5769736"/>
                      <a:gd name="connsiteX13" fmla="*/ 110723 w 5258355"/>
                      <a:gd name="connsiteY13" fmla="*/ 0 h 5769736"/>
                      <a:gd name="connsiteX0" fmla="*/ 110723 w 5258355"/>
                      <a:gd name="connsiteY0" fmla="*/ 0 h 5769736"/>
                      <a:gd name="connsiteX1" fmla="*/ 5126620 w 5258355"/>
                      <a:gd name="connsiteY1" fmla="*/ 0 h 5769736"/>
                      <a:gd name="connsiteX2" fmla="*/ 3574046 w 5258355"/>
                      <a:gd name="connsiteY2" fmla="*/ 1493279 h 5769736"/>
                      <a:gd name="connsiteX3" fmla="*/ 3412121 w 5258355"/>
                      <a:gd name="connsiteY3" fmla="*/ 2350529 h 5769736"/>
                      <a:gd name="connsiteX4" fmla="*/ 3231146 w 5258355"/>
                      <a:gd name="connsiteY4" fmla="*/ 2883929 h 5769736"/>
                      <a:gd name="connsiteX5" fmla="*/ 3250195 w 5258355"/>
                      <a:gd name="connsiteY5" fmla="*/ 3188729 h 5769736"/>
                      <a:gd name="connsiteX6" fmla="*/ 4850395 w 5258355"/>
                      <a:gd name="connsiteY6" fmla="*/ 4217429 h 5769736"/>
                      <a:gd name="connsiteX7" fmla="*/ 5126620 w 5258355"/>
                      <a:gd name="connsiteY7" fmla="*/ 5769736 h 5769736"/>
                      <a:gd name="connsiteX8" fmla="*/ 110723 w 5258355"/>
                      <a:gd name="connsiteY8" fmla="*/ 5769736 h 5769736"/>
                      <a:gd name="connsiteX9" fmla="*/ 373645 w 5258355"/>
                      <a:gd name="connsiteY9" fmla="*/ 4284104 h 5769736"/>
                      <a:gd name="connsiteX10" fmla="*/ 1983370 w 5258355"/>
                      <a:gd name="connsiteY10" fmla="*/ 3274454 h 5769736"/>
                      <a:gd name="connsiteX11" fmla="*/ 1973847 w 5258355"/>
                      <a:gd name="connsiteY11" fmla="*/ 2902979 h 5769736"/>
                      <a:gd name="connsiteX12" fmla="*/ 1830971 w 5258355"/>
                      <a:gd name="connsiteY12" fmla="*/ 2350529 h 5769736"/>
                      <a:gd name="connsiteX13" fmla="*/ 110723 w 5258355"/>
                      <a:gd name="connsiteY13" fmla="*/ 0 h 5769736"/>
                      <a:gd name="connsiteX0" fmla="*/ 110723 w 5258355"/>
                      <a:gd name="connsiteY0" fmla="*/ 0 h 5769736"/>
                      <a:gd name="connsiteX1" fmla="*/ 5126620 w 5258355"/>
                      <a:gd name="connsiteY1" fmla="*/ 0 h 5769736"/>
                      <a:gd name="connsiteX2" fmla="*/ 3574046 w 5258355"/>
                      <a:gd name="connsiteY2" fmla="*/ 1493279 h 5769736"/>
                      <a:gd name="connsiteX3" fmla="*/ 3412121 w 5258355"/>
                      <a:gd name="connsiteY3" fmla="*/ 2350529 h 5769736"/>
                      <a:gd name="connsiteX4" fmla="*/ 3231146 w 5258355"/>
                      <a:gd name="connsiteY4" fmla="*/ 2883929 h 5769736"/>
                      <a:gd name="connsiteX5" fmla="*/ 3250195 w 5258355"/>
                      <a:gd name="connsiteY5" fmla="*/ 3188729 h 5769736"/>
                      <a:gd name="connsiteX6" fmla="*/ 4850395 w 5258355"/>
                      <a:gd name="connsiteY6" fmla="*/ 4217429 h 5769736"/>
                      <a:gd name="connsiteX7" fmla="*/ 5126620 w 5258355"/>
                      <a:gd name="connsiteY7" fmla="*/ 5769736 h 5769736"/>
                      <a:gd name="connsiteX8" fmla="*/ 110723 w 5258355"/>
                      <a:gd name="connsiteY8" fmla="*/ 5769736 h 5769736"/>
                      <a:gd name="connsiteX9" fmla="*/ 373645 w 5258355"/>
                      <a:gd name="connsiteY9" fmla="*/ 4284104 h 5769736"/>
                      <a:gd name="connsiteX10" fmla="*/ 1983370 w 5258355"/>
                      <a:gd name="connsiteY10" fmla="*/ 3274454 h 5769736"/>
                      <a:gd name="connsiteX11" fmla="*/ 1973847 w 5258355"/>
                      <a:gd name="connsiteY11" fmla="*/ 2902979 h 5769736"/>
                      <a:gd name="connsiteX12" fmla="*/ 1830971 w 5258355"/>
                      <a:gd name="connsiteY12" fmla="*/ 2350529 h 5769736"/>
                      <a:gd name="connsiteX13" fmla="*/ 110723 w 5258355"/>
                      <a:gd name="connsiteY13" fmla="*/ 0 h 5769736"/>
                      <a:gd name="connsiteX0" fmla="*/ 110723 w 5258355"/>
                      <a:gd name="connsiteY0" fmla="*/ 0 h 5769736"/>
                      <a:gd name="connsiteX1" fmla="*/ 5126620 w 5258355"/>
                      <a:gd name="connsiteY1" fmla="*/ 0 h 5769736"/>
                      <a:gd name="connsiteX2" fmla="*/ 3574046 w 5258355"/>
                      <a:gd name="connsiteY2" fmla="*/ 1493279 h 5769736"/>
                      <a:gd name="connsiteX3" fmla="*/ 3412121 w 5258355"/>
                      <a:gd name="connsiteY3" fmla="*/ 2350529 h 5769736"/>
                      <a:gd name="connsiteX4" fmla="*/ 3231146 w 5258355"/>
                      <a:gd name="connsiteY4" fmla="*/ 2883929 h 5769736"/>
                      <a:gd name="connsiteX5" fmla="*/ 3250195 w 5258355"/>
                      <a:gd name="connsiteY5" fmla="*/ 3188729 h 5769736"/>
                      <a:gd name="connsiteX6" fmla="*/ 4850395 w 5258355"/>
                      <a:gd name="connsiteY6" fmla="*/ 4217429 h 5769736"/>
                      <a:gd name="connsiteX7" fmla="*/ 5126620 w 5258355"/>
                      <a:gd name="connsiteY7" fmla="*/ 5769736 h 5769736"/>
                      <a:gd name="connsiteX8" fmla="*/ 110723 w 5258355"/>
                      <a:gd name="connsiteY8" fmla="*/ 5769736 h 5769736"/>
                      <a:gd name="connsiteX9" fmla="*/ 373645 w 5258355"/>
                      <a:gd name="connsiteY9" fmla="*/ 4284104 h 5769736"/>
                      <a:gd name="connsiteX10" fmla="*/ 1983370 w 5258355"/>
                      <a:gd name="connsiteY10" fmla="*/ 3274454 h 5769736"/>
                      <a:gd name="connsiteX11" fmla="*/ 1973847 w 5258355"/>
                      <a:gd name="connsiteY11" fmla="*/ 2902979 h 5769736"/>
                      <a:gd name="connsiteX12" fmla="*/ 1830971 w 5258355"/>
                      <a:gd name="connsiteY12" fmla="*/ 2350529 h 5769736"/>
                      <a:gd name="connsiteX13" fmla="*/ 110723 w 5258355"/>
                      <a:gd name="connsiteY13" fmla="*/ 0 h 5769736"/>
                      <a:gd name="connsiteX0" fmla="*/ 161492 w 5309124"/>
                      <a:gd name="connsiteY0" fmla="*/ 0 h 5769736"/>
                      <a:gd name="connsiteX1" fmla="*/ 5177389 w 5309124"/>
                      <a:gd name="connsiteY1" fmla="*/ 0 h 5769736"/>
                      <a:gd name="connsiteX2" fmla="*/ 3624815 w 5309124"/>
                      <a:gd name="connsiteY2" fmla="*/ 1493279 h 5769736"/>
                      <a:gd name="connsiteX3" fmla="*/ 3462890 w 5309124"/>
                      <a:gd name="connsiteY3" fmla="*/ 2350529 h 5769736"/>
                      <a:gd name="connsiteX4" fmla="*/ 3281915 w 5309124"/>
                      <a:gd name="connsiteY4" fmla="*/ 2883929 h 5769736"/>
                      <a:gd name="connsiteX5" fmla="*/ 3300964 w 5309124"/>
                      <a:gd name="connsiteY5" fmla="*/ 3188729 h 5769736"/>
                      <a:gd name="connsiteX6" fmla="*/ 4901164 w 5309124"/>
                      <a:gd name="connsiteY6" fmla="*/ 4217429 h 5769736"/>
                      <a:gd name="connsiteX7" fmla="*/ 5177389 w 5309124"/>
                      <a:gd name="connsiteY7" fmla="*/ 5769736 h 5769736"/>
                      <a:gd name="connsiteX8" fmla="*/ 161492 w 5309124"/>
                      <a:gd name="connsiteY8" fmla="*/ 5769736 h 5769736"/>
                      <a:gd name="connsiteX9" fmla="*/ 424414 w 5309124"/>
                      <a:gd name="connsiteY9" fmla="*/ 4284104 h 5769736"/>
                      <a:gd name="connsiteX10" fmla="*/ 2034139 w 5309124"/>
                      <a:gd name="connsiteY10" fmla="*/ 3274454 h 5769736"/>
                      <a:gd name="connsiteX11" fmla="*/ 2024616 w 5309124"/>
                      <a:gd name="connsiteY11" fmla="*/ 2902979 h 5769736"/>
                      <a:gd name="connsiteX12" fmla="*/ 1881740 w 5309124"/>
                      <a:gd name="connsiteY12" fmla="*/ 2350529 h 5769736"/>
                      <a:gd name="connsiteX13" fmla="*/ 1291190 w 5309124"/>
                      <a:gd name="connsiteY13" fmla="*/ 1721879 h 5769736"/>
                      <a:gd name="connsiteX14" fmla="*/ 161492 w 5309124"/>
                      <a:gd name="connsiteY14" fmla="*/ 0 h 5769736"/>
                      <a:gd name="connsiteX0" fmla="*/ 133729 w 5281361"/>
                      <a:gd name="connsiteY0" fmla="*/ 0 h 5769736"/>
                      <a:gd name="connsiteX1" fmla="*/ 5149626 w 5281361"/>
                      <a:gd name="connsiteY1" fmla="*/ 0 h 5769736"/>
                      <a:gd name="connsiteX2" fmla="*/ 3597052 w 5281361"/>
                      <a:gd name="connsiteY2" fmla="*/ 1493279 h 5769736"/>
                      <a:gd name="connsiteX3" fmla="*/ 3435127 w 5281361"/>
                      <a:gd name="connsiteY3" fmla="*/ 2350529 h 5769736"/>
                      <a:gd name="connsiteX4" fmla="*/ 3254152 w 5281361"/>
                      <a:gd name="connsiteY4" fmla="*/ 2883929 h 5769736"/>
                      <a:gd name="connsiteX5" fmla="*/ 3273201 w 5281361"/>
                      <a:gd name="connsiteY5" fmla="*/ 3188729 h 5769736"/>
                      <a:gd name="connsiteX6" fmla="*/ 4873401 w 5281361"/>
                      <a:gd name="connsiteY6" fmla="*/ 4217429 h 5769736"/>
                      <a:gd name="connsiteX7" fmla="*/ 5149626 w 5281361"/>
                      <a:gd name="connsiteY7" fmla="*/ 5769736 h 5769736"/>
                      <a:gd name="connsiteX8" fmla="*/ 133729 w 5281361"/>
                      <a:gd name="connsiteY8" fmla="*/ 5769736 h 5769736"/>
                      <a:gd name="connsiteX9" fmla="*/ 396651 w 5281361"/>
                      <a:gd name="connsiteY9" fmla="*/ 4284104 h 5769736"/>
                      <a:gd name="connsiteX10" fmla="*/ 2006376 w 5281361"/>
                      <a:gd name="connsiteY10" fmla="*/ 3274454 h 5769736"/>
                      <a:gd name="connsiteX11" fmla="*/ 1996853 w 5281361"/>
                      <a:gd name="connsiteY11" fmla="*/ 2902979 h 5769736"/>
                      <a:gd name="connsiteX12" fmla="*/ 1853977 w 5281361"/>
                      <a:gd name="connsiteY12" fmla="*/ 2350529 h 5769736"/>
                      <a:gd name="connsiteX13" fmla="*/ 1673002 w 5281361"/>
                      <a:gd name="connsiteY13" fmla="*/ 1493279 h 5769736"/>
                      <a:gd name="connsiteX14" fmla="*/ 133729 w 5281361"/>
                      <a:gd name="connsiteY14" fmla="*/ 0 h 5769736"/>
                      <a:gd name="connsiteX0" fmla="*/ 133729 w 5281361"/>
                      <a:gd name="connsiteY0" fmla="*/ 0 h 5769736"/>
                      <a:gd name="connsiteX1" fmla="*/ 5149626 w 5281361"/>
                      <a:gd name="connsiteY1" fmla="*/ 0 h 5769736"/>
                      <a:gd name="connsiteX2" fmla="*/ 3597052 w 5281361"/>
                      <a:gd name="connsiteY2" fmla="*/ 1493279 h 5769736"/>
                      <a:gd name="connsiteX3" fmla="*/ 3435127 w 5281361"/>
                      <a:gd name="connsiteY3" fmla="*/ 2350529 h 5769736"/>
                      <a:gd name="connsiteX4" fmla="*/ 3254152 w 5281361"/>
                      <a:gd name="connsiteY4" fmla="*/ 2883929 h 5769736"/>
                      <a:gd name="connsiteX5" fmla="*/ 3273201 w 5281361"/>
                      <a:gd name="connsiteY5" fmla="*/ 3188729 h 5769736"/>
                      <a:gd name="connsiteX6" fmla="*/ 4873401 w 5281361"/>
                      <a:gd name="connsiteY6" fmla="*/ 4217429 h 5769736"/>
                      <a:gd name="connsiteX7" fmla="*/ 5149626 w 5281361"/>
                      <a:gd name="connsiteY7" fmla="*/ 5769736 h 5769736"/>
                      <a:gd name="connsiteX8" fmla="*/ 133729 w 5281361"/>
                      <a:gd name="connsiteY8" fmla="*/ 5769736 h 5769736"/>
                      <a:gd name="connsiteX9" fmla="*/ 396651 w 5281361"/>
                      <a:gd name="connsiteY9" fmla="*/ 4284104 h 5769736"/>
                      <a:gd name="connsiteX10" fmla="*/ 2006376 w 5281361"/>
                      <a:gd name="connsiteY10" fmla="*/ 3274454 h 5769736"/>
                      <a:gd name="connsiteX11" fmla="*/ 1996853 w 5281361"/>
                      <a:gd name="connsiteY11" fmla="*/ 2902979 h 5769736"/>
                      <a:gd name="connsiteX12" fmla="*/ 1853977 w 5281361"/>
                      <a:gd name="connsiteY12" fmla="*/ 2350529 h 5769736"/>
                      <a:gd name="connsiteX13" fmla="*/ 1673002 w 5281361"/>
                      <a:gd name="connsiteY13" fmla="*/ 1493279 h 5769736"/>
                      <a:gd name="connsiteX14" fmla="*/ 133729 w 5281361"/>
                      <a:gd name="connsiteY14" fmla="*/ 0 h 5769736"/>
                      <a:gd name="connsiteX0" fmla="*/ 133729 w 5281361"/>
                      <a:gd name="connsiteY0" fmla="*/ 0 h 5769736"/>
                      <a:gd name="connsiteX1" fmla="*/ 5149626 w 5281361"/>
                      <a:gd name="connsiteY1" fmla="*/ 0 h 5769736"/>
                      <a:gd name="connsiteX2" fmla="*/ 3597052 w 5281361"/>
                      <a:gd name="connsiteY2" fmla="*/ 1493279 h 5769736"/>
                      <a:gd name="connsiteX3" fmla="*/ 3435127 w 5281361"/>
                      <a:gd name="connsiteY3" fmla="*/ 2350529 h 5769736"/>
                      <a:gd name="connsiteX4" fmla="*/ 3254152 w 5281361"/>
                      <a:gd name="connsiteY4" fmla="*/ 2883929 h 5769736"/>
                      <a:gd name="connsiteX5" fmla="*/ 3273201 w 5281361"/>
                      <a:gd name="connsiteY5" fmla="*/ 3188729 h 5769736"/>
                      <a:gd name="connsiteX6" fmla="*/ 4873401 w 5281361"/>
                      <a:gd name="connsiteY6" fmla="*/ 4217429 h 5769736"/>
                      <a:gd name="connsiteX7" fmla="*/ 5149626 w 5281361"/>
                      <a:gd name="connsiteY7" fmla="*/ 5769736 h 5769736"/>
                      <a:gd name="connsiteX8" fmla="*/ 133729 w 5281361"/>
                      <a:gd name="connsiteY8" fmla="*/ 5769736 h 5769736"/>
                      <a:gd name="connsiteX9" fmla="*/ 396651 w 5281361"/>
                      <a:gd name="connsiteY9" fmla="*/ 4284104 h 5769736"/>
                      <a:gd name="connsiteX10" fmla="*/ 2006376 w 5281361"/>
                      <a:gd name="connsiteY10" fmla="*/ 3274454 h 5769736"/>
                      <a:gd name="connsiteX11" fmla="*/ 1996853 w 5281361"/>
                      <a:gd name="connsiteY11" fmla="*/ 2902979 h 5769736"/>
                      <a:gd name="connsiteX12" fmla="*/ 1853977 w 5281361"/>
                      <a:gd name="connsiteY12" fmla="*/ 2350529 h 5769736"/>
                      <a:gd name="connsiteX13" fmla="*/ 1673002 w 5281361"/>
                      <a:gd name="connsiteY13" fmla="*/ 1493279 h 5769736"/>
                      <a:gd name="connsiteX14" fmla="*/ 133729 w 5281361"/>
                      <a:gd name="connsiteY14" fmla="*/ 0 h 5769736"/>
                      <a:gd name="connsiteX0" fmla="*/ 133729 w 5281361"/>
                      <a:gd name="connsiteY0" fmla="*/ 0 h 5769736"/>
                      <a:gd name="connsiteX1" fmla="*/ 5149626 w 5281361"/>
                      <a:gd name="connsiteY1" fmla="*/ 0 h 5769736"/>
                      <a:gd name="connsiteX2" fmla="*/ 3597052 w 5281361"/>
                      <a:gd name="connsiteY2" fmla="*/ 1493279 h 5769736"/>
                      <a:gd name="connsiteX3" fmla="*/ 3435127 w 5281361"/>
                      <a:gd name="connsiteY3" fmla="*/ 2350529 h 5769736"/>
                      <a:gd name="connsiteX4" fmla="*/ 3254152 w 5281361"/>
                      <a:gd name="connsiteY4" fmla="*/ 2883929 h 5769736"/>
                      <a:gd name="connsiteX5" fmla="*/ 3273201 w 5281361"/>
                      <a:gd name="connsiteY5" fmla="*/ 3188729 h 5769736"/>
                      <a:gd name="connsiteX6" fmla="*/ 4873401 w 5281361"/>
                      <a:gd name="connsiteY6" fmla="*/ 4217429 h 5769736"/>
                      <a:gd name="connsiteX7" fmla="*/ 5149626 w 5281361"/>
                      <a:gd name="connsiteY7" fmla="*/ 5769736 h 5769736"/>
                      <a:gd name="connsiteX8" fmla="*/ 133729 w 5281361"/>
                      <a:gd name="connsiteY8" fmla="*/ 5769736 h 5769736"/>
                      <a:gd name="connsiteX9" fmla="*/ 396651 w 5281361"/>
                      <a:gd name="connsiteY9" fmla="*/ 4284104 h 5769736"/>
                      <a:gd name="connsiteX10" fmla="*/ 2006376 w 5281361"/>
                      <a:gd name="connsiteY10" fmla="*/ 3274454 h 5769736"/>
                      <a:gd name="connsiteX11" fmla="*/ 1996853 w 5281361"/>
                      <a:gd name="connsiteY11" fmla="*/ 2902979 h 5769736"/>
                      <a:gd name="connsiteX12" fmla="*/ 1853977 w 5281361"/>
                      <a:gd name="connsiteY12" fmla="*/ 2350529 h 5769736"/>
                      <a:gd name="connsiteX13" fmla="*/ 1673002 w 5281361"/>
                      <a:gd name="connsiteY13" fmla="*/ 1493279 h 5769736"/>
                      <a:gd name="connsiteX14" fmla="*/ 133729 w 5281361"/>
                      <a:gd name="connsiteY14" fmla="*/ 0 h 5769736"/>
                      <a:gd name="connsiteX0" fmla="*/ 133729 w 5281361"/>
                      <a:gd name="connsiteY0" fmla="*/ 0 h 5769736"/>
                      <a:gd name="connsiteX1" fmla="*/ 5149626 w 5281361"/>
                      <a:gd name="connsiteY1" fmla="*/ 0 h 5769736"/>
                      <a:gd name="connsiteX2" fmla="*/ 3597052 w 5281361"/>
                      <a:gd name="connsiteY2" fmla="*/ 1493279 h 5769736"/>
                      <a:gd name="connsiteX3" fmla="*/ 3435127 w 5281361"/>
                      <a:gd name="connsiteY3" fmla="*/ 2350529 h 5769736"/>
                      <a:gd name="connsiteX4" fmla="*/ 3254152 w 5281361"/>
                      <a:gd name="connsiteY4" fmla="*/ 2883929 h 5769736"/>
                      <a:gd name="connsiteX5" fmla="*/ 3273201 w 5281361"/>
                      <a:gd name="connsiteY5" fmla="*/ 3188729 h 5769736"/>
                      <a:gd name="connsiteX6" fmla="*/ 4873401 w 5281361"/>
                      <a:gd name="connsiteY6" fmla="*/ 4217429 h 5769736"/>
                      <a:gd name="connsiteX7" fmla="*/ 5149626 w 5281361"/>
                      <a:gd name="connsiteY7" fmla="*/ 5769736 h 5769736"/>
                      <a:gd name="connsiteX8" fmla="*/ 133729 w 5281361"/>
                      <a:gd name="connsiteY8" fmla="*/ 5769736 h 5769736"/>
                      <a:gd name="connsiteX9" fmla="*/ 396651 w 5281361"/>
                      <a:gd name="connsiteY9" fmla="*/ 4284104 h 5769736"/>
                      <a:gd name="connsiteX10" fmla="*/ 2006376 w 5281361"/>
                      <a:gd name="connsiteY10" fmla="*/ 3274454 h 5769736"/>
                      <a:gd name="connsiteX11" fmla="*/ 1996853 w 5281361"/>
                      <a:gd name="connsiteY11" fmla="*/ 2902979 h 5769736"/>
                      <a:gd name="connsiteX12" fmla="*/ 1853977 w 5281361"/>
                      <a:gd name="connsiteY12" fmla="*/ 2350529 h 5769736"/>
                      <a:gd name="connsiteX13" fmla="*/ 1673002 w 5281361"/>
                      <a:gd name="connsiteY13" fmla="*/ 1493279 h 5769736"/>
                      <a:gd name="connsiteX14" fmla="*/ 133729 w 5281361"/>
                      <a:gd name="connsiteY14" fmla="*/ 0 h 5769736"/>
                      <a:gd name="connsiteX0" fmla="*/ 133729 w 5499627"/>
                      <a:gd name="connsiteY0" fmla="*/ 0 h 5769736"/>
                      <a:gd name="connsiteX1" fmla="*/ 5149626 w 5499627"/>
                      <a:gd name="connsiteY1" fmla="*/ 0 h 5769736"/>
                      <a:gd name="connsiteX2" fmla="*/ 4911502 w 5499627"/>
                      <a:gd name="connsiteY2" fmla="*/ 569354 h 5769736"/>
                      <a:gd name="connsiteX3" fmla="*/ 3597052 w 5499627"/>
                      <a:gd name="connsiteY3" fmla="*/ 1493279 h 5769736"/>
                      <a:gd name="connsiteX4" fmla="*/ 3435127 w 5499627"/>
                      <a:gd name="connsiteY4" fmla="*/ 2350529 h 5769736"/>
                      <a:gd name="connsiteX5" fmla="*/ 3254152 w 5499627"/>
                      <a:gd name="connsiteY5" fmla="*/ 2883929 h 5769736"/>
                      <a:gd name="connsiteX6" fmla="*/ 3273201 w 5499627"/>
                      <a:gd name="connsiteY6" fmla="*/ 3188729 h 5769736"/>
                      <a:gd name="connsiteX7" fmla="*/ 4873401 w 5499627"/>
                      <a:gd name="connsiteY7" fmla="*/ 4217429 h 5769736"/>
                      <a:gd name="connsiteX8" fmla="*/ 5149626 w 5499627"/>
                      <a:gd name="connsiteY8" fmla="*/ 5769736 h 5769736"/>
                      <a:gd name="connsiteX9" fmla="*/ 133729 w 5499627"/>
                      <a:gd name="connsiteY9" fmla="*/ 5769736 h 5769736"/>
                      <a:gd name="connsiteX10" fmla="*/ 396651 w 5499627"/>
                      <a:gd name="connsiteY10" fmla="*/ 4284104 h 5769736"/>
                      <a:gd name="connsiteX11" fmla="*/ 2006376 w 5499627"/>
                      <a:gd name="connsiteY11" fmla="*/ 3274454 h 5769736"/>
                      <a:gd name="connsiteX12" fmla="*/ 1996853 w 5499627"/>
                      <a:gd name="connsiteY12" fmla="*/ 2902979 h 5769736"/>
                      <a:gd name="connsiteX13" fmla="*/ 1853977 w 5499627"/>
                      <a:gd name="connsiteY13" fmla="*/ 2350529 h 5769736"/>
                      <a:gd name="connsiteX14" fmla="*/ 1673002 w 5499627"/>
                      <a:gd name="connsiteY14" fmla="*/ 1493279 h 5769736"/>
                      <a:gd name="connsiteX15" fmla="*/ 133729 w 5499627"/>
                      <a:gd name="connsiteY15" fmla="*/ 0 h 5769736"/>
                      <a:gd name="connsiteX0" fmla="*/ 133729 w 5309015"/>
                      <a:gd name="connsiteY0" fmla="*/ 0 h 5769736"/>
                      <a:gd name="connsiteX1" fmla="*/ 5149626 w 5309015"/>
                      <a:gd name="connsiteY1" fmla="*/ 0 h 5769736"/>
                      <a:gd name="connsiteX2" fmla="*/ 3254152 w 5309015"/>
                      <a:gd name="connsiteY2" fmla="*/ 216929 h 5769736"/>
                      <a:gd name="connsiteX3" fmla="*/ 3597052 w 5309015"/>
                      <a:gd name="connsiteY3" fmla="*/ 1493279 h 5769736"/>
                      <a:gd name="connsiteX4" fmla="*/ 3435127 w 5309015"/>
                      <a:gd name="connsiteY4" fmla="*/ 2350529 h 5769736"/>
                      <a:gd name="connsiteX5" fmla="*/ 3254152 w 5309015"/>
                      <a:gd name="connsiteY5" fmla="*/ 2883929 h 5769736"/>
                      <a:gd name="connsiteX6" fmla="*/ 3273201 w 5309015"/>
                      <a:gd name="connsiteY6" fmla="*/ 3188729 h 5769736"/>
                      <a:gd name="connsiteX7" fmla="*/ 4873401 w 5309015"/>
                      <a:gd name="connsiteY7" fmla="*/ 4217429 h 5769736"/>
                      <a:gd name="connsiteX8" fmla="*/ 5149626 w 5309015"/>
                      <a:gd name="connsiteY8" fmla="*/ 5769736 h 5769736"/>
                      <a:gd name="connsiteX9" fmla="*/ 133729 w 5309015"/>
                      <a:gd name="connsiteY9" fmla="*/ 5769736 h 5769736"/>
                      <a:gd name="connsiteX10" fmla="*/ 396651 w 5309015"/>
                      <a:gd name="connsiteY10" fmla="*/ 4284104 h 5769736"/>
                      <a:gd name="connsiteX11" fmla="*/ 2006376 w 5309015"/>
                      <a:gd name="connsiteY11" fmla="*/ 3274454 h 5769736"/>
                      <a:gd name="connsiteX12" fmla="*/ 1996853 w 5309015"/>
                      <a:gd name="connsiteY12" fmla="*/ 2902979 h 5769736"/>
                      <a:gd name="connsiteX13" fmla="*/ 1853977 w 5309015"/>
                      <a:gd name="connsiteY13" fmla="*/ 2350529 h 5769736"/>
                      <a:gd name="connsiteX14" fmla="*/ 1673002 w 5309015"/>
                      <a:gd name="connsiteY14" fmla="*/ 1493279 h 5769736"/>
                      <a:gd name="connsiteX15" fmla="*/ 133729 w 5309015"/>
                      <a:gd name="connsiteY15" fmla="*/ 0 h 5769736"/>
                      <a:gd name="connsiteX0" fmla="*/ 133729 w 5309015"/>
                      <a:gd name="connsiteY0" fmla="*/ 0 h 5769736"/>
                      <a:gd name="connsiteX1" fmla="*/ 5149626 w 5309015"/>
                      <a:gd name="connsiteY1" fmla="*/ 0 h 5769736"/>
                      <a:gd name="connsiteX2" fmla="*/ 3254152 w 5309015"/>
                      <a:gd name="connsiteY2" fmla="*/ 216929 h 5769736"/>
                      <a:gd name="connsiteX3" fmla="*/ 3597052 w 5309015"/>
                      <a:gd name="connsiteY3" fmla="*/ 1493279 h 5769736"/>
                      <a:gd name="connsiteX4" fmla="*/ 3435127 w 5309015"/>
                      <a:gd name="connsiteY4" fmla="*/ 2350529 h 5769736"/>
                      <a:gd name="connsiteX5" fmla="*/ 3254152 w 5309015"/>
                      <a:gd name="connsiteY5" fmla="*/ 2883929 h 5769736"/>
                      <a:gd name="connsiteX6" fmla="*/ 3273201 w 5309015"/>
                      <a:gd name="connsiteY6" fmla="*/ 3188729 h 5769736"/>
                      <a:gd name="connsiteX7" fmla="*/ 4873401 w 5309015"/>
                      <a:gd name="connsiteY7" fmla="*/ 4217429 h 5769736"/>
                      <a:gd name="connsiteX8" fmla="*/ 5149626 w 5309015"/>
                      <a:gd name="connsiteY8" fmla="*/ 5769736 h 5769736"/>
                      <a:gd name="connsiteX9" fmla="*/ 133729 w 5309015"/>
                      <a:gd name="connsiteY9" fmla="*/ 5769736 h 5769736"/>
                      <a:gd name="connsiteX10" fmla="*/ 396651 w 5309015"/>
                      <a:gd name="connsiteY10" fmla="*/ 4284104 h 5769736"/>
                      <a:gd name="connsiteX11" fmla="*/ 2006376 w 5309015"/>
                      <a:gd name="connsiteY11" fmla="*/ 3274454 h 5769736"/>
                      <a:gd name="connsiteX12" fmla="*/ 1996853 w 5309015"/>
                      <a:gd name="connsiteY12" fmla="*/ 2902979 h 5769736"/>
                      <a:gd name="connsiteX13" fmla="*/ 1853977 w 5309015"/>
                      <a:gd name="connsiteY13" fmla="*/ 2350529 h 5769736"/>
                      <a:gd name="connsiteX14" fmla="*/ 1673002 w 5309015"/>
                      <a:gd name="connsiteY14" fmla="*/ 1493279 h 5769736"/>
                      <a:gd name="connsiteX15" fmla="*/ 133729 w 5309015"/>
                      <a:gd name="connsiteY15" fmla="*/ 0 h 5769736"/>
                      <a:gd name="connsiteX0" fmla="*/ 133729 w 5309015"/>
                      <a:gd name="connsiteY0" fmla="*/ 0 h 5769736"/>
                      <a:gd name="connsiteX1" fmla="*/ 5149626 w 5309015"/>
                      <a:gd name="connsiteY1" fmla="*/ 0 h 5769736"/>
                      <a:gd name="connsiteX2" fmla="*/ 3254152 w 5309015"/>
                      <a:gd name="connsiteY2" fmla="*/ 216929 h 5769736"/>
                      <a:gd name="connsiteX3" fmla="*/ 3597052 w 5309015"/>
                      <a:gd name="connsiteY3" fmla="*/ 1493279 h 5769736"/>
                      <a:gd name="connsiteX4" fmla="*/ 3435127 w 5309015"/>
                      <a:gd name="connsiteY4" fmla="*/ 2350529 h 5769736"/>
                      <a:gd name="connsiteX5" fmla="*/ 3254152 w 5309015"/>
                      <a:gd name="connsiteY5" fmla="*/ 2883929 h 5769736"/>
                      <a:gd name="connsiteX6" fmla="*/ 3273201 w 5309015"/>
                      <a:gd name="connsiteY6" fmla="*/ 3188729 h 5769736"/>
                      <a:gd name="connsiteX7" fmla="*/ 4873401 w 5309015"/>
                      <a:gd name="connsiteY7" fmla="*/ 4217429 h 5769736"/>
                      <a:gd name="connsiteX8" fmla="*/ 5149626 w 5309015"/>
                      <a:gd name="connsiteY8" fmla="*/ 5769736 h 5769736"/>
                      <a:gd name="connsiteX9" fmla="*/ 133729 w 5309015"/>
                      <a:gd name="connsiteY9" fmla="*/ 5769736 h 5769736"/>
                      <a:gd name="connsiteX10" fmla="*/ 396651 w 5309015"/>
                      <a:gd name="connsiteY10" fmla="*/ 4284104 h 5769736"/>
                      <a:gd name="connsiteX11" fmla="*/ 2006376 w 5309015"/>
                      <a:gd name="connsiteY11" fmla="*/ 3274454 h 5769736"/>
                      <a:gd name="connsiteX12" fmla="*/ 1996853 w 5309015"/>
                      <a:gd name="connsiteY12" fmla="*/ 2902979 h 5769736"/>
                      <a:gd name="connsiteX13" fmla="*/ 1853977 w 5309015"/>
                      <a:gd name="connsiteY13" fmla="*/ 2350529 h 5769736"/>
                      <a:gd name="connsiteX14" fmla="*/ 1673002 w 5309015"/>
                      <a:gd name="connsiteY14" fmla="*/ 1493279 h 5769736"/>
                      <a:gd name="connsiteX15" fmla="*/ 133729 w 5309015"/>
                      <a:gd name="connsiteY15" fmla="*/ 0 h 5769736"/>
                      <a:gd name="connsiteX0" fmla="*/ 133729 w 5309015"/>
                      <a:gd name="connsiteY0" fmla="*/ 0 h 5769736"/>
                      <a:gd name="connsiteX1" fmla="*/ 5149626 w 5309015"/>
                      <a:gd name="connsiteY1" fmla="*/ 0 h 5769736"/>
                      <a:gd name="connsiteX2" fmla="*/ 3254152 w 5309015"/>
                      <a:gd name="connsiteY2" fmla="*/ 216929 h 5769736"/>
                      <a:gd name="connsiteX3" fmla="*/ 3597052 w 5309015"/>
                      <a:gd name="connsiteY3" fmla="*/ 1493279 h 5769736"/>
                      <a:gd name="connsiteX4" fmla="*/ 3435127 w 5309015"/>
                      <a:gd name="connsiteY4" fmla="*/ 2350529 h 5769736"/>
                      <a:gd name="connsiteX5" fmla="*/ 3254152 w 5309015"/>
                      <a:gd name="connsiteY5" fmla="*/ 2883929 h 5769736"/>
                      <a:gd name="connsiteX6" fmla="*/ 3273201 w 5309015"/>
                      <a:gd name="connsiteY6" fmla="*/ 3188729 h 5769736"/>
                      <a:gd name="connsiteX7" fmla="*/ 4873401 w 5309015"/>
                      <a:gd name="connsiteY7" fmla="*/ 4217429 h 5769736"/>
                      <a:gd name="connsiteX8" fmla="*/ 5149626 w 5309015"/>
                      <a:gd name="connsiteY8" fmla="*/ 5769736 h 5769736"/>
                      <a:gd name="connsiteX9" fmla="*/ 133729 w 5309015"/>
                      <a:gd name="connsiteY9" fmla="*/ 5769736 h 5769736"/>
                      <a:gd name="connsiteX10" fmla="*/ 396651 w 5309015"/>
                      <a:gd name="connsiteY10" fmla="*/ 4284104 h 5769736"/>
                      <a:gd name="connsiteX11" fmla="*/ 2006376 w 5309015"/>
                      <a:gd name="connsiteY11" fmla="*/ 3274454 h 5769736"/>
                      <a:gd name="connsiteX12" fmla="*/ 1996853 w 5309015"/>
                      <a:gd name="connsiteY12" fmla="*/ 2902979 h 5769736"/>
                      <a:gd name="connsiteX13" fmla="*/ 1853977 w 5309015"/>
                      <a:gd name="connsiteY13" fmla="*/ 2350529 h 5769736"/>
                      <a:gd name="connsiteX14" fmla="*/ 1673002 w 5309015"/>
                      <a:gd name="connsiteY14" fmla="*/ 1493279 h 5769736"/>
                      <a:gd name="connsiteX15" fmla="*/ 133729 w 5309015"/>
                      <a:gd name="connsiteY15" fmla="*/ 0 h 5769736"/>
                      <a:gd name="connsiteX0" fmla="*/ 133729 w 5309015"/>
                      <a:gd name="connsiteY0" fmla="*/ 0 h 5769736"/>
                      <a:gd name="connsiteX1" fmla="*/ 5149626 w 5309015"/>
                      <a:gd name="connsiteY1" fmla="*/ 0 h 5769736"/>
                      <a:gd name="connsiteX2" fmla="*/ 3254152 w 5309015"/>
                      <a:gd name="connsiteY2" fmla="*/ 216929 h 5769736"/>
                      <a:gd name="connsiteX3" fmla="*/ 3597052 w 5309015"/>
                      <a:gd name="connsiteY3" fmla="*/ 1493279 h 5769736"/>
                      <a:gd name="connsiteX4" fmla="*/ 3435127 w 5309015"/>
                      <a:gd name="connsiteY4" fmla="*/ 2350529 h 5769736"/>
                      <a:gd name="connsiteX5" fmla="*/ 3254152 w 5309015"/>
                      <a:gd name="connsiteY5" fmla="*/ 2883929 h 5769736"/>
                      <a:gd name="connsiteX6" fmla="*/ 3273201 w 5309015"/>
                      <a:gd name="connsiteY6" fmla="*/ 3188729 h 5769736"/>
                      <a:gd name="connsiteX7" fmla="*/ 4873401 w 5309015"/>
                      <a:gd name="connsiteY7" fmla="*/ 4217429 h 5769736"/>
                      <a:gd name="connsiteX8" fmla="*/ 5149626 w 5309015"/>
                      <a:gd name="connsiteY8" fmla="*/ 5769736 h 5769736"/>
                      <a:gd name="connsiteX9" fmla="*/ 133729 w 5309015"/>
                      <a:gd name="connsiteY9" fmla="*/ 5769736 h 5769736"/>
                      <a:gd name="connsiteX10" fmla="*/ 396651 w 5309015"/>
                      <a:gd name="connsiteY10" fmla="*/ 4284104 h 5769736"/>
                      <a:gd name="connsiteX11" fmla="*/ 2006376 w 5309015"/>
                      <a:gd name="connsiteY11" fmla="*/ 3274454 h 5769736"/>
                      <a:gd name="connsiteX12" fmla="*/ 1996853 w 5309015"/>
                      <a:gd name="connsiteY12" fmla="*/ 2902979 h 5769736"/>
                      <a:gd name="connsiteX13" fmla="*/ 1853977 w 5309015"/>
                      <a:gd name="connsiteY13" fmla="*/ 2350529 h 5769736"/>
                      <a:gd name="connsiteX14" fmla="*/ 1673002 w 5309015"/>
                      <a:gd name="connsiteY14" fmla="*/ 1493279 h 5769736"/>
                      <a:gd name="connsiteX15" fmla="*/ 133729 w 5309015"/>
                      <a:gd name="connsiteY15" fmla="*/ 0 h 5769736"/>
                      <a:gd name="connsiteX0" fmla="*/ 303022 w 5478308"/>
                      <a:gd name="connsiteY0" fmla="*/ 0 h 5769736"/>
                      <a:gd name="connsiteX1" fmla="*/ 5318919 w 5478308"/>
                      <a:gd name="connsiteY1" fmla="*/ 0 h 5769736"/>
                      <a:gd name="connsiteX2" fmla="*/ 3423445 w 5478308"/>
                      <a:gd name="connsiteY2" fmla="*/ 216929 h 5769736"/>
                      <a:gd name="connsiteX3" fmla="*/ 3766345 w 5478308"/>
                      <a:gd name="connsiteY3" fmla="*/ 1493279 h 5769736"/>
                      <a:gd name="connsiteX4" fmla="*/ 3604420 w 5478308"/>
                      <a:gd name="connsiteY4" fmla="*/ 2350529 h 5769736"/>
                      <a:gd name="connsiteX5" fmla="*/ 3423445 w 5478308"/>
                      <a:gd name="connsiteY5" fmla="*/ 2883929 h 5769736"/>
                      <a:gd name="connsiteX6" fmla="*/ 3442494 w 5478308"/>
                      <a:gd name="connsiteY6" fmla="*/ 3188729 h 5769736"/>
                      <a:gd name="connsiteX7" fmla="*/ 5042694 w 5478308"/>
                      <a:gd name="connsiteY7" fmla="*/ 4217429 h 5769736"/>
                      <a:gd name="connsiteX8" fmla="*/ 5318919 w 5478308"/>
                      <a:gd name="connsiteY8" fmla="*/ 5769736 h 5769736"/>
                      <a:gd name="connsiteX9" fmla="*/ 303022 w 5478308"/>
                      <a:gd name="connsiteY9" fmla="*/ 5769736 h 5769736"/>
                      <a:gd name="connsiteX10" fmla="*/ 565944 w 5478308"/>
                      <a:gd name="connsiteY10" fmla="*/ 4284104 h 5769736"/>
                      <a:gd name="connsiteX11" fmla="*/ 2175669 w 5478308"/>
                      <a:gd name="connsiteY11" fmla="*/ 3274454 h 5769736"/>
                      <a:gd name="connsiteX12" fmla="*/ 2166146 w 5478308"/>
                      <a:gd name="connsiteY12" fmla="*/ 2902979 h 5769736"/>
                      <a:gd name="connsiteX13" fmla="*/ 2023270 w 5478308"/>
                      <a:gd name="connsiteY13" fmla="*/ 2350529 h 5769736"/>
                      <a:gd name="connsiteX14" fmla="*/ 1842295 w 5478308"/>
                      <a:gd name="connsiteY14" fmla="*/ 1493279 h 5769736"/>
                      <a:gd name="connsiteX15" fmla="*/ 699295 w 5478308"/>
                      <a:gd name="connsiteY15" fmla="*/ 693179 h 5769736"/>
                      <a:gd name="connsiteX16" fmla="*/ 303022 w 5478308"/>
                      <a:gd name="connsiteY16" fmla="*/ 0 h 5769736"/>
                      <a:gd name="connsiteX0" fmla="*/ 154845 w 5330131"/>
                      <a:gd name="connsiteY0" fmla="*/ 0 h 5769736"/>
                      <a:gd name="connsiteX1" fmla="*/ 5170742 w 5330131"/>
                      <a:gd name="connsiteY1" fmla="*/ 0 h 5769736"/>
                      <a:gd name="connsiteX2" fmla="*/ 3275268 w 5330131"/>
                      <a:gd name="connsiteY2" fmla="*/ 216929 h 5769736"/>
                      <a:gd name="connsiteX3" fmla="*/ 3618168 w 5330131"/>
                      <a:gd name="connsiteY3" fmla="*/ 1493279 h 5769736"/>
                      <a:gd name="connsiteX4" fmla="*/ 3456243 w 5330131"/>
                      <a:gd name="connsiteY4" fmla="*/ 2350529 h 5769736"/>
                      <a:gd name="connsiteX5" fmla="*/ 3275268 w 5330131"/>
                      <a:gd name="connsiteY5" fmla="*/ 2883929 h 5769736"/>
                      <a:gd name="connsiteX6" fmla="*/ 3294317 w 5330131"/>
                      <a:gd name="connsiteY6" fmla="*/ 3188729 h 5769736"/>
                      <a:gd name="connsiteX7" fmla="*/ 4894517 w 5330131"/>
                      <a:gd name="connsiteY7" fmla="*/ 4217429 h 5769736"/>
                      <a:gd name="connsiteX8" fmla="*/ 5170742 w 5330131"/>
                      <a:gd name="connsiteY8" fmla="*/ 5769736 h 5769736"/>
                      <a:gd name="connsiteX9" fmla="*/ 154845 w 5330131"/>
                      <a:gd name="connsiteY9" fmla="*/ 5769736 h 5769736"/>
                      <a:gd name="connsiteX10" fmla="*/ 417767 w 5330131"/>
                      <a:gd name="connsiteY10" fmla="*/ 4284104 h 5769736"/>
                      <a:gd name="connsiteX11" fmla="*/ 2027492 w 5330131"/>
                      <a:gd name="connsiteY11" fmla="*/ 3274454 h 5769736"/>
                      <a:gd name="connsiteX12" fmla="*/ 2017969 w 5330131"/>
                      <a:gd name="connsiteY12" fmla="*/ 2902979 h 5769736"/>
                      <a:gd name="connsiteX13" fmla="*/ 1875093 w 5330131"/>
                      <a:gd name="connsiteY13" fmla="*/ 2350529 h 5769736"/>
                      <a:gd name="connsiteX14" fmla="*/ 1694118 w 5330131"/>
                      <a:gd name="connsiteY14" fmla="*/ 1493279 h 5769736"/>
                      <a:gd name="connsiteX15" fmla="*/ 1979868 w 5330131"/>
                      <a:gd name="connsiteY15" fmla="*/ 245504 h 5769736"/>
                      <a:gd name="connsiteX16" fmla="*/ 154845 w 5330131"/>
                      <a:gd name="connsiteY16" fmla="*/ 0 h 5769736"/>
                      <a:gd name="connsiteX0" fmla="*/ 154845 w 5330131"/>
                      <a:gd name="connsiteY0" fmla="*/ 0 h 5769736"/>
                      <a:gd name="connsiteX1" fmla="*/ 5170742 w 5330131"/>
                      <a:gd name="connsiteY1" fmla="*/ 0 h 5769736"/>
                      <a:gd name="connsiteX2" fmla="*/ 3275268 w 5330131"/>
                      <a:gd name="connsiteY2" fmla="*/ 216929 h 5769736"/>
                      <a:gd name="connsiteX3" fmla="*/ 3618168 w 5330131"/>
                      <a:gd name="connsiteY3" fmla="*/ 1493279 h 5769736"/>
                      <a:gd name="connsiteX4" fmla="*/ 3456243 w 5330131"/>
                      <a:gd name="connsiteY4" fmla="*/ 2350529 h 5769736"/>
                      <a:gd name="connsiteX5" fmla="*/ 3275268 w 5330131"/>
                      <a:gd name="connsiteY5" fmla="*/ 2883929 h 5769736"/>
                      <a:gd name="connsiteX6" fmla="*/ 3294317 w 5330131"/>
                      <a:gd name="connsiteY6" fmla="*/ 3188729 h 5769736"/>
                      <a:gd name="connsiteX7" fmla="*/ 4894517 w 5330131"/>
                      <a:gd name="connsiteY7" fmla="*/ 4217429 h 5769736"/>
                      <a:gd name="connsiteX8" fmla="*/ 5170742 w 5330131"/>
                      <a:gd name="connsiteY8" fmla="*/ 5769736 h 5769736"/>
                      <a:gd name="connsiteX9" fmla="*/ 154845 w 5330131"/>
                      <a:gd name="connsiteY9" fmla="*/ 5769736 h 5769736"/>
                      <a:gd name="connsiteX10" fmla="*/ 417767 w 5330131"/>
                      <a:gd name="connsiteY10" fmla="*/ 4284104 h 5769736"/>
                      <a:gd name="connsiteX11" fmla="*/ 2027492 w 5330131"/>
                      <a:gd name="connsiteY11" fmla="*/ 3274454 h 5769736"/>
                      <a:gd name="connsiteX12" fmla="*/ 2017969 w 5330131"/>
                      <a:gd name="connsiteY12" fmla="*/ 2902979 h 5769736"/>
                      <a:gd name="connsiteX13" fmla="*/ 1875093 w 5330131"/>
                      <a:gd name="connsiteY13" fmla="*/ 2350529 h 5769736"/>
                      <a:gd name="connsiteX14" fmla="*/ 1694118 w 5330131"/>
                      <a:gd name="connsiteY14" fmla="*/ 1493279 h 5769736"/>
                      <a:gd name="connsiteX15" fmla="*/ 1979868 w 5330131"/>
                      <a:gd name="connsiteY15" fmla="*/ 245504 h 5769736"/>
                      <a:gd name="connsiteX16" fmla="*/ 154845 w 5330131"/>
                      <a:gd name="connsiteY16" fmla="*/ 0 h 5769736"/>
                      <a:gd name="connsiteX0" fmla="*/ 154845 w 5330131"/>
                      <a:gd name="connsiteY0" fmla="*/ 0 h 5769736"/>
                      <a:gd name="connsiteX1" fmla="*/ 5170742 w 5330131"/>
                      <a:gd name="connsiteY1" fmla="*/ 0 h 5769736"/>
                      <a:gd name="connsiteX2" fmla="*/ 3275268 w 5330131"/>
                      <a:gd name="connsiteY2" fmla="*/ 216929 h 5769736"/>
                      <a:gd name="connsiteX3" fmla="*/ 3618168 w 5330131"/>
                      <a:gd name="connsiteY3" fmla="*/ 1493279 h 5769736"/>
                      <a:gd name="connsiteX4" fmla="*/ 3456243 w 5330131"/>
                      <a:gd name="connsiteY4" fmla="*/ 2350529 h 5769736"/>
                      <a:gd name="connsiteX5" fmla="*/ 3275268 w 5330131"/>
                      <a:gd name="connsiteY5" fmla="*/ 2883929 h 5769736"/>
                      <a:gd name="connsiteX6" fmla="*/ 3294317 w 5330131"/>
                      <a:gd name="connsiteY6" fmla="*/ 3188729 h 5769736"/>
                      <a:gd name="connsiteX7" fmla="*/ 4894517 w 5330131"/>
                      <a:gd name="connsiteY7" fmla="*/ 4217429 h 5769736"/>
                      <a:gd name="connsiteX8" fmla="*/ 5170742 w 5330131"/>
                      <a:gd name="connsiteY8" fmla="*/ 5769736 h 5769736"/>
                      <a:gd name="connsiteX9" fmla="*/ 154845 w 5330131"/>
                      <a:gd name="connsiteY9" fmla="*/ 5769736 h 5769736"/>
                      <a:gd name="connsiteX10" fmla="*/ 417767 w 5330131"/>
                      <a:gd name="connsiteY10" fmla="*/ 4284104 h 5769736"/>
                      <a:gd name="connsiteX11" fmla="*/ 2027492 w 5330131"/>
                      <a:gd name="connsiteY11" fmla="*/ 3274454 h 5769736"/>
                      <a:gd name="connsiteX12" fmla="*/ 2017969 w 5330131"/>
                      <a:gd name="connsiteY12" fmla="*/ 2902979 h 5769736"/>
                      <a:gd name="connsiteX13" fmla="*/ 1875093 w 5330131"/>
                      <a:gd name="connsiteY13" fmla="*/ 2350529 h 5769736"/>
                      <a:gd name="connsiteX14" fmla="*/ 1694118 w 5330131"/>
                      <a:gd name="connsiteY14" fmla="*/ 1493279 h 5769736"/>
                      <a:gd name="connsiteX15" fmla="*/ 1979868 w 5330131"/>
                      <a:gd name="connsiteY15" fmla="*/ 245504 h 5769736"/>
                      <a:gd name="connsiteX16" fmla="*/ 154845 w 5330131"/>
                      <a:gd name="connsiteY16" fmla="*/ 0 h 5769736"/>
                      <a:gd name="connsiteX0" fmla="*/ 154845 w 5330131"/>
                      <a:gd name="connsiteY0" fmla="*/ 0 h 5769736"/>
                      <a:gd name="connsiteX1" fmla="*/ 5170742 w 5330131"/>
                      <a:gd name="connsiteY1" fmla="*/ 0 h 5769736"/>
                      <a:gd name="connsiteX2" fmla="*/ 3275268 w 5330131"/>
                      <a:gd name="connsiteY2" fmla="*/ 216929 h 5769736"/>
                      <a:gd name="connsiteX3" fmla="*/ 3618168 w 5330131"/>
                      <a:gd name="connsiteY3" fmla="*/ 1493279 h 5769736"/>
                      <a:gd name="connsiteX4" fmla="*/ 3456243 w 5330131"/>
                      <a:gd name="connsiteY4" fmla="*/ 2350529 h 5769736"/>
                      <a:gd name="connsiteX5" fmla="*/ 3275268 w 5330131"/>
                      <a:gd name="connsiteY5" fmla="*/ 2883929 h 5769736"/>
                      <a:gd name="connsiteX6" fmla="*/ 3294317 w 5330131"/>
                      <a:gd name="connsiteY6" fmla="*/ 3188729 h 5769736"/>
                      <a:gd name="connsiteX7" fmla="*/ 4894517 w 5330131"/>
                      <a:gd name="connsiteY7" fmla="*/ 4217429 h 5769736"/>
                      <a:gd name="connsiteX8" fmla="*/ 5170742 w 5330131"/>
                      <a:gd name="connsiteY8" fmla="*/ 5769736 h 5769736"/>
                      <a:gd name="connsiteX9" fmla="*/ 154845 w 5330131"/>
                      <a:gd name="connsiteY9" fmla="*/ 5769736 h 5769736"/>
                      <a:gd name="connsiteX10" fmla="*/ 417767 w 5330131"/>
                      <a:gd name="connsiteY10" fmla="*/ 4284104 h 5769736"/>
                      <a:gd name="connsiteX11" fmla="*/ 2027492 w 5330131"/>
                      <a:gd name="connsiteY11" fmla="*/ 3274454 h 5769736"/>
                      <a:gd name="connsiteX12" fmla="*/ 2017969 w 5330131"/>
                      <a:gd name="connsiteY12" fmla="*/ 2902979 h 5769736"/>
                      <a:gd name="connsiteX13" fmla="*/ 1875093 w 5330131"/>
                      <a:gd name="connsiteY13" fmla="*/ 2350529 h 5769736"/>
                      <a:gd name="connsiteX14" fmla="*/ 1694118 w 5330131"/>
                      <a:gd name="connsiteY14" fmla="*/ 1493279 h 5769736"/>
                      <a:gd name="connsiteX15" fmla="*/ 1979868 w 5330131"/>
                      <a:gd name="connsiteY15" fmla="*/ 245504 h 5769736"/>
                      <a:gd name="connsiteX16" fmla="*/ 154845 w 5330131"/>
                      <a:gd name="connsiteY16" fmla="*/ 0 h 5769736"/>
                      <a:gd name="connsiteX0" fmla="*/ 154845 w 5170742"/>
                      <a:gd name="connsiteY0" fmla="*/ 0 h 5769736"/>
                      <a:gd name="connsiteX1" fmla="*/ 3275268 w 5170742"/>
                      <a:gd name="connsiteY1" fmla="*/ 216929 h 5769736"/>
                      <a:gd name="connsiteX2" fmla="*/ 3618168 w 5170742"/>
                      <a:gd name="connsiteY2" fmla="*/ 1493279 h 5769736"/>
                      <a:gd name="connsiteX3" fmla="*/ 3456243 w 5170742"/>
                      <a:gd name="connsiteY3" fmla="*/ 2350529 h 5769736"/>
                      <a:gd name="connsiteX4" fmla="*/ 3275268 w 5170742"/>
                      <a:gd name="connsiteY4" fmla="*/ 2883929 h 5769736"/>
                      <a:gd name="connsiteX5" fmla="*/ 3294317 w 5170742"/>
                      <a:gd name="connsiteY5" fmla="*/ 3188729 h 5769736"/>
                      <a:gd name="connsiteX6" fmla="*/ 4894517 w 5170742"/>
                      <a:gd name="connsiteY6" fmla="*/ 4217429 h 5769736"/>
                      <a:gd name="connsiteX7" fmla="*/ 5170742 w 5170742"/>
                      <a:gd name="connsiteY7" fmla="*/ 5769736 h 5769736"/>
                      <a:gd name="connsiteX8" fmla="*/ 154845 w 5170742"/>
                      <a:gd name="connsiteY8" fmla="*/ 5769736 h 5769736"/>
                      <a:gd name="connsiteX9" fmla="*/ 417767 w 5170742"/>
                      <a:gd name="connsiteY9" fmla="*/ 4284104 h 5769736"/>
                      <a:gd name="connsiteX10" fmla="*/ 2027492 w 5170742"/>
                      <a:gd name="connsiteY10" fmla="*/ 3274454 h 5769736"/>
                      <a:gd name="connsiteX11" fmla="*/ 2017969 w 5170742"/>
                      <a:gd name="connsiteY11" fmla="*/ 2902979 h 5769736"/>
                      <a:gd name="connsiteX12" fmla="*/ 1875093 w 5170742"/>
                      <a:gd name="connsiteY12" fmla="*/ 2350529 h 5769736"/>
                      <a:gd name="connsiteX13" fmla="*/ 1694118 w 5170742"/>
                      <a:gd name="connsiteY13" fmla="*/ 1493279 h 5769736"/>
                      <a:gd name="connsiteX14" fmla="*/ 1979868 w 5170742"/>
                      <a:gd name="connsiteY14" fmla="*/ 245504 h 5769736"/>
                      <a:gd name="connsiteX15" fmla="*/ 154845 w 5170742"/>
                      <a:gd name="connsiteY15" fmla="*/ 0 h 5769736"/>
                      <a:gd name="connsiteX0" fmla="*/ 1825041 w 5015915"/>
                      <a:gd name="connsiteY0" fmla="*/ 172656 h 5696888"/>
                      <a:gd name="connsiteX1" fmla="*/ 3120441 w 5015915"/>
                      <a:gd name="connsiteY1" fmla="*/ 144081 h 5696888"/>
                      <a:gd name="connsiteX2" fmla="*/ 3463341 w 5015915"/>
                      <a:gd name="connsiteY2" fmla="*/ 1420431 h 5696888"/>
                      <a:gd name="connsiteX3" fmla="*/ 3301416 w 5015915"/>
                      <a:gd name="connsiteY3" fmla="*/ 2277681 h 5696888"/>
                      <a:gd name="connsiteX4" fmla="*/ 3120441 w 5015915"/>
                      <a:gd name="connsiteY4" fmla="*/ 2811081 h 5696888"/>
                      <a:gd name="connsiteX5" fmla="*/ 3139490 w 5015915"/>
                      <a:gd name="connsiteY5" fmla="*/ 3115881 h 5696888"/>
                      <a:gd name="connsiteX6" fmla="*/ 4739690 w 5015915"/>
                      <a:gd name="connsiteY6" fmla="*/ 4144581 h 5696888"/>
                      <a:gd name="connsiteX7" fmla="*/ 5015915 w 5015915"/>
                      <a:gd name="connsiteY7" fmla="*/ 5696888 h 5696888"/>
                      <a:gd name="connsiteX8" fmla="*/ 18 w 5015915"/>
                      <a:gd name="connsiteY8" fmla="*/ 5696888 h 5696888"/>
                      <a:gd name="connsiteX9" fmla="*/ 262940 w 5015915"/>
                      <a:gd name="connsiteY9" fmla="*/ 4211256 h 5696888"/>
                      <a:gd name="connsiteX10" fmla="*/ 1872665 w 5015915"/>
                      <a:gd name="connsiteY10" fmla="*/ 3201606 h 5696888"/>
                      <a:gd name="connsiteX11" fmla="*/ 1863142 w 5015915"/>
                      <a:gd name="connsiteY11" fmla="*/ 2830131 h 5696888"/>
                      <a:gd name="connsiteX12" fmla="*/ 1720266 w 5015915"/>
                      <a:gd name="connsiteY12" fmla="*/ 2277681 h 5696888"/>
                      <a:gd name="connsiteX13" fmla="*/ 1539291 w 5015915"/>
                      <a:gd name="connsiteY13" fmla="*/ 1420431 h 5696888"/>
                      <a:gd name="connsiteX14" fmla="*/ 1825041 w 5015915"/>
                      <a:gd name="connsiteY14" fmla="*/ 172656 h 5696888"/>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39690 w 5015915"/>
                      <a:gd name="connsiteY6" fmla="*/ 4207660 h 5759967"/>
                      <a:gd name="connsiteX7" fmla="*/ 5015915 w 5015915"/>
                      <a:gd name="connsiteY7" fmla="*/ 5759967 h 5759967"/>
                      <a:gd name="connsiteX8" fmla="*/ 18 w 5015915"/>
                      <a:gd name="connsiteY8" fmla="*/ 5759967 h 5759967"/>
                      <a:gd name="connsiteX9" fmla="*/ 262940 w 5015915"/>
                      <a:gd name="connsiteY9" fmla="*/ 42743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77790 w 5015915"/>
                      <a:gd name="connsiteY6" fmla="*/ 4239410 h 5759967"/>
                      <a:gd name="connsiteX7" fmla="*/ 5015915 w 5015915"/>
                      <a:gd name="connsiteY7" fmla="*/ 5759967 h 5759967"/>
                      <a:gd name="connsiteX8" fmla="*/ 18 w 5015915"/>
                      <a:gd name="connsiteY8" fmla="*/ 5759967 h 5759967"/>
                      <a:gd name="connsiteX9" fmla="*/ 262940 w 5015915"/>
                      <a:gd name="connsiteY9" fmla="*/ 42743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77790 w 5015915"/>
                      <a:gd name="connsiteY6" fmla="*/ 4239410 h 5759967"/>
                      <a:gd name="connsiteX7" fmla="*/ 5015915 w 5015915"/>
                      <a:gd name="connsiteY7" fmla="*/ 5759967 h 5759967"/>
                      <a:gd name="connsiteX8" fmla="*/ 18 w 5015915"/>
                      <a:gd name="connsiteY8" fmla="*/ 5759967 h 5759967"/>
                      <a:gd name="connsiteX9" fmla="*/ 262940 w 5015915"/>
                      <a:gd name="connsiteY9" fmla="*/ 42362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77790 w 5015915"/>
                      <a:gd name="connsiteY6" fmla="*/ 4239410 h 5759967"/>
                      <a:gd name="connsiteX7" fmla="*/ 5015915 w 5015915"/>
                      <a:gd name="connsiteY7" fmla="*/ 5759967 h 5759967"/>
                      <a:gd name="connsiteX8" fmla="*/ 18 w 5015915"/>
                      <a:gd name="connsiteY8" fmla="*/ 5759967 h 5759967"/>
                      <a:gd name="connsiteX9" fmla="*/ 262940 w 5015915"/>
                      <a:gd name="connsiteY9" fmla="*/ 42362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77790 w 5015915"/>
                      <a:gd name="connsiteY6" fmla="*/ 4239410 h 5759967"/>
                      <a:gd name="connsiteX7" fmla="*/ 5015915 w 5015915"/>
                      <a:gd name="connsiteY7" fmla="*/ 5759967 h 5759967"/>
                      <a:gd name="connsiteX8" fmla="*/ 18 w 5015915"/>
                      <a:gd name="connsiteY8" fmla="*/ 5759967 h 5759967"/>
                      <a:gd name="connsiteX9" fmla="*/ 262940 w 5015915"/>
                      <a:gd name="connsiteY9" fmla="*/ 42362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 name="connsiteX0" fmla="*/ 1825041 w 5015915"/>
                      <a:gd name="connsiteY0" fmla="*/ 235735 h 5759967"/>
                      <a:gd name="connsiteX1" fmla="*/ 3120441 w 5015915"/>
                      <a:gd name="connsiteY1" fmla="*/ 207160 h 5759967"/>
                      <a:gd name="connsiteX2" fmla="*/ 3463341 w 5015915"/>
                      <a:gd name="connsiteY2" fmla="*/ 1483510 h 5759967"/>
                      <a:gd name="connsiteX3" fmla="*/ 3301416 w 5015915"/>
                      <a:gd name="connsiteY3" fmla="*/ 2340760 h 5759967"/>
                      <a:gd name="connsiteX4" fmla="*/ 3120441 w 5015915"/>
                      <a:gd name="connsiteY4" fmla="*/ 2874160 h 5759967"/>
                      <a:gd name="connsiteX5" fmla="*/ 3139490 w 5015915"/>
                      <a:gd name="connsiteY5" fmla="*/ 3178960 h 5759967"/>
                      <a:gd name="connsiteX6" fmla="*/ 4777790 w 5015915"/>
                      <a:gd name="connsiteY6" fmla="*/ 4239410 h 5759967"/>
                      <a:gd name="connsiteX7" fmla="*/ 5015915 w 5015915"/>
                      <a:gd name="connsiteY7" fmla="*/ 5759967 h 5759967"/>
                      <a:gd name="connsiteX8" fmla="*/ 18 w 5015915"/>
                      <a:gd name="connsiteY8" fmla="*/ 5759967 h 5759967"/>
                      <a:gd name="connsiteX9" fmla="*/ 262940 w 5015915"/>
                      <a:gd name="connsiteY9" fmla="*/ 4236235 h 5759967"/>
                      <a:gd name="connsiteX10" fmla="*/ 1872665 w 5015915"/>
                      <a:gd name="connsiteY10" fmla="*/ 3264685 h 5759967"/>
                      <a:gd name="connsiteX11" fmla="*/ 1863142 w 5015915"/>
                      <a:gd name="connsiteY11" fmla="*/ 2893210 h 5759967"/>
                      <a:gd name="connsiteX12" fmla="*/ 1720266 w 5015915"/>
                      <a:gd name="connsiteY12" fmla="*/ 2340760 h 5759967"/>
                      <a:gd name="connsiteX13" fmla="*/ 1539291 w 5015915"/>
                      <a:gd name="connsiteY13" fmla="*/ 1483510 h 5759967"/>
                      <a:gd name="connsiteX14" fmla="*/ 1825041 w 5015915"/>
                      <a:gd name="connsiteY14" fmla="*/ 235735 h 5759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015915" h="5759967">
                        <a:moveTo>
                          <a:pt x="1825041" y="235735"/>
                        </a:moveTo>
                        <a:cubicBezTo>
                          <a:pt x="2088566" y="23010"/>
                          <a:pt x="2971216" y="-153202"/>
                          <a:pt x="3120441" y="207160"/>
                        </a:cubicBezTo>
                        <a:cubicBezTo>
                          <a:pt x="3671304" y="132190"/>
                          <a:pt x="3528428" y="1034248"/>
                          <a:pt x="3463341" y="1483510"/>
                        </a:cubicBezTo>
                        <a:cubicBezTo>
                          <a:pt x="3806241" y="1656190"/>
                          <a:pt x="3530016" y="2264560"/>
                          <a:pt x="3301416" y="2340760"/>
                        </a:cubicBezTo>
                        <a:cubicBezTo>
                          <a:pt x="3242679" y="2621390"/>
                          <a:pt x="3166479" y="2758273"/>
                          <a:pt x="3120441" y="2874160"/>
                        </a:cubicBezTo>
                        <a:cubicBezTo>
                          <a:pt x="3160129" y="3053190"/>
                          <a:pt x="3120440" y="3082123"/>
                          <a:pt x="3139490" y="3178960"/>
                        </a:cubicBezTo>
                        <a:cubicBezTo>
                          <a:pt x="3223628" y="3561190"/>
                          <a:pt x="4487278" y="3833055"/>
                          <a:pt x="4777790" y="4239410"/>
                        </a:cubicBezTo>
                        <a:cubicBezTo>
                          <a:pt x="5031790" y="4671121"/>
                          <a:pt x="4993690" y="5236181"/>
                          <a:pt x="5015915" y="5759967"/>
                        </a:cubicBezTo>
                        <a:lnTo>
                          <a:pt x="18" y="5759967"/>
                        </a:lnTo>
                        <a:cubicBezTo>
                          <a:pt x="-1241" y="5210781"/>
                          <a:pt x="64174" y="4556821"/>
                          <a:pt x="262940" y="4236235"/>
                        </a:cubicBezTo>
                        <a:cubicBezTo>
                          <a:pt x="606798" y="3782255"/>
                          <a:pt x="1792660" y="3483402"/>
                          <a:pt x="1872665" y="3264685"/>
                        </a:cubicBezTo>
                        <a:cubicBezTo>
                          <a:pt x="1920290" y="3093235"/>
                          <a:pt x="1899025" y="3038902"/>
                          <a:pt x="1863142" y="2893210"/>
                        </a:cubicBezTo>
                        <a:cubicBezTo>
                          <a:pt x="1788530" y="2737635"/>
                          <a:pt x="1764087" y="2605515"/>
                          <a:pt x="1720266" y="2340760"/>
                        </a:cubicBezTo>
                        <a:cubicBezTo>
                          <a:pt x="1559928" y="2296310"/>
                          <a:pt x="1225924" y="1751440"/>
                          <a:pt x="1539291" y="1483510"/>
                        </a:cubicBezTo>
                        <a:cubicBezTo>
                          <a:pt x="1499604" y="912010"/>
                          <a:pt x="1405312" y="-10685"/>
                          <a:pt x="1825041" y="235735"/>
                        </a:cubicBezTo>
                        <a:close/>
                      </a:path>
                    </a:pathLst>
                  </a:cu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grpSp>
          <p:grpSp>
            <p:nvGrpSpPr>
              <p:cNvPr id="87" name="Group 86"/>
              <p:cNvGrpSpPr/>
              <p:nvPr/>
            </p:nvGrpSpPr>
            <p:grpSpPr>
              <a:xfrm>
                <a:off x="3855362" y="3709709"/>
                <a:ext cx="1472503" cy="1321253"/>
                <a:chOff x="3855362" y="3709709"/>
                <a:chExt cx="1472503" cy="1321253"/>
              </a:xfrm>
            </p:grpSpPr>
            <p:sp>
              <p:nvSpPr>
                <p:cNvPr id="88" name="Freeform 87"/>
                <p:cNvSpPr/>
                <p:nvPr/>
              </p:nvSpPr>
              <p:spPr>
                <a:xfrm rot="10800000">
                  <a:off x="3855362" y="3709709"/>
                  <a:ext cx="1472503" cy="1321253"/>
                </a:xfrm>
                <a:custGeom>
                  <a:avLst/>
                  <a:gdLst>
                    <a:gd name="connsiteX0" fmla="*/ 642814 w 1338229"/>
                    <a:gd name="connsiteY0" fmla="*/ 1200539 h 1200772"/>
                    <a:gd name="connsiteX1" fmla="*/ 512934 w 1338229"/>
                    <a:gd name="connsiteY1" fmla="*/ 1042965 h 1200772"/>
                    <a:gd name="connsiteX2" fmla="*/ 539343 w 1338229"/>
                    <a:gd name="connsiteY2" fmla="*/ 978607 h 1200772"/>
                    <a:gd name="connsiteX3" fmla="*/ 537488 w 1338229"/>
                    <a:gd name="connsiteY3" fmla="*/ 974206 h 1200772"/>
                    <a:gd name="connsiteX4" fmla="*/ 256480 w 1338229"/>
                    <a:gd name="connsiteY4" fmla="*/ 974206 h 1200772"/>
                    <a:gd name="connsiteX5" fmla="*/ 230560 w 1338229"/>
                    <a:gd name="connsiteY5" fmla="*/ 852902 h 1200772"/>
                    <a:gd name="connsiteX6" fmla="*/ 82300 w 1338229"/>
                    <a:gd name="connsiteY6" fmla="*/ 392961 h 1200772"/>
                    <a:gd name="connsiteX7" fmla="*/ 0 w 1338229"/>
                    <a:gd name="connsiteY7" fmla="*/ 215254 h 1200772"/>
                    <a:gd name="connsiteX8" fmla="*/ 200267 w 1338229"/>
                    <a:gd name="connsiteY8" fmla="*/ 215254 h 1200772"/>
                    <a:gd name="connsiteX9" fmla="*/ 199795 w 1338229"/>
                    <a:gd name="connsiteY9" fmla="*/ 198056 h 1200772"/>
                    <a:gd name="connsiteX10" fmla="*/ 179133 w 1338229"/>
                    <a:gd name="connsiteY10" fmla="*/ 162835 h 1200772"/>
                    <a:gd name="connsiteX11" fmla="*/ 322594 w 1338229"/>
                    <a:gd name="connsiteY11" fmla="*/ 233 h 1200772"/>
                    <a:gd name="connsiteX12" fmla="*/ 452474 w 1338229"/>
                    <a:gd name="connsiteY12" fmla="*/ 157807 h 1200772"/>
                    <a:gd name="connsiteX13" fmla="*/ 431232 w 1338229"/>
                    <a:gd name="connsiteY13" fmla="*/ 191780 h 1200772"/>
                    <a:gd name="connsiteX14" fmla="*/ 427240 w 1338229"/>
                    <a:gd name="connsiteY14" fmla="*/ 215254 h 1200772"/>
                    <a:gd name="connsiteX15" fmla="*/ 1338229 w 1338229"/>
                    <a:gd name="connsiteY15" fmla="*/ 215254 h 1200772"/>
                    <a:gd name="connsiteX16" fmla="*/ 1250828 w 1338229"/>
                    <a:gd name="connsiteY16" fmla="*/ 419302 h 1200772"/>
                    <a:gd name="connsiteX17" fmla="*/ 1109057 w 1338229"/>
                    <a:gd name="connsiteY17" fmla="*/ 883406 h 1200772"/>
                    <a:gd name="connsiteX18" fmla="*/ 1090419 w 1338229"/>
                    <a:gd name="connsiteY18" fmla="*/ 974206 h 1200772"/>
                    <a:gd name="connsiteX19" fmla="*/ 764830 w 1338229"/>
                    <a:gd name="connsiteY19" fmla="*/ 974206 h 1200772"/>
                    <a:gd name="connsiteX20" fmla="*/ 765613 w 1338229"/>
                    <a:gd name="connsiteY20" fmla="*/ 1002717 h 1200772"/>
                    <a:gd name="connsiteX21" fmla="*/ 786275 w 1338229"/>
                    <a:gd name="connsiteY21" fmla="*/ 1037937 h 1200772"/>
                    <a:gd name="connsiteX22" fmla="*/ 642814 w 1338229"/>
                    <a:gd name="connsiteY22" fmla="*/ 1200539 h 12007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338229" h="1200772">
                      <a:moveTo>
                        <a:pt x="642814" y="1200539"/>
                      </a:moveTo>
                      <a:cubicBezTo>
                        <a:pt x="482374" y="1197466"/>
                        <a:pt x="449657" y="1118958"/>
                        <a:pt x="512934" y="1042965"/>
                      </a:cubicBezTo>
                      <a:cubicBezTo>
                        <a:pt x="532485" y="1019394"/>
                        <a:pt x="541225" y="997393"/>
                        <a:pt x="539343" y="978607"/>
                      </a:cubicBezTo>
                      <a:lnTo>
                        <a:pt x="537488" y="974206"/>
                      </a:lnTo>
                      <a:lnTo>
                        <a:pt x="256480" y="974206"/>
                      </a:lnTo>
                      <a:lnTo>
                        <a:pt x="230560" y="852902"/>
                      </a:lnTo>
                      <a:cubicBezTo>
                        <a:pt x="191655" y="696322"/>
                        <a:pt x="142156" y="541643"/>
                        <a:pt x="82300" y="392961"/>
                      </a:cubicBezTo>
                      <a:lnTo>
                        <a:pt x="0" y="215254"/>
                      </a:lnTo>
                      <a:lnTo>
                        <a:pt x="200267" y="215254"/>
                      </a:lnTo>
                      <a:lnTo>
                        <a:pt x="199795" y="198056"/>
                      </a:lnTo>
                      <a:cubicBezTo>
                        <a:pt x="196554" y="187169"/>
                        <a:pt x="190006" y="175376"/>
                        <a:pt x="179133" y="162835"/>
                      </a:cubicBezTo>
                      <a:cubicBezTo>
                        <a:pt x="83774" y="55830"/>
                        <a:pt x="208879" y="-4238"/>
                        <a:pt x="322594" y="233"/>
                      </a:cubicBezTo>
                      <a:cubicBezTo>
                        <a:pt x="483034" y="3306"/>
                        <a:pt x="515751" y="81814"/>
                        <a:pt x="452474" y="157807"/>
                      </a:cubicBezTo>
                      <a:cubicBezTo>
                        <a:pt x="442699" y="169593"/>
                        <a:pt x="435626" y="180986"/>
                        <a:pt x="431232" y="191780"/>
                      </a:cubicBezTo>
                      <a:lnTo>
                        <a:pt x="427240" y="215254"/>
                      </a:lnTo>
                      <a:lnTo>
                        <a:pt x="1338229" y="215254"/>
                      </a:lnTo>
                      <a:lnTo>
                        <a:pt x="1250828" y="419302"/>
                      </a:lnTo>
                      <a:cubicBezTo>
                        <a:pt x="1193133" y="572600"/>
                        <a:pt x="1145870" y="728599"/>
                        <a:pt x="1109057" y="883406"/>
                      </a:cubicBezTo>
                      <a:lnTo>
                        <a:pt x="1090419" y="974206"/>
                      </a:lnTo>
                      <a:lnTo>
                        <a:pt x="764830" y="974206"/>
                      </a:lnTo>
                      <a:lnTo>
                        <a:pt x="765613" y="1002717"/>
                      </a:lnTo>
                      <a:cubicBezTo>
                        <a:pt x="768854" y="1013603"/>
                        <a:pt x="775402" y="1025396"/>
                        <a:pt x="786275" y="1037937"/>
                      </a:cubicBezTo>
                      <a:cubicBezTo>
                        <a:pt x="881634" y="1144942"/>
                        <a:pt x="756529" y="1205010"/>
                        <a:pt x="642814" y="1200539"/>
                      </a:cubicBezTo>
                      <a:close/>
                    </a:path>
                  </a:pathLst>
                </a:custGeom>
                <a:solidFill>
                  <a:srgbClr val="0091DA"/>
                </a:solid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Univers for KPMG" panose="020B0603020202020204" pitchFamily="34" charset="0"/>
                    <a:cs typeface="Arial" panose="020B0604020202020204" pitchFamily="34" charset="0"/>
                  </a:endParaRPr>
                </a:p>
              </p:txBody>
            </p:sp>
            <p:grpSp>
              <p:nvGrpSpPr>
                <p:cNvPr id="89" name="Group 88"/>
                <p:cNvGrpSpPr/>
                <p:nvPr/>
              </p:nvGrpSpPr>
              <p:grpSpPr>
                <a:xfrm>
                  <a:off x="4399418" y="4214933"/>
                  <a:ext cx="345165" cy="331696"/>
                  <a:chOff x="3054685" y="1391692"/>
                  <a:chExt cx="3717124" cy="3391524"/>
                </a:xfrm>
                <a:solidFill>
                  <a:schemeClr val="bg1"/>
                </a:solidFill>
              </p:grpSpPr>
              <p:sp>
                <p:nvSpPr>
                  <p:cNvPr id="111" name="Freeform 110"/>
                  <p:cNvSpPr/>
                  <p:nvPr/>
                </p:nvSpPr>
                <p:spPr>
                  <a:xfrm>
                    <a:off x="3104526" y="1391692"/>
                    <a:ext cx="3362066" cy="3391524"/>
                  </a:xfrm>
                  <a:custGeom>
                    <a:avLst/>
                    <a:gdLst>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3197400 w 3362066"/>
                      <a:gd name="connsiteY7" fmla="*/ 1869492 h 3391524"/>
                      <a:gd name="connsiteX8" fmla="*/ 3362066 w 3362066"/>
                      <a:gd name="connsiteY8" fmla="*/ 2004799 h 3391524"/>
                      <a:gd name="connsiteX9" fmla="*/ 3357072 w 3362066"/>
                      <a:gd name="connsiteY9" fmla="*/ 2037517 h 3391524"/>
                      <a:gd name="connsiteX10" fmla="*/ 1695762 w 3362066"/>
                      <a:gd name="connsiteY10" fmla="*/ 3391524 h 3391524"/>
                      <a:gd name="connsiteX11" fmla="*/ 496678 w 3362066"/>
                      <a:gd name="connsiteY11" fmla="*/ 2894847 h 3391524"/>
                      <a:gd name="connsiteX12" fmla="*/ 402889 w 3362066"/>
                      <a:gd name="connsiteY12" fmla="*/ 2791653 h 3391524"/>
                      <a:gd name="connsiteX13" fmla="*/ 459383 w 3362066"/>
                      <a:gd name="connsiteY13" fmla="*/ 2806055 h 3391524"/>
                      <a:gd name="connsiteX14" fmla="*/ 623945 w 3362066"/>
                      <a:gd name="connsiteY14" fmla="*/ 2833135 h 3391524"/>
                      <a:gd name="connsiteX15" fmla="*/ 713228 w 3362066"/>
                      <a:gd name="connsiteY15" fmla="*/ 2840220 h 3391524"/>
                      <a:gd name="connsiteX16" fmla="*/ 814530 w 3362066"/>
                      <a:gd name="connsiteY16" fmla="*/ 2924921 h 3391524"/>
                      <a:gd name="connsiteX17" fmla="*/ 1214569 w 3362066"/>
                      <a:gd name="connsiteY17" fmla="*/ 3129900 h 3391524"/>
                      <a:gd name="connsiteX18" fmla="*/ 1235048 w 3362066"/>
                      <a:gd name="connsiteY18" fmla="*/ 3135624 h 3391524"/>
                      <a:gd name="connsiteX19" fmla="*/ 1192472 w 3362066"/>
                      <a:gd name="connsiteY19" fmla="*/ 3088942 h 3391524"/>
                      <a:gd name="connsiteX20" fmla="*/ 1054329 w 3362066"/>
                      <a:gd name="connsiteY20" fmla="*/ 2883236 h 3391524"/>
                      <a:gd name="connsiteX21" fmla="*/ 1033273 w 3362066"/>
                      <a:gd name="connsiteY21" fmla="*/ 2841425 h 3391524"/>
                      <a:gd name="connsiteX22" fmla="*/ 1153493 w 3362066"/>
                      <a:gd name="connsiteY22" fmla="*/ 2831247 h 3391524"/>
                      <a:gd name="connsiteX23" fmla="*/ 1160637 w 3362066"/>
                      <a:gd name="connsiteY23" fmla="*/ 2845425 h 3391524"/>
                      <a:gd name="connsiteX24" fmla="*/ 1469463 w 3362066"/>
                      <a:gd name="connsiteY24" fmla="*/ 3180157 h 3391524"/>
                      <a:gd name="connsiteX25" fmla="*/ 1499316 w 3362066"/>
                      <a:gd name="connsiteY25" fmla="*/ 3194679 h 3391524"/>
                      <a:gd name="connsiteX26" fmla="*/ 1514992 w 3362066"/>
                      <a:gd name="connsiteY26" fmla="*/ 3197371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053674 w 3362066"/>
                      <a:gd name="connsiteY49" fmla="*/ 1751391 h 3391524"/>
                      <a:gd name="connsiteX50" fmla="*/ 3109675 w 3362066"/>
                      <a:gd name="connsiteY50" fmla="*/ 1797408 h 3391524"/>
                      <a:gd name="connsiteX51" fmla="*/ 3000548 w 3362066"/>
                      <a:gd name="connsiteY51" fmla="*/ 1797408 h 3391524"/>
                      <a:gd name="connsiteX52" fmla="*/ 974651 w 3362066"/>
                      <a:gd name="connsiteY52" fmla="*/ 1018941 h 3391524"/>
                      <a:gd name="connsiteX53" fmla="*/ 955549 w 3362066"/>
                      <a:gd name="connsiteY53" fmla="*/ 1085530 h 3391524"/>
                      <a:gd name="connsiteX54" fmla="*/ 907564 w 3362066"/>
                      <a:gd name="connsiteY54" fmla="*/ 1378013 h 3391524"/>
                      <a:gd name="connsiteX55" fmla="*/ 895917 w 3362066"/>
                      <a:gd name="connsiteY55" fmla="*/ 1596595 h 3391524"/>
                      <a:gd name="connsiteX56" fmla="*/ 1658571 w 3362066"/>
                      <a:gd name="connsiteY56" fmla="*/ 1596595 h 3391524"/>
                      <a:gd name="connsiteX57" fmla="*/ 165857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95762 w 3362066"/>
                      <a:gd name="connsiteY80" fmla="*/ 0 h 3391524"/>
                      <a:gd name="connsiteX81" fmla="*/ 2894847 w 3362066"/>
                      <a:gd name="connsiteY81" fmla="*/ 496677 h 3391524"/>
                      <a:gd name="connsiteX82" fmla="*/ 2952732 w 3362066"/>
                      <a:gd name="connsiteY82" fmla="*/ 560367 h 3391524"/>
                      <a:gd name="connsiteX83" fmla="*/ 2763757 w 3362066"/>
                      <a:gd name="connsiteY83" fmla="*/ 627279 h 3391524"/>
                      <a:gd name="connsiteX84" fmla="*/ 2741210 w 3362066"/>
                      <a:gd name="connsiteY84" fmla="*/ 603013 h 3391524"/>
                      <a:gd name="connsiteX85" fmla="*/ 2294999 w 3362066"/>
                      <a:gd name="connsiteY85" fmla="*/ 306828 h 3391524"/>
                      <a:gd name="connsiteX86" fmla="*/ 2221829 w 3362066"/>
                      <a:gd name="connsiteY86" fmla="*/ 279343 h 3391524"/>
                      <a:gd name="connsiteX87" fmla="*/ 2236234 w 3362066"/>
                      <a:gd name="connsiteY87" fmla="*/ 295136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224756 w 3362066"/>
                      <a:gd name="connsiteY97" fmla="*/ 818129 h 3391524"/>
                      <a:gd name="connsiteX98" fmla="*/ 1991143 w 3362066"/>
                      <a:gd name="connsiteY98" fmla="*/ 900846 h 3391524"/>
                      <a:gd name="connsiteX99" fmla="*/ 2132642 w 3362066"/>
                      <a:gd name="connsiteY99" fmla="*/ 1018941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3000548 w 3362066"/>
                      <a:gd name="connsiteY51" fmla="*/ 1797408 h 3391524"/>
                      <a:gd name="connsiteX52" fmla="*/ 3109675 w 3362066"/>
                      <a:gd name="connsiteY52" fmla="*/ 1797408 h 3391524"/>
                      <a:gd name="connsiteX53" fmla="*/ 3000548 w 3362066"/>
                      <a:gd name="connsiteY53" fmla="*/ 1797408 h 3391524"/>
                      <a:gd name="connsiteX54" fmla="*/ 974651 w 3362066"/>
                      <a:gd name="connsiteY54" fmla="*/ 1018941 h 3391524"/>
                      <a:gd name="connsiteX55" fmla="*/ 955549 w 3362066"/>
                      <a:gd name="connsiteY55" fmla="*/ 1085530 h 3391524"/>
                      <a:gd name="connsiteX56" fmla="*/ 907564 w 3362066"/>
                      <a:gd name="connsiteY56" fmla="*/ 1378013 h 3391524"/>
                      <a:gd name="connsiteX57" fmla="*/ 895917 w 3362066"/>
                      <a:gd name="connsiteY57" fmla="*/ 1596595 h 3391524"/>
                      <a:gd name="connsiteX58" fmla="*/ 1658571 w 3362066"/>
                      <a:gd name="connsiteY58" fmla="*/ 1596595 h 3391524"/>
                      <a:gd name="connsiteX59" fmla="*/ 1658571 w 3362066"/>
                      <a:gd name="connsiteY59" fmla="*/ 1018941 h 3391524"/>
                      <a:gd name="connsiteX60" fmla="*/ 974651 w 3362066"/>
                      <a:gd name="connsiteY60" fmla="*/ 1018941 h 3391524"/>
                      <a:gd name="connsiteX61" fmla="*/ 344777 w 3362066"/>
                      <a:gd name="connsiteY61" fmla="*/ 1018941 h 3391524"/>
                      <a:gd name="connsiteX62" fmla="*/ 302306 w 3362066"/>
                      <a:gd name="connsiteY62" fmla="*/ 1107107 h 3391524"/>
                      <a:gd name="connsiteX63" fmla="*/ 191269 w 3362066"/>
                      <a:gd name="connsiteY63" fmla="*/ 1541138 h 3391524"/>
                      <a:gd name="connsiteX64" fmla="*/ 188469 w 3362066"/>
                      <a:gd name="connsiteY64" fmla="*/ 1596595 h 3391524"/>
                      <a:gd name="connsiteX65" fmla="*/ 783608 w 3362066"/>
                      <a:gd name="connsiteY65" fmla="*/ 1596595 h 3391524"/>
                      <a:gd name="connsiteX66" fmla="*/ 785757 w 3362066"/>
                      <a:gd name="connsiteY66" fmla="*/ 1519797 h 3391524"/>
                      <a:gd name="connsiteX67" fmla="*/ 854291 w 3362066"/>
                      <a:gd name="connsiteY67" fmla="*/ 1036313 h 3391524"/>
                      <a:gd name="connsiteX68" fmla="*/ 858928 w 3362066"/>
                      <a:gd name="connsiteY68" fmla="*/ 1018941 h 3391524"/>
                      <a:gd name="connsiteX69" fmla="*/ 344777 w 3362066"/>
                      <a:gd name="connsiteY69" fmla="*/ 1018941 h 3391524"/>
                      <a:gd name="connsiteX70" fmla="*/ 1226253 w 3362066"/>
                      <a:gd name="connsiteY70" fmla="*/ 258097 h 3391524"/>
                      <a:gd name="connsiteX71" fmla="*/ 1096526 w 3362066"/>
                      <a:gd name="connsiteY71" fmla="*/ 306828 h 3391524"/>
                      <a:gd name="connsiteX72" fmla="*/ 528798 w 3362066"/>
                      <a:gd name="connsiteY72" fmla="*/ 733798 h 3391524"/>
                      <a:gd name="connsiteX73" fmla="*/ 465736 w 3362066"/>
                      <a:gd name="connsiteY73" fmla="*/ 818129 h 3391524"/>
                      <a:gd name="connsiteX74" fmla="*/ 917471 w 3362066"/>
                      <a:gd name="connsiteY74" fmla="*/ 818129 h 3391524"/>
                      <a:gd name="connsiteX75" fmla="*/ 940351 w 3362066"/>
                      <a:gd name="connsiteY75" fmla="*/ 750159 h 3391524"/>
                      <a:gd name="connsiteX76" fmla="*/ 1192472 w 3362066"/>
                      <a:gd name="connsiteY76" fmla="*/ 295136 h 3391524"/>
                      <a:gd name="connsiteX77" fmla="*/ 1226253 w 3362066"/>
                      <a:gd name="connsiteY77" fmla="*/ 258097 h 3391524"/>
                      <a:gd name="connsiteX78" fmla="*/ 1658571 w 3362066"/>
                      <a:gd name="connsiteY78" fmla="*/ 185574 h 3391524"/>
                      <a:gd name="connsiteX79" fmla="*/ 1522109 w 3362066"/>
                      <a:gd name="connsiteY79" fmla="*/ 193323 h 3391524"/>
                      <a:gd name="connsiteX80" fmla="*/ 1475452 w 3362066"/>
                      <a:gd name="connsiteY80" fmla="*/ 201008 h 3391524"/>
                      <a:gd name="connsiteX81" fmla="*/ 1469463 w 3362066"/>
                      <a:gd name="connsiteY81" fmla="*/ 203922 h 3391524"/>
                      <a:gd name="connsiteX82" fmla="*/ 1078885 w 3362066"/>
                      <a:gd name="connsiteY82" fmla="*/ 700898 h 3391524"/>
                      <a:gd name="connsiteX83" fmla="*/ 1032553 w 3362066"/>
                      <a:gd name="connsiteY83" fmla="*/ 818129 h 3391524"/>
                      <a:gd name="connsiteX84" fmla="*/ 1658571 w 3362066"/>
                      <a:gd name="connsiteY84" fmla="*/ 818129 h 3391524"/>
                      <a:gd name="connsiteX85" fmla="*/ 1658571 w 3362066"/>
                      <a:gd name="connsiteY85" fmla="*/ 185574 h 3391524"/>
                      <a:gd name="connsiteX86" fmla="*/ 1695762 w 3362066"/>
                      <a:gd name="connsiteY86" fmla="*/ 0 h 3391524"/>
                      <a:gd name="connsiteX87" fmla="*/ 2894847 w 3362066"/>
                      <a:gd name="connsiteY87" fmla="*/ 496677 h 3391524"/>
                      <a:gd name="connsiteX88" fmla="*/ 2952732 w 3362066"/>
                      <a:gd name="connsiteY88" fmla="*/ 560367 h 3391524"/>
                      <a:gd name="connsiteX89" fmla="*/ 2763757 w 3362066"/>
                      <a:gd name="connsiteY89" fmla="*/ 627279 h 3391524"/>
                      <a:gd name="connsiteX90" fmla="*/ 2741210 w 3362066"/>
                      <a:gd name="connsiteY90" fmla="*/ 603013 h 3391524"/>
                      <a:gd name="connsiteX91" fmla="*/ 2294999 w 3362066"/>
                      <a:gd name="connsiteY91" fmla="*/ 306828 h 3391524"/>
                      <a:gd name="connsiteX92" fmla="*/ 2221829 w 3362066"/>
                      <a:gd name="connsiteY92" fmla="*/ 279343 h 3391524"/>
                      <a:gd name="connsiteX93" fmla="*/ 2236234 w 3362066"/>
                      <a:gd name="connsiteY93" fmla="*/ 295136 h 3391524"/>
                      <a:gd name="connsiteX94" fmla="*/ 2434620 w 3362066"/>
                      <a:gd name="connsiteY94" fmla="*/ 620472 h 3391524"/>
                      <a:gd name="connsiteX95" fmla="*/ 2479189 w 3362066"/>
                      <a:gd name="connsiteY95" fmla="*/ 728039 h 3391524"/>
                      <a:gd name="connsiteX96" fmla="*/ 2375112 w 3362066"/>
                      <a:gd name="connsiteY96" fmla="*/ 764890 h 3391524"/>
                      <a:gd name="connsiteX97" fmla="*/ 2349822 w 3362066"/>
                      <a:gd name="connsiteY97" fmla="*/ 700898 h 3391524"/>
                      <a:gd name="connsiteX98" fmla="*/ 2034904 w 3362066"/>
                      <a:gd name="connsiteY98" fmla="*/ 256318 h 3391524"/>
                      <a:gd name="connsiteX99" fmla="*/ 1967195 w 3362066"/>
                      <a:gd name="connsiteY99" fmla="*/ 209428 h 3391524"/>
                      <a:gd name="connsiteX100" fmla="*/ 1869416 w 3362066"/>
                      <a:gd name="connsiteY100" fmla="*/ 193323 h 3391524"/>
                      <a:gd name="connsiteX101" fmla="*/ 1732947 w 3362066"/>
                      <a:gd name="connsiteY101" fmla="*/ 185573 h 3391524"/>
                      <a:gd name="connsiteX102" fmla="*/ 1732947 w 3362066"/>
                      <a:gd name="connsiteY102" fmla="*/ 818129 h 3391524"/>
                      <a:gd name="connsiteX103" fmla="*/ 2224756 w 3362066"/>
                      <a:gd name="connsiteY103" fmla="*/ 818129 h 3391524"/>
                      <a:gd name="connsiteX104" fmla="*/ 1991143 w 3362066"/>
                      <a:gd name="connsiteY104" fmla="*/ 900846 h 3391524"/>
                      <a:gd name="connsiteX105" fmla="*/ 2132642 w 3362066"/>
                      <a:gd name="connsiteY105" fmla="*/ 1018941 h 3391524"/>
                      <a:gd name="connsiteX106" fmla="*/ 1732947 w 3362066"/>
                      <a:gd name="connsiteY106" fmla="*/ 1018941 h 3391524"/>
                      <a:gd name="connsiteX107" fmla="*/ 1732947 w 3362066"/>
                      <a:gd name="connsiteY107" fmla="*/ 1596595 h 3391524"/>
                      <a:gd name="connsiteX108" fmla="*/ 2063964 w 3362066"/>
                      <a:gd name="connsiteY108" fmla="*/ 1596595 h 3391524"/>
                      <a:gd name="connsiteX109" fmla="*/ 1924258 w 3362066"/>
                      <a:gd name="connsiteY109" fmla="*/ 1712711 h 3391524"/>
                      <a:gd name="connsiteX110" fmla="*/ 1815019 w 3362066"/>
                      <a:gd name="connsiteY110" fmla="*/ 1797408 h 3391524"/>
                      <a:gd name="connsiteX111" fmla="*/ 1732947 w 3362066"/>
                      <a:gd name="connsiteY111" fmla="*/ 1797408 h 3391524"/>
                      <a:gd name="connsiteX112" fmla="*/ 1732947 w 3362066"/>
                      <a:gd name="connsiteY112" fmla="*/ 1858449 h 3391524"/>
                      <a:gd name="connsiteX113" fmla="*/ 1658571 w 3362066"/>
                      <a:gd name="connsiteY113" fmla="*/ 1910772 h 3391524"/>
                      <a:gd name="connsiteX114" fmla="*/ 1658571 w 3362066"/>
                      <a:gd name="connsiteY114" fmla="*/ 1797408 h 3391524"/>
                      <a:gd name="connsiteX115" fmla="*/ 896447 w 3362066"/>
                      <a:gd name="connsiteY115" fmla="*/ 1797408 h 3391524"/>
                      <a:gd name="connsiteX116" fmla="*/ 907564 w 3362066"/>
                      <a:gd name="connsiteY116" fmla="*/ 2006064 h 3391524"/>
                      <a:gd name="connsiteX117" fmla="*/ 946467 w 3362066"/>
                      <a:gd name="connsiteY117" fmla="*/ 2243192 h 3391524"/>
                      <a:gd name="connsiteX118" fmla="*/ 910284 w 3362066"/>
                      <a:gd name="connsiteY118" fmla="*/ 2252024 h 3391524"/>
                      <a:gd name="connsiteX119" fmla="*/ 837993 w 3362066"/>
                      <a:gd name="connsiteY119" fmla="*/ 2260760 h 3391524"/>
                      <a:gd name="connsiteX120" fmla="*/ 810325 w 3362066"/>
                      <a:gd name="connsiteY120" fmla="*/ 2113048 h 3391524"/>
                      <a:gd name="connsiteX121" fmla="*/ 785757 w 3362066"/>
                      <a:gd name="connsiteY121" fmla="*/ 1864280 h 3391524"/>
                      <a:gd name="connsiteX122" fmla="*/ 783886 w 3362066"/>
                      <a:gd name="connsiteY122" fmla="*/ 1797408 h 3391524"/>
                      <a:gd name="connsiteX123" fmla="*/ 188594 w 3362066"/>
                      <a:gd name="connsiteY123" fmla="*/ 1797408 h 3391524"/>
                      <a:gd name="connsiteX124" fmla="*/ 191269 w 3362066"/>
                      <a:gd name="connsiteY124" fmla="*/ 1850386 h 3391524"/>
                      <a:gd name="connsiteX125" fmla="*/ 212326 w 3362066"/>
                      <a:gd name="connsiteY125" fmla="*/ 1991304 h 3391524"/>
                      <a:gd name="connsiteX126" fmla="*/ 235664 w 3362066"/>
                      <a:gd name="connsiteY126" fmla="*/ 2085719 h 3391524"/>
                      <a:gd name="connsiteX127" fmla="*/ 223447 w 3362066"/>
                      <a:gd name="connsiteY127" fmla="*/ 2076943 h 3391524"/>
                      <a:gd name="connsiteX128" fmla="*/ 65563 w 3362066"/>
                      <a:gd name="connsiteY128" fmla="*/ 1921896 h 3391524"/>
                      <a:gd name="connsiteX129" fmla="*/ 7652 w 3362066"/>
                      <a:gd name="connsiteY129" fmla="*/ 1847299 h 3391524"/>
                      <a:gd name="connsiteX130" fmla="*/ 0 w 3362066"/>
                      <a:gd name="connsiteY130" fmla="*/ 1695762 h 3391524"/>
                      <a:gd name="connsiteX131" fmla="*/ 1695762 w 3362066"/>
                      <a:gd name="connsiteY13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1991143 w 3362066"/>
                      <a:gd name="connsiteY101" fmla="*/ 900846 h 3391524"/>
                      <a:gd name="connsiteX102" fmla="*/ 2132642 w 3362066"/>
                      <a:gd name="connsiteY102" fmla="*/ 1018941 h 3391524"/>
                      <a:gd name="connsiteX103" fmla="*/ 1732947 w 3362066"/>
                      <a:gd name="connsiteY103" fmla="*/ 1018941 h 3391524"/>
                      <a:gd name="connsiteX104" fmla="*/ 1732947 w 3362066"/>
                      <a:gd name="connsiteY104" fmla="*/ 1596595 h 3391524"/>
                      <a:gd name="connsiteX105" fmla="*/ 2063964 w 3362066"/>
                      <a:gd name="connsiteY105" fmla="*/ 1596595 h 3391524"/>
                      <a:gd name="connsiteX106" fmla="*/ 1924258 w 3362066"/>
                      <a:gd name="connsiteY106" fmla="*/ 1712711 h 3391524"/>
                      <a:gd name="connsiteX107" fmla="*/ 1815019 w 3362066"/>
                      <a:gd name="connsiteY107" fmla="*/ 1797408 h 3391524"/>
                      <a:gd name="connsiteX108" fmla="*/ 1732947 w 3362066"/>
                      <a:gd name="connsiteY108" fmla="*/ 1797408 h 3391524"/>
                      <a:gd name="connsiteX109" fmla="*/ 1732947 w 3362066"/>
                      <a:gd name="connsiteY109" fmla="*/ 1858449 h 3391524"/>
                      <a:gd name="connsiteX110" fmla="*/ 1658571 w 3362066"/>
                      <a:gd name="connsiteY110" fmla="*/ 1910772 h 3391524"/>
                      <a:gd name="connsiteX111" fmla="*/ 1658571 w 3362066"/>
                      <a:gd name="connsiteY111" fmla="*/ 1797408 h 3391524"/>
                      <a:gd name="connsiteX112" fmla="*/ 896447 w 3362066"/>
                      <a:gd name="connsiteY112" fmla="*/ 1797408 h 3391524"/>
                      <a:gd name="connsiteX113" fmla="*/ 907564 w 3362066"/>
                      <a:gd name="connsiteY113" fmla="*/ 2006064 h 3391524"/>
                      <a:gd name="connsiteX114" fmla="*/ 946467 w 3362066"/>
                      <a:gd name="connsiteY114" fmla="*/ 2243192 h 3391524"/>
                      <a:gd name="connsiteX115" fmla="*/ 910284 w 3362066"/>
                      <a:gd name="connsiteY115" fmla="*/ 2252024 h 3391524"/>
                      <a:gd name="connsiteX116" fmla="*/ 837993 w 3362066"/>
                      <a:gd name="connsiteY116" fmla="*/ 2260760 h 3391524"/>
                      <a:gd name="connsiteX117" fmla="*/ 810325 w 3362066"/>
                      <a:gd name="connsiteY117" fmla="*/ 2113048 h 3391524"/>
                      <a:gd name="connsiteX118" fmla="*/ 785757 w 3362066"/>
                      <a:gd name="connsiteY118" fmla="*/ 1864280 h 3391524"/>
                      <a:gd name="connsiteX119" fmla="*/ 783886 w 3362066"/>
                      <a:gd name="connsiteY119" fmla="*/ 1797408 h 3391524"/>
                      <a:gd name="connsiteX120" fmla="*/ 188594 w 3362066"/>
                      <a:gd name="connsiteY120" fmla="*/ 1797408 h 3391524"/>
                      <a:gd name="connsiteX121" fmla="*/ 191269 w 3362066"/>
                      <a:gd name="connsiteY121" fmla="*/ 1850386 h 3391524"/>
                      <a:gd name="connsiteX122" fmla="*/ 212326 w 3362066"/>
                      <a:gd name="connsiteY122" fmla="*/ 1991304 h 3391524"/>
                      <a:gd name="connsiteX123" fmla="*/ 235664 w 3362066"/>
                      <a:gd name="connsiteY123" fmla="*/ 2085719 h 3391524"/>
                      <a:gd name="connsiteX124" fmla="*/ 223447 w 3362066"/>
                      <a:gd name="connsiteY124" fmla="*/ 2076943 h 3391524"/>
                      <a:gd name="connsiteX125" fmla="*/ 65563 w 3362066"/>
                      <a:gd name="connsiteY125" fmla="*/ 1921896 h 3391524"/>
                      <a:gd name="connsiteX126" fmla="*/ 7652 w 3362066"/>
                      <a:gd name="connsiteY126" fmla="*/ 1847299 h 3391524"/>
                      <a:gd name="connsiteX127" fmla="*/ 0 w 3362066"/>
                      <a:gd name="connsiteY127" fmla="*/ 1695762 h 3391524"/>
                      <a:gd name="connsiteX128" fmla="*/ 1695762 w 3362066"/>
                      <a:gd name="connsiteY128"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224756 w 3362066"/>
                      <a:gd name="connsiteY100" fmla="*/ 81812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2132642 w 3362066"/>
                      <a:gd name="connsiteY101" fmla="*/ 1018941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4256 w 3362066"/>
                      <a:gd name="connsiteY100" fmla="*/ 837179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04042 w 3362066"/>
                      <a:gd name="connsiteY101" fmla="*/ 1009416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236234 w 3362066"/>
                      <a:gd name="connsiteY90" fmla="*/ 295136 h 3391524"/>
                      <a:gd name="connsiteX91" fmla="*/ 2434620 w 3362066"/>
                      <a:gd name="connsiteY91" fmla="*/ 620472 h 3391524"/>
                      <a:gd name="connsiteX92" fmla="*/ 2479189 w 3362066"/>
                      <a:gd name="connsiteY92" fmla="*/ 728039 h 3391524"/>
                      <a:gd name="connsiteX93" fmla="*/ 2375112 w 3362066"/>
                      <a:gd name="connsiteY93" fmla="*/ 764890 h 3391524"/>
                      <a:gd name="connsiteX94" fmla="*/ 2349822 w 3362066"/>
                      <a:gd name="connsiteY94" fmla="*/ 700898 h 3391524"/>
                      <a:gd name="connsiteX95" fmla="*/ 2034904 w 3362066"/>
                      <a:gd name="connsiteY95" fmla="*/ 256318 h 3391524"/>
                      <a:gd name="connsiteX96" fmla="*/ 1967195 w 3362066"/>
                      <a:gd name="connsiteY96" fmla="*/ 209428 h 3391524"/>
                      <a:gd name="connsiteX97" fmla="*/ 1869416 w 3362066"/>
                      <a:gd name="connsiteY97" fmla="*/ 193323 h 3391524"/>
                      <a:gd name="connsiteX98" fmla="*/ 1732947 w 3362066"/>
                      <a:gd name="connsiteY98" fmla="*/ 185573 h 3391524"/>
                      <a:gd name="connsiteX99" fmla="*/ 1732947 w 3362066"/>
                      <a:gd name="connsiteY99" fmla="*/ 818129 h 3391524"/>
                      <a:gd name="connsiteX100" fmla="*/ 2039422 w 3362066"/>
                      <a:gd name="connsiteY100" fmla="*/ 826847 h 3391524"/>
                      <a:gd name="connsiteX101" fmla="*/ 1919541 w 3362066"/>
                      <a:gd name="connsiteY101" fmla="*/ 1019749 h 3391524"/>
                      <a:gd name="connsiteX102" fmla="*/ 1732947 w 3362066"/>
                      <a:gd name="connsiteY102" fmla="*/ 1018941 h 3391524"/>
                      <a:gd name="connsiteX103" fmla="*/ 1732947 w 3362066"/>
                      <a:gd name="connsiteY103" fmla="*/ 1596595 h 3391524"/>
                      <a:gd name="connsiteX104" fmla="*/ 2063964 w 3362066"/>
                      <a:gd name="connsiteY104" fmla="*/ 1596595 h 3391524"/>
                      <a:gd name="connsiteX105" fmla="*/ 1924258 w 3362066"/>
                      <a:gd name="connsiteY105" fmla="*/ 1712711 h 3391524"/>
                      <a:gd name="connsiteX106" fmla="*/ 1815019 w 3362066"/>
                      <a:gd name="connsiteY106" fmla="*/ 1797408 h 3391524"/>
                      <a:gd name="connsiteX107" fmla="*/ 1732947 w 3362066"/>
                      <a:gd name="connsiteY107" fmla="*/ 1797408 h 3391524"/>
                      <a:gd name="connsiteX108" fmla="*/ 1732947 w 3362066"/>
                      <a:gd name="connsiteY108" fmla="*/ 1858449 h 3391524"/>
                      <a:gd name="connsiteX109" fmla="*/ 1658571 w 3362066"/>
                      <a:gd name="connsiteY109" fmla="*/ 1910772 h 3391524"/>
                      <a:gd name="connsiteX110" fmla="*/ 1658571 w 3362066"/>
                      <a:gd name="connsiteY110" fmla="*/ 1797408 h 3391524"/>
                      <a:gd name="connsiteX111" fmla="*/ 896447 w 3362066"/>
                      <a:gd name="connsiteY111" fmla="*/ 1797408 h 3391524"/>
                      <a:gd name="connsiteX112" fmla="*/ 907564 w 3362066"/>
                      <a:gd name="connsiteY112" fmla="*/ 2006064 h 3391524"/>
                      <a:gd name="connsiteX113" fmla="*/ 946467 w 3362066"/>
                      <a:gd name="connsiteY113" fmla="*/ 2243192 h 3391524"/>
                      <a:gd name="connsiteX114" fmla="*/ 910284 w 3362066"/>
                      <a:gd name="connsiteY114" fmla="*/ 2252024 h 3391524"/>
                      <a:gd name="connsiteX115" fmla="*/ 837993 w 3362066"/>
                      <a:gd name="connsiteY115" fmla="*/ 2260760 h 3391524"/>
                      <a:gd name="connsiteX116" fmla="*/ 810325 w 3362066"/>
                      <a:gd name="connsiteY116" fmla="*/ 2113048 h 3391524"/>
                      <a:gd name="connsiteX117" fmla="*/ 785757 w 3362066"/>
                      <a:gd name="connsiteY117" fmla="*/ 1864280 h 3391524"/>
                      <a:gd name="connsiteX118" fmla="*/ 783886 w 3362066"/>
                      <a:gd name="connsiteY118" fmla="*/ 1797408 h 3391524"/>
                      <a:gd name="connsiteX119" fmla="*/ 188594 w 3362066"/>
                      <a:gd name="connsiteY119" fmla="*/ 1797408 h 3391524"/>
                      <a:gd name="connsiteX120" fmla="*/ 191269 w 3362066"/>
                      <a:gd name="connsiteY120" fmla="*/ 1850386 h 3391524"/>
                      <a:gd name="connsiteX121" fmla="*/ 212326 w 3362066"/>
                      <a:gd name="connsiteY121" fmla="*/ 1991304 h 3391524"/>
                      <a:gd name="connsiteX122" fmla="*/ 235664 w 3362066"/>
                      <a:gd name="connsiteY122" fmla="*/ 2085719 h 3391524"/>
                      <a:gd name="connsiteX123" fmla="*/ 223447 w 3362066"/>
                      <a:gd name="connsiteY123" fmla="*/ 2076943 h 3391524"/>
                      <a:gd name="connsiteX124" fmla="*/ 65563 w 3362066"/>
                      <a:gd name="connsiteY124" fmla="*/ 1921896 h 3391524"/>
                      <a:gd name="connsiteX125" fmla="*/ 7652 w 3362066"/>
                      <a:gd name="connsiteY125" fmla="*/ 1847299 h 3391524"/>
                      <a:gd name="connsiteX126" fmla="*/ 0 w 3362066"/>
                      <a:gd name="connsiteY126" fmla="*/ 1695762 h 3391524"/>
                      <a:gd name="connsiteX127" fmla="*/ 1695762 w 3362066"/>
                      <a:gd name="connsiteY127"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741210 w 3362066"/>
                      <a:gd name="connsiteY87" fmla="*/ 603013 h 3391524"/>
                      <a:gd name="connsiteX88" fmla="*/ 2294999 w 3362066"/>
                      <a:gd name="connsiteY88" fmla="*/ 306828 h 3391524"/>
                      <a:gd name="connsiteX89" fmla="*/ 2221829 w 3362066"/>
                      <a:gd name="connsiteY89" fmla="*/ 279343 h 3391524"/>
                      <a:gd name="connsiteX90" fmla="*/ 2434620 w 3362066"/>
                      <a:gd name="connsiteY90" fmla="*/ 620472 h 3391524"/>
                      <a:gd name="connsiteX91" fmla="*/ 2479189 w 3362066"/>
                      <a:gd name="connsiteY91" fmla="*/ 728039 h 3391524"/>
                      <a:gd name="connsiteX92" fmla="*/ 2375112 w 3362066"/>
                      <a:gd name="connsiteY92" fmla="*/ 764890 h 3391524"/>
                      <a:gd name="connsiteX93" fmla="*/ 2349822 w 3362066"/>
                      <a:gd name="connsiteY93" fmla="*/ 700898 h 3391524"/>
                      <a:gd name="connsiteX94" fmla="*/ 2034904 w 3362066"/>
                      <a:gd name="connsiteY94" fmla="*/ 256318 h 3391524"/>
                      <a:gd name="connsiteX95" fmla="*/ 1967195 w 3362066"/>
                      <a:gd name="connsiteY95" fmla="*/ 209428 h 3391524"/>
                      <a:gd name="connsiteX96" fmla="*/ 1869416 w 3362066"/>
                      <a:gd name="connsiteY96" fmla="*/ 193323 h 3391524"/>
                      <a:gd name="connsiteX97" fmla="*/ 1732947 w 3362066"/>
                      <a:gd name="connsiteY97" fmla="*/ 185573 h 3391524"/>
                      <a:gd name="connsiteX98" fmla="*/ 1732947 w 3362066"/>
                      <a:gd name="connsiteY98" fmla="*/ 818129 h 3391524"/>
                      <a:gd name="connsiteX99" fmla="*/ 2039422 w 3362066"/>
                      <a:gd name="connsiteY99" fmla="*/ 826847 h 3391524"/>
                      <a:gd name="connsiteX100" fmla="*/ 1919541 w 3362066"/>
                      <a:gd name="connsiteY100" fmla="*/ 1019749 h 3391524"/>
                      <a:gd name="connsiteX101" fmla="*/ 1732947 w 3362066"/>
                      <a:gd name="connsiteY101" fmla="*/ 1018941 h 3391524"/>
                      <a:gd name="connsiteX102" fmla="*/ 1732947 w 3362066"/>
                      <a:gd name="connsiteY102" fmla="*/ 1596595 h 3391524"/>
                      <a:gd name="connsiteX103" fmla="*/ 2063964 w 3362066"/>
                      <a:gd name="connsiteY103" fmla="*/ 1596595 h 3391524"/>
                      <a:gd name="connsiteX104" fmla="*/ 1924258 w 3362066"/>
                      <a:gd name="connsiteY104" fmla="*/ 1712711 h 3391524"/>
                      <a:gd name="connsiteX105" fmla="*/ 1815019 w 3362066"/>
                      <a:gd name="connsiteY105" fmla="*/ 1797408 h 3391524"/>
                      <a:gd name="connsiteX106" fmla="*/ 1732947 w 3362066"/>
                      <a:gd name="connsiteY106" fmla="*/ 1797408 h 3391524"/>
                      <a:gd name="connsiteX107" fmla="*/ 1732947 w 3362066"/>
                      <a:gd name="connsiteY107" fmla="*/ 1858449 h 3391524"/>
                      <a:gd name="connsiteX108" fmla="*/ 1658571 w 3362066"/>
                      <a:gd name="connsiteY108" fmla="*/ 1910772 h 3391524"/>
                      <a:gd name="connsiteX109" fmla="*/ 1658571 w 3362066"/>
                      <a:gd name="connsiteY109" fmla="*/ 1797408 h 3391524"/>
                      <a:gd name="connsiteX110" fmla="*/ 896447 w 3362066"/>
                      <a:gd name="connsiteY110" fmla="*/ 1797408 h 3391524"/>
                      <a:gd name="connsiteX111" fmla="*/ 907564 w 3362066"/>
                      <a:gd name="connsiteY111" fmla="*/ 2006064 h 3391524"/>
                      <a:gd name="connsiteX112" fmla="*/ 946467 w 3362066"/>
                      <a:gd name="connsiteY112" fmla="*/ 2243192 h 3391524"/>
                      <a:gd name="connsiteX113" fmla="*/ 910284 w 3362066"/>
                      <a:gd name="connsiteY113" fmla="*/ 2252024 h 3391524"/>
                      <a:gd name="connsiteX114" fmla="*/ 837993 w 3362066"/>
                      <a:gd name="connsiteY114" fmla="*/ 2260760 h 3391524"/>
                      <a:gd name="connsiteX115" fmla="*/ 810325 w 3362066"/>
                      <a:gd name="connsiteY115" fmla="*/ 2113048 h 3391524"/>
                      <a:gd name="connsiteX116" fmla="*/ 785757 w 3362066"/>
                      <a:gd name="connsiteY116" fmla="*/ 1864280 h 3391524"/>
                      <a:gd name="connsiteX117" fmla="*/ 783886 w 3362066"/>
                      <a:gd name="connsiteY117" fmla="*/ 1797408 h 3391524"/>
                      <a:gd name="connsiteX118" fmla="*/ 188594 w 3362066"/>
                      <a:gd name="connsiteY118" fmla="*/ 1797408 h 3391524"/>
                      <a:gd name="connsiteX119" fmla="*/ 191269 w 3362066"/>
                      <a:gd name="connsiteY119" fmla="*/ 1850386 h 3391524"/>
                      <a:gd name="connsiteX120" fmla="*/ 212326 w 3362066"/>
                      <a:gd name="connsiteY120" fmla="*/ 1991304 h 3391524"/>
                      <a:gd name="connsiteX121" fmla="*/ 235664 w 3362066"/>
                      <a:gd name="connsiteY121" fmla="*/ 2085719 h 3391524"/>
                      <a:gd name="connsiteX122" fmla="*/ 223447 w 3362066"/>
                      <a:gd name="connsiteY122" fmla="*/ 2076943 h 3391524"/>
                      <a:gd name="connsiteX123" fmla="*/ 65563 w 3362066"/>
                      <a:gd name="connsiteY123" fmla="*/ 1921896 h 3391524"/>
                      <a:gd name="connsiteX124" fmla="*/ 7652 w 3362066"/>
                      <a:gd name="connsiteY124" fmla="*/ 1847299 h 3391524"/>
                      <a:gd name="connsiteX125" fmla="*/ 0 w 3362066"/>
                      <a:gd name="connsiteY125" fmla="*/ 1695762 h 3391524"/>
                      <a:gd name="connsiteX126" fmla="*/ 1695762 w 3362066"/>
                      <a:gd name="connsiteY126"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910284 w 3362066"/>
                      <a:gd name="connsiteY112" fmla="*/ 2252024 h 3391524"/>
                      <a:gd name="connsiteX113" fmla="*/ 837993 w 3362066"/>
                      <a:gd name="connsiteY113" fmla="*/ 2260760 h 3391524"/>
                      <a:gd name="connsiteX114" fmla="*/ 810325 w 3362066"/>
                      <a:gd name="connsiteY114" fmla="*/ 2113048 h 3391524"/>
                      <a:gd name="connsiteX115" fmla="*/ 785757 w 3362066"/>
                      <a:gd name="connsiteY115" fmla="*/ 1864280 h 3391524"/>
                      <a:gd name="connsiteX116" fmla="*/ 783886 w 3362066"/>
                      <a:gd name="connsiteY116" fmla="*/ 1797408 h 3391524"/>
                      <a:gd name="connsiteX117" fmla="*/ 188594 w 3362066"/>
                      <a:gd name="connsiteY117" fmla="*/ 1797408 h 3391524"/>
                      <a:gd name="connsiteX118" fmla="*/ 191269 w 3362066"/>
                      <a:gd name="connsiteY118" fmla="*/ 1850386 h 3391524"/>
                      <a:gd name="connsiteX119" fmla="*/ 212326 w 3362066"/>
                      <a:gd name="connsiteY119" fmla="*/ 1991304 h 3391524"/>
                      <a:gd name="connsiteX120" fmla="*/ 235664 w 3362066"/>
                      <a:gd name="connsiteY120" fmla="*/ 2085719 h 3391524"/>
                      <a:gd name="connsiteX121" fmla="*/ 223447 w 3362066"/>
                      <a:gd name="connsiteY121" fmla="*/ 2076943 h 3391524"/>
                      <a:gd name="connsiteX122" fmla="*/ 65563 w 3362066"/>
                      <a:gd name="connsiteY122" fmla="*/ 1921896 h 3391524"/>
                      <a:gd name="connsiteX123" fmla="*/ 7652 w 3362066"/>
                      <a:gd name="connsiteY123" fmla="*/ 1847299 h 3391524"/>
                      <a:gd name="connsiteX124" fmla="*/ 0 w 3362066"/>
                      <a:gd name="connsiteY124" fmla="*/ 1695762 h 3391524"/>
                      <a:gd name="connsiteX125" fmla="*/ 1695762 w 3362066"/>
                      <a:gd name="connsiteY125"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26847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514992 w 3362066"/>
                      <a:gd name="connsiteY27" fmla="*/ 3197371 h 3391524"/>
                      <a:gd name="connsiteX28" fmla="*/ 1658571 w 3362066"/>
                      <a:gd name="connsiteY28" fmla="*/ 3205864 h 3391524"/>
                      <a:gd name="connsiteX29" fmla="*/ 1658571 w 3362066"/>
                      <a:gd name="connsiteY29" fmla="*/ 2711266 h 3391524"/>
                      <a:gd name="connsiteX30" fmla="*/ 1732947 w 3362066"/>
                      <a:gd name="connsiteY30" fmla="*/ 2685985 h 3391524"/>
                      <a:gd name="connsiteX31" fmla="*/ 1732947 w 3362066"/>
                      <a:gd name="connsiteY31" fmla="*/ 3205864 h 3391524"/>
                      <a:gd name="connsiteX32" fmla="*/ 1876534 w 3362066"/>
                      <a:gd name="connsiteY32" fmla="*/ 3197371 h 3391524"/>
                      <a:gd name="connsiteX33" fmla="*/ 1949663 w 3362066"/>
                      <a:gd name="connsiteY33" fmla="*/ 3184816 h 3391524"/>
                      <a:gd name="connsiteX34" fmla="*/ 1959242 w 3362066"/>
                      <a:gd name="connsiteY34" fmla="*/ 3180157 h 3391524"/>
                      <a:gd name="connsiteX35" fmla="*/ 2349822 w 3362066"/>
                      <a:gd name="connsiteY35" fmla="*/ 2683179 h 3391524"/>
                      <a:gd name="connsiteX36" fmla="*/ 2386352 w 3362066"/>
                      <a:gd name="connsiteY36" fmla="*/ 2590747 h 3391524"/>
                      <a:gd name="connsiteX37" fmla="*/ 1949981 w 3362066"/>
                      <a:gd name="connsiteY37" fmla="*/ 2590747 h 3391524"/>
                      <a:gd name="connsiteX38" fmla="*/ 2128828 w 3362066"/>
                      <a:gd name="connsiteY38" fmla="*/ 2495286 h 3391524"/>
                      <a:gd name="connsiteX39" fmla="*/ 2292703 w 3362066"/>
                      <a:gd name="connsiteY39" fmla="*/ 2389935 h 3391524"/>
                      <a:gd name="connsiteX40" fmla="*/ 2446941 w 3362066"/>
                      <a:gd name="connsiteY40" fmla="*/ 2389935 h 3391524"/>
                      <a:gd name="connsiteX41" fmla="*/ 2473156 w 3362066"/>
                      <a:gd name="connsiteY41" fmla="*/ 2298549 h 3391524"/>
                      <a:gd name="connsiteX42" fmla="*/ 2481168 w 3362066"/>
                      <a:gd name="connsiteY42" fmla="*/ 2249714 h 3391524"/>
                      <a:gd name="connsiteX43" fmla="*/ 2513452 w 3362066"/>
                      <a:gd name="connsiteY43" fmla="*/ 2225081 h 3391524"/>
                      <a:gd name="connsiteX44" fmla="*/ 2614348 w 3362066"/>
                      <a:gd name="connsiteY44" fmla="*/ 2134578 h 3391524"/>
                      <a:gd name="connsiteX45" fmla="*/ 2574415 w 3362066"/>
                      <a:gd name="connsiteY45" fmla="*/ 2347764 h 3391524"/>
                      <a:gd name="connsiteX46" fmla="*/ 2563159 w 3362066"/>
                      <a:gd name="connsiteY46" fmla="*/ 2389935 h 3391524"/>
                      <a:gd name="connsiteX47" fmla="*/ 3039367 w 3362066"/>
                      <a:gd name="connsiteY47" fmla="*/ 2389935 h 3391524"/>
                      <a:gd name="connsiteX48" fmla="*/ 3042618 w 3362066"/>
                      <a:gd name="connsiteY48" fmla="*/ 2384240 h 3391524"/>
                      <a:gd name="connsiteX49" fmla="*/ 3179199 w 3362066"/>
                      <a:gd name="connsiteY49" fmla="*/ 1991304 h 3391524"/>
                      <a:gd name="connsiteX50" fmla="*/ 3197400 w 3362066"/>
                      <a:gd name="connsiteY50" fmla="*/ 1869492 h 3391524"/>
                      <a:gd name="connsiteX51" fmla="*/ 974651 w 3362066"/>
                      <a:gd name="connsiteY51" fmla="*/ 1018941 h 3391524"/>
                      <a:gd name="connsiteX52" fmla="*/ 955549 w 3362066"/>
                      <a:gd name="connsiteY52" fmla="*/ 1085530 h 3391524"/>
                      <a:gd name="connsiteX53" fmla="*/ 907564 w 3362066"/>
                      <a:gd name="connsiteY53" fmla="*/ 1378013 h 3391524"/>
                      <a:gd name="connsiteX54" fmla="*/ 895917 w 3362066"/>
                      <a:gd name="connsiteY54" fmla="*/ 1596595 h 3391524"/>
                      <a:gd name="connsiteX55" fmla="*/ 1658571 w 3362066"/>
                      <a:gd name="connsiteY55" fmla="*/ 1596595 h 3391524"/>
                      <a:gd name="connsiteX56" fmla="*/ 1658571 w 3362066"/>
                      <a:gd name="connsiteY56" fmla="*/ 1018941 h 3391524"/>
                      <a:gd name="connsiteX57" fmla="*/ 974651 w 3362066"/>
                      <a:gd name="connsiteY57" fmla="*/ 1018941 h 3391524"/>
                      <a:gd name="connsiteX58" fmla="*/ 344777 w 3362066"/>
                      <a:gd name="connsiteY58" fmla="*/ 1018941 h 3391524"/>
                      <a:gd name="connsiteX59" fmla="*/ 302306 w 3362066"/>
                      <a:gd name="connsiteY59" fmla="*/ 1107107 h 3391524"/>
                      <a:gd name="connsiteX60" fmla="*/ 191269 w 3362066"/>
                      <a:gd name="connsiteY60" fmla="*/ 1541138 h 3391524"/>
                      <a:gd name="connsiteX61" fmla="*/ 188469 w 3362066"/>
                      <a:gd name="connsiteY61" fmla="*/ 1596595 h 3391524"/>
                      <a:gd name="connsiteX62" fmla="*/ 783608 w 3362066"/>
                      <a:gd name="connsiteY62" fmla="*/ 1596595 h 3391524"/>
                      <a:gd name="connsiteX63" fmla="*/ 785757 w 3362066"/>
                      <a:gd name="connsiteY63" fmla="*/ 1519797 h 3391524"/>
                      <a:gd name="connsiteX64" fmla="*/ 854291 w 3362066"/>
                      <a:gd name="connsiteY64" fmla="*/ 1036313 h 3391524"/>
                      <a:gd name="connsiteX65" fmla="*/ 858928 w 3362066"/>
                      <a:gd name="connsiteY65" fmla="*/ 1018941 h 3391524"/>
                      <a:gd name="connsiteX66" fmla="*/ 344777 w 3362066"/>
                      <a:gd name="connsiteY66" fmla="*/ 1018941 h 3391524"/>
                      <a:gd name="connsiteX67" fmla="*/ 1226253 w 3362066"/>
                      <a:gd name="connsiteY67" fmla="*/ 258097 h 3391524"/>
                      <a:gd name="connsiteX68" fmla="*/ 1096526 w 3362066"/>
                      <a:gd name="connsiteY68" fmla="*/ 306828 h 3391524"/>
                      <a:gd name="connsiteX69" fmla="*/ 528798 w 3362066"/>
                      <a:gd name="connsiteY69" fmla="*/ 733798 h 3391524"/>
                      <a:gd name="connsiteX70" fmla="*/ 465736 w 3362066"/>
                      <a:gd name="connsiteY70" fmla="*/ 818129 h 3391524"/>
                      <a:gd name="connsiteX71" fmla="*/ 917471 w 3362066"/>
                      <a:gd name="connsiteY71" fmla="*/ 818129 h 3391524"/>
                      <a:gd name="connsiteX72" fmla="*/ 940351 w 3362066"/>
                      <a:gd name="connsiteY72" fmla="*/ 750159 h 3391524"/>
                      <a:gd name="connsiteX73" fmla="*/ 1192472 w 3362066"/>
                      <a:gd name="connsiteY73" fmla="*/ 295136 h 3391524"/>
                      <a:gd name="connsiteX74" fmla="*/ 1226253 w 3362066"/>
                      <a:gd name="connsiteY74" fmla="*/ 258097 h 3391524"/>
                      <a:gd name="connsiteX75" fmla="*/ 1658571 w 3362066"/>
                      <a:gd name="connsiteY75" fmla="*/ 185574 h 3391524"/>
                      <a:gd name="connsiteX76" fmla="*/ 1522109 w 3362066"/>
                      <a:gd name="connsiteY76" fmla="*/ 193323 h 3391524"/>
                      <a:gd name="connsiteX77" fmla="*/ 1475452 w 3362066"/>
                      <a:gd name="connsiteY77" fmla="*/ 201008 h 3391524"/>
                      <a:gd name="connsiteX78" fmla="*/ 1469463 w 3362066"/>
                      <a:gd name="connsiteY78" fmla="*/ 203922 h 3391524"/>
                      <a:gd name="connsiteX79" fmla="*/ 1078885 w 3362066"/>
                      <a:gd name="connsiteY79" fmla="*/ 700898 h 3391524"/>
                      <a:gd name="connsiteX80" fmla="*/ 1032553 w 3362066"/>
                      <a:gd name="connsiteY80" fmla="*/ 818129 h 3391524"/>
                      <a:gd name="connsiteX81" fmla="*/ 1658571 w 3362066"/>
                      <a:gd name="connsiteY81" fmla="*/ 818129 h 3391524"/>
                      <a:gd name="connsiteX82" fmla="*/ 1658571 w 3362066"/>
                      <a:gd name="connsiteY82" fmla="*/ 185574 h 3391524"/>
                      <a:gd name="connsiteX83" fmla="*/ 1695762 w 3362066"/>
                      <a:gd name="connsiteY83" fmla="*/ 0 h 3391524"/>
                      <a:gd name="connsiteX84" fmla="*/ 2894847 w 3362066"/>
                      <a:gd name="connsiteY84" fmla="*/ 496677 h 3391524"/>
                      <a:gd name="connsiteX85" fmla="*/ 2952732 w 3362066"/>
                      <a:gd name="connsiteY85" fmla="*/ 560367 h 3391524"/>
                      <a:gd name="connsiteX86" fmla="*/ 2763757 w 3362066"/>
                      <a:gd name="connsiteY86" fmla="*/ 627279 h 3391524"/>
                      <a:gd name="connsiteX87" fmla="*/ 2294999 w 3362066"/>
                      <a:gd name="connsiteY87" fmla="*/ 306828 h 3391524"/>
                      <a:gd name="connsiteX88" fmla="*/ 2221829 w 3362066"/>
                      <a:gd name="connsiteY88" fmla="*/ 279343 h 3391524"/>
                      <a:gd name="connsiteX89" fmla="*/ 2434620 w 3362066"/>
                      <a:gd name="connsiteY89" fmla="*/ 620472 h 3391524"/>
                      <a:gd name="connsiteX90" fmla="*/ 2479189 w 3362066"/>
                      <a:gd name="connsiteY90" fmla="*/ 728039 h 3391524"/>
                      <a:gd name="connsiteX91" fmla="*/ 2375112 w 3362066"/>
                      <a:gd name="connsiteY91" fmla="*/ 764890 h 3391524"/>
                      <a:gd name="connsiteX92" fmla="*/ 2349822 w 3362066"/>
                      <a:gd name="connsiteY92" fmla="*/ 700898 h 3391524"/>
                      <a:gd name="connsiteX93" fmla="*/ 2034904 w 3362066"/>
                      <a:gd name="connsiteY93" fmla="*/ 256318 h 3391524"/>
                      <a:gd name="connsiteX94" fmla="*/ 1967195 w 3362066"/>
                      <a:gd name="connsiteY94" fmla="*/ 209428 h 3391524"/>
                      <a:gd name="connsiteX95" fmla="*/ 1869416 w 3362066"/>
                      <a:gd name="connsiteY95" fmla="*/ 193323 h 3391524"/>
                      <a:gd name="connsiteX96" fmla="*/ 1732947 w 3362066"/>
                      <a:gd name="connsiteY96" fmla="*/ 185573 h 3391524"/>
                      <a:gd name="connsiteX97" fmla="*/ 1732947 w 3362066"/>
                      <a:gd name="connsiteY97" fmla="*/ 818129 h 3391524"/>
                      <a:gd name="connsiteX98" fmla="*/ 2039422 w 3362066"/>
                      <a:gd name="connsiteY98" fmla="*/ 811348 h 3391524"/>
                      <a:gd name="connsiteX99" fmla="*/ 1919541 w 3362066"/>
                      <a:gd name="connsiteY99" fmla="*/ 1019749 h 3391524"/>
                      <a:gd name="connsiteX100" fmla="*/ 1732947 w 3362066"/>
                      <a:gd name="connsiteY100" fmla="*/ 1018941 h 3391524"/>
                      <a:gd name="connsiteX101" fmla="*/ 1732947 w 3362066"/>
                      <a:gd name="connsiteY101" fmla="*/ 1596595 h 3391524"/>
                      <a:gd name="connsiteX102" fmla="*/ 2063964 w 3362066"/>
                      <a:gd name="connsiteY102" fmla="*/ 1596595 h 3391524"/>
                      <a:gd name="connsiteX103" fmla="*/ 1924258 w 3362066"/>
                      <a:gd name="connsiteY103" fmla="*/ 1712711 h 3391524"/>
                      <a:gd name="connsiteX104" fmla="*/ 1815019 w 3362066"/>
                      <a:gd name="connsiteY104" fmla="*/ 1797408 h 3391524"/>
                      <a:gd name="connsiteX105" fmla="*/ 1732947 w 3362066"/>
                      <a:gd name="connsiteY105" fmla="*/ 1797408 h 3391524"/>
                      <a:gd name="connsiteX106" fmla="*/ 1732947 w 3362066"/>
                      <a:gd name="connsiteY106" fmla="*/ 1858449 h 3391524"/>
                      <a:gd name="connsiteX107" fmla="*/ 1658571 w 3362066"/>
                      <a:gd name="connsiteY107" fmla="*/ 1910772 h 3391524"/>
                      <a:gd name="connsiteX108" fmla="*/ 1658571 w 3362066"/>
                      <a:gd name="connsiteY108" fmla="*/ 1797408 h 3391524"/>
                      <a:gd name="connsiteX109" fmla="*/ 896447 w 3362066"/>
                      <a:gd name="connsiteY109" fmla="*/ 1797408 h 3391524"/>
                      <a:gd name="connsiteX110" fmla="*/ 907564 w 3362066"/>
                      <a:gd name="connsiteY110" fmla="*/ 2006064 h 3391524"/>
                      <a:gd name="connsiteX111" fmla="*/ 946467 w 3362066"/>
                      <a:gd name="connsiteY111" fmla="*/ 2243192 h 3391524"/>
                      <a:gd name="connsiteX112" fmla="*/ 837993 w 3362066"/>
                      <a:gd name="connsiteY112" fmla="*/ 2260760 h 3391524"/>
                      <a:gd name="connsiteX113" fmla="*/ 810325 w 3362066"/>
                      <a:gd name="connsiteY113" fmla="*/ 2113048 h 3391524"/>
                      <a:gd name="connsiteX114" fmla="*/ 785757 w 3362066"/>
                      <a:gd name="connsiteY114" fmla="*/ 1864280 h 3391524"/>
                      <a:gd name="connsiteX115" fmla="*/ 783886 w 3362066"/>
                      <a:gd name="connsiteY115" fmla="*/ 1797408 h 3391524"/>
                      <a:gd name="connsiteX116" fmla="*/ 188594 w 3362066"/>
                      <a:gd name="connsiteY116" fmla="*/ 1797408 h 3391524"/>
                      <a:gd name="connsiteX117" fmla="*/ 191269 w 3362066"/>
                      <a:gd name="connsiteY117" fmla="*/ 1850386 h 3391524"/>
                      <a:gd name="connsiteX118" fmla="*/ 212326 w 3362066"/>
                      <a:gd name="connsiteY118" fmla="*/ 1991304 h 3391524"/>
                      <a:gd name="connsiteX119" fmla="*/ 235664 w 3362066"/>
                      <a:gd name="connsiteY119" fmla="*/ 2085719 h 3391524"/>
                      <a:gd name="connsiteX120" fmla="*/ 223447 w 3362066"/>
                      <a:gd name="connsiteY120" fmla="*/ 2076943 h 3391524"/>
                      <a:gd name="connsiteX121" fmla="*/ 65563 w 3362066"/>
                      <a:gd name="connsiteY121" fmla="*/ 1921896 h 3391524"/>
                      <a:gd name="connsiteX122" fmla="*/ 7652 w 3362066"/>
                      <a:gd name="connsiteY122" fmla="*/ 1847299 h 3391524"/>
                      <a:gd name="connsiteX123" fmla="*/ 0 w 3362066"/>
                      <a:gd name="connsiteY123" fmla="*/ 1695762 h 3391524"/>
                      <a:gd name="connsiteX124" fmla="*/ 1695762 w 3362066"/>
                      <a:gd name="connsiteY124"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042618 w 3362066"/>
                      <a:gd name="connsiteY47" fmla="*/ 2384240 h 3391524"/>
                      <a:gd name="connsiteX48" fmla="*/ 3179199 w 3362066"/>
                      <a:gd name="connsiteY48" fmla="*/ 1991304 h 3391524"/>
                      <a:gd name="connsiteX49" fmla="*/ 3197400 w 3362066"/>
                      <a:gd name="connsiteY49" fmla="*/ 1869492 h 3391524"/>
                      <a:gd name="connsiteX50" fmla="*/ 974651 w 3362066"/>
                      <a:gd name="connsiteY50" fmla="*/ 1018941 h 3391524"/>
                      <a:gd name="connsiteX51" fmla="*/ 955549 w 3362066"/>
                      <a:gd name="connsiteY51" fmla="*/ 1085530 h 3391524"/>
                      <a:gd name="connsiteX52" fmla="*/ 907564 w 3362066"/>
                      <a:gd name="connsiteY52" fmla="*/ 1378013 h 3391524"/>
                      <a:gd name="connsiteX53" fmla="*/ 895917 w 3362066"/>
                      <a:gd name="connsiteY53" fmla="*/ 1596595 h 3391524"/>
                      <a:gd name="connsiteX54" fmla="*/ 1658571 w 3362066"/>
                      <a:gd name="connsiteY54" fmla="*/ 1596595 h 3391524"/>
                      <a:gd name="connsiteX55" fmla="*/ 1658571 w 3362066"/>
                      <a:gd name="connsiteY55" fmla="*/ 1018941 h 3391524"/>
                      <a:gd name="connsiteX56" fmla="*/ 974651 w 3362066"/>
                      <a:gd name="connsiteY56" fmla="*/ 1018941 h 3391524"/>
                      <a:gd name="connsiteX57" fmla="*/ 344777 w 3362066"/>
                      <a:gd name="connsiteY57" fmla="*/ 1018941 h 3391524"/>
                      <a:gd name="connsiteX58" fmla="*/ 302306 w 3362066"/>
                      <a:gd name="connsiteY58" fmla="*/ 1107107 h 3391524"/>
                      <a:gd name="connsiteX59" fmla="*/ 191269 w 3362066"/>
                      <a:gd name="connsiteY59" fmla="*/ 1541138 h 3391524"/>
                      <a:gd name="connsiteX60" fmla="*/ 188469 w 3362066"/>
                      <a:gd name="connsiteY60" fmla="*/ 1596595 h 3391524"/>
                      <a:gd name="connsiteX61" fmla="*/ 783608 w 3362066"/>
                      <a:gd name="connsiteY61" fmla="*/ 1596595 h 3391524"/>
                      <a:gd name="connsiteX62" fmla="*/ 785757 w 3362066"/>
                      <a:gd name="connsiteY62" fmla="*/ 1519797 h 3391524"/>
                      <a:gd name="connsiteX63" fmla="*/ 854291 w 3362066"/>
                      <a:gd name="connsiteY63" fmla="*/ 1036313 h 3391524"/>
                      <a:gd name="connsiteX64" fmla="*/ 858928 w 3362066"/>
                      <a:gd name="connsiteY64" fmla="*/ 1018941 h 3391524"/>
                      <a:gd name="connsiteX65" fmla="*/ 344777 w 3362066"/>
                      <a:gd name="connsiteY65" fmla="*/ 1018941 h 3391524"/>
                      <a:gd name="connsiteX66" fmla="*/ 1226253 w 3362066"/>
                      <a:gd name="connsiteY66" fmla="*/ 258097 h 3391524"/>
                      <a:gd name="connsiteX67" fmla="*/ 1096526 w 3362066"/>
                      <a:gd name="connsiteY67" fmla="*/ 306828 h 3391524"/>
                      <a:gd name="connsiteX68" fmla="*/ 528798 w 3362066"/>
                      <a:gd name="connsiteY68" fmla="*/ 733798 h 3391524"/>
                      <a:gd name="connsiteX69" fmla="*/ 465736 w 3362066"/>
                      <a:gd name="connsiteY69" fmla="*/ 818129 h 3391524"/>
                      <a:gd name="connsiteX70" fmla="*/ 917471 w 3362066"/>
                      <a:gd name="connsiteY70" fmla="*/ 818129 h 3391524"/>
                      <a:gd name="connsiteX71" fmla="*/ 940351 w 3362066"/>
                      <a:gd name="connsiteY71" fmla="*/ 750159 h 3391524"/>
                      <a:gd name="connsiteX72" fmla="*/ 1192472 w 3362066"/>
                      <a:gd name="connsiteY72" fmla="*/ 295136 h 3391524"/>
                      <a:gd name="connsiteX73" fmla="*/ 1226253 w 3362066"/>
                      <a:gd name="connsiteY73" fmla="*/ 258097 h 3391524"/>
                      <a:gd name="connsiteX74" fmla="*/ 1658571 w 3362066"/>
                      <a:gd name="connsiteY74" fmla="*/ 185574 h 3391524"/>
                      <a:gd name="connsiteX75" fmla="*/ 1522109 w 3362066"/>
                      <a:gd name="connsiteY75" fmla="*/ 193323 h 3391524"/>
                      <a:gd name="connsiteX76" fmla="*/ 1475452 w 3362066"/>
                      <a:gd name="connsiteY76" fmla="*/ 201008 h 3391524"/>
                      <a:gd name="connsiteX77" fmla="*/ 1469463 w 3362066"/>
                      <a:gd name="connsiteY77" fmla="*/ 203922 h 3391524"/>
                      <a:gd name="connsiteX78" fmla="*/ 1078885 w 3362066"/>
                      <a:gd name="connsiteY78" fmla="*/ 700898 h 3391524"/>
                      <a:gd name="connsiteX79" fmla="*/ 1032553 w 3362066"/>
                      <a:gd name="connsiteY79" fmla="*/ 818129 h 3391524"/>
                      <a:gd name="connsiteX80" fmla="*/ 1658571 w 3362066"/>
                      <a:gd name="connsiteY80" fmla="*/ 818129 h 3391524"/>
                      <a:gd name="connsiteX81" fmla="*/ 1658571 w 3362066"/>
                      <a:gd name="connsiteY81" fmla="*/ 185574 h 3391524"/>
                      <a:gd name="connsiteX82" fmla="*/ 1695762 w 3362066"/>
                      <a:gd name="connsiteY82" fmla="*/ 0 h 3391524"/>
                      <a:gd name="connsiteX83" fmla="*/ 2894847 w 3362066"/>
                      <a:gd name="connsiteY83" fmla="*/ 496677 h 3391524"/>
                      <a:gd name="connsiteX84" fmla="*/ 2952732 w 3362066"/>
                      <a:gd name="connsiteY84" fmla="*/ 560367 h 3391524"/>
                      <a:gd name="connsiteX85" fmla="*/ 2763757 w 3362066"/>
                      <a:gd name="connsiteY85" fmla="*/ 627279 h 3391524"/>
                      <a:gd name="connsiteX86" fmla="*/ 2294999 w 3362066"/>
                      <a:gd name="connsiteY86" fmla="*/ 306828 h 3391524"/>
                      <a:gd name="connsiteX87" fmla="*/ 2221829 w 3362066"/>
                      <a:gd name="connsiteY87" fmla="*/ 279343 h 3391524"/>
                      <a:gd name="connsiteX88" fmla="*/ 2434620 w 3362066"/>
                      <a:gd name="connsiteY88" fmla="*/ 620472 h 3391524"/>
                      <a:gd name="connsiteX89" fmla="*/ 2479189 w 3362066"/>
                      <a:gd name="connsiteY89" fmla="*/ 728039 h 3391524"/>
                      <a:gd name="connsiteX90" fmla="*/ 2375112 w 3362066"/>
                      <a:gd name="connsiteY90" fmla="*/ 764890 h 3391524"/>
                      <a:gd name="connsiteX91" fmla="*/ 2349822 w 3362066"/>
                      <a:gd name="connsiteY91" fmla="*/ 700898 h 3391524"/>
                      <a:gd name="connsiteX92" fmla="*/ 2034904 w 3362066"/>
                      <a:gd name="connsiteY92" fmla="*/ 256318 h 3391524"/>
                      <a:gd name="connsiteX93" fmla="*/ 1967195 w 3362066"/>
                      <a:gd name="connsiteY93" fmla="*/ 209428 h 3391524"/>
                      <a:gd name="connsiteX94" fmla="*/ 1869416 w 3362066"/>
                      <a:gd name="connsiteY94" fmla="*/ 193323 h 3391524"/>
                      <a:gd name="connsiteX95" fmla="*/ 1732947 w 3362066"/>
                      <a:gd name="connsiteY95" fmla="*/ 185573 h 3391524"/>
                      <a:gd name="connsiteX96" fmla="*/ 1732947 w 3362066"/>
                      <a:gd name="connsiteY96" fmla="*/ 818129 h 3391524"/>
                      <a:gd name="connsiteX97" fmla="*/ 2039422 w 3362066"/>
                      <a:gd name="connsiteY97" fmla="*/ 811348 h 3391524"/>
                      <a:gd name="connsiteX98" fmla="*/ 1919541 w 3362066"/>
                      <a:gd name="connsiteY98" fmla="*/ 1019749 h 3391524"/>
                      <a:gd name="connsiteX99" fmla="*/ 1732947 w 3362066"/>
                      <a:gd name="connsiteY99" fmla="*/ 1018941 h 3391524"/>
                      <a:gd name="connsiteX100" fmla="*/ 1732947 w 3362066"/>
                      <a:gd name="connsiteY100" fmla="*/ 1596595 h 3391524"/>
                      <a:gd name="connsiteX101" fmla="*/ 2063964 w 3362066"/>
                      <a:gd name="connsiteY101" fmla="*/ 1596595 h 3391524"/>
                      <a:gd name="connsiteX102" fmla="*/ 1924258 w 3362066"/>
                      <a:gd name="connsiteY102" fmla="*/ 1712711 h 3391524"/>
                      <a:gd name="connsiteX103" fmla="*/ 1815019 w 3362066"/>
                      <a:gd name="connsiteY103" fmla="*/ 1797408 h 3391524"/>
                      <a:gd name="connsiteX104" fmla="*/ 1732947 w 3362066"/>
                      <a:gd name="connsiteY104" fmla="*/ 1797408 h 3391524"/>
                      <a:gd name="connsiteX105" fmla="*/ 1732947 w 3362066"/>
                      <a:gd name="connsiteY105" fmla="*/ 1858449 h 3391524"/>
                      <a:gd name="connsiteX106" fmla="*/ 1658571 w 3362066"/>
                      <a:gd name="connsiteY106" fmla="*/ 1910772 h 3391524"/>
                      <a:gd name="connsiteX107" fmla="*/ 1658571 w 3362066"/>
                      <a:gd name="connsiteY107" fmla="*/ 1797408 h 3391524"/>
                      <a:gd name="connsiteX108" fmla="*/ 896447 w 3362066"/>
                      <a:gd name="connsiteY108" fmla="*/ 1797408 h 3391524"/>
                      <a:gd name="connsiteX109" fmla="*/ 907564 w 3362066"/>
                      <a:gd name="connsiteY109" fmla="*/ 2006064 h 3391524"/>
                      <a:gd name="connsiteX110" fmla="*/ 946467 w 3362066"/>
                      <a:gd name="connsiteY110" fmla="*/ 2243192 h 3391524"/>
                      <a:gd name="connsiteX111" fmla="*/ 837993 w 3362066"/>
                      <a:gd name="connsiteY111" fmla="*/ 2260760 h 3391524"/>
                      <a:gd name="connsiteX112" fmla="*/ 810325 w 3362066"/>
                      <a:gd name="connsiteY112" fmla="*/ 2113048 h 3391524"/>
                      <a:gd name="connsiteX113" fmla="*/ 785757 w 3362066"/>
                      <a:gd name="connsiteY113" fmla="*/ 1864280 h 3391524"/>
                      <a:gd name="connsiteX114" fmla="*/ 783886 w 3362066"/>
                      <a:gd name="connsiteY114" fmla="*/ 1797408 h 3391524"/>
                      <a:gd name="connsiteX115" fmla="*/ 188594 w 3362066"/>
                      <a:gd name="connsiteY115" fmla="*/ 1797408 h 3391524"/>
                      <a:gd name="connsiteX116" fmla="*/ 191269 w 3362066"/>
                      <a:gd name="connsiteY116" fmla="*/ 1850386 h 3391524"/>
                      <a:gd name="connsiteX117" fmla="*/ 212326 w 3362066"/>
                      <a:gd name="connsiteY117" fmla="*/ 1991304 h 3391524"/>
                      <a:gd name="connsiteX118" fmla="*/ 235664 w 3362066"/>
                      <a:gd name="connsiteY118" fmla="*/ 2085719 h 3391524"/>
                      <a:gd name="connsiteX119" fmla="*/ 223447 w 3362066"/>
                      <a:gd name="connsiteY119" fmla="*/ 2076943 h 3391524"/>
                      <a:gd name="connsiteX120" fmla="*/ 65563 w 3362066"/>
                      <a:gd name="connsiteY120" fmla="*/ 1921896 h 3391524"/>
                      <a:gd name="connsiteX121" fmla="*/ 7652 w 3362066"/>
                      <a:gd name="connsiteY121" fmla="*/ 1847299 h 3391524"/>
                      <a:gd name="connsiteX122" fmla="*/ 0 w 3362066"/>
                      <a:gd name="connsiteY122" fmla="*/ 1695762 h 3391524"/>
                      <a:gd name="connsiteX123" fmla="*/ 1695762 w 3362066"/>
                      <a:gd name="connsiteY123"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837993 w 3362066"/>
                      <a:gd name="connsiteY110" fmla="*/ 2260760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810325 w 3362066"/>
                      <a:gd name="connsiteY111" fmla="*/ 2113048 h 3391524"/>
                      <a:gd name="connsiteX112" fmla="*/ 785757 w 3362066"/>
                      <a:gd name="connsiteY112" fmla="*/ 1864280 h 3391524"/>
                      <a:gd name="connsiteX113" fmla="*/ 783886 w 3362066"/>
                      <a:gd name="connsiteY113" fmla="*/ 1797408 h 3391524"/>
                      <a:gd name="connsiteX114" fmla="*/ 188594 w 3362066"/>
                      <a:gd name="connsiteY114" fmla="*/ 1797408 h 3391524"/>
                      <a:gd name="connsiteX115" fmla="*/ 191269 w 3362066"/>
                      <a:gd name="connsiteY115" fmla="*/ 1850386 h 3391524"/>
                      <a:gd name="connsiteX116" fmla="*/ 212326 w 3362066"/>
                      <a:gd name="connsiteY116" fmla="*/ 1991304 h 3391524"/>
                      <a:gd name="connsiteX117" fmla="*/ 235664 w 3362066"/>
                      <a:gd name="connsiteY117" fmla="*/ 2085719 h 3391524"/>
                      <a:gd name="connsiteX118" fmla="*/ 223447 w 3362066"/>
                      <a:gd name="connsiteY118" fmla="*/ 2076943 h 3391524"/>
                      <a:gd name="connsiteX119" fmla="*/ 65563 w 3362066"/>
                      <a:gd name="connsiteY119" fmla="*/ 1921896 h 3391524"/>
                      <a:gd name="connsiteX120" fmla="*/ 7652 w 3362066"/>
                      <a:gd name="connsiteY120" fmla="*/ 1847299 h 3391524"/>
                      <a:gd name="connsiteX121" fmla="*/ 0 w 3362066"/>
                      <a:gd name="connsiteY121" fmla="*/ 1695762 h 3391524"/>
                      <a:gd name="connsiteX122" fmla="*/ 1695762 w 3362066"/>
                      <a:gd name="connsiteY122"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65667 w 3362066"/>
                      <a:gd name="connsiteY110" fmla="*/ 2265926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46467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7564 w 3362066"/>
                      <a:gd name="connsiteY108" fmla="*/ 2006064 h 3391524"/>
                      <a:gd name="connsiteX109" fmla="*/ 910304 w 3362066"/>
                      <a:gd name="connsiteY109" fmla="*/ 2243192 h 3391524"/>
                      <a:gd name="connsiteX110" fmla="*/ 791497 w 3362066"/>
                      <a:gd name="connsiteY110" fmla="*/ 2271092 h 3391524"/>
                      <a:gd name="connsiteX111" fmla="*/ 785757 w 3362066"/>
                      <a:gd name="connsiteY111" fmla="*/ 1864280 h 3391524"/>
                      <a:gd name="connsiteX112" fmla="*/ 783886 w 3362066"/>
                      <a:gd name="connsiteY112" fmla="*/ 1797408 h 3391524"/>
                      <a:gd name="connsiteX113" fmla="*/ 188594 w 3362066"/>
                      <a:gd name="connsiteY113" fmla="*/ 1797408 h 3391524"/>
                      <a:gd name="connsiteX114" fmla="*/ 191269 w 3362066"/>
                      <a:gd name="connsiteY114" fmla="*/ 1850386 h 3391524"/>
                      <a:gd name="connsiteX115" fmla="*/ 212326 w 3362066"/>
                      <a:gd name="connsiteY115" fmla="*/ 1991304 h 3391524"/>
                      <a:gd name="connsiteX116" fmla="*/ 235664 w 3362066"/>
                      <a:gd name="connsiteY116" fmla="*/ 2085719 h 3391524"/>
                      <a:gd name="connsiteX117" fmla="*/ 223447 w 3362066"/>
                      <a:gd name="connsiteY117" fmla="*/ 2076943 h 3391524"/>
                      <a:gd name="connsiteX118" fmla="*/ 65563 w 3362066"/>
                      <a:gd name="connsiteY118" fmla="*/ 1921896 h 3391524"/>
                      <a:gd name="connsiteX119" fmla="*/ 7652 w 3362066"/>
                      <a:gd name="connsiteY119" fmla="*/ 1847299 h 3391524"/>
                      <a:gd name="connsiteX120" fmla="*/ 0 w 3362066"/>
                      <a:gd name="connsiteY120" fmla="*/ 1695762 h 3391524"/>
                      <a:gd name="connsiteX121" fmla="*/ 1695762 w 3362066"/>
                      <a:gd name="connsiteY121"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91497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0304 w 3362066"/>
                      <a:gd name="connsiteY108" fmla="*/ 2243192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5757 w 3362066"/>
                      <a:gd name="connsiteY110" fmla="*/ 1864280 h 3391524"/>
                      <a:gd name="connsiteX111" fmla="*/ 783886 w 3362066"/>
                      <a:gd name="connsiteY111" fmla="*/ 1797408 h 3391524"/>
                      <a:gd name="connsiteX112" fmla="*/ 188594 w 3362066"/>
                      <a:gd name="connsiteY112" fmla="*/ 1797408 h 3391524"/>
                      <a:gd name="connsiteX113" fmla="*/ 191269 w 3362066"/>
                      <a:gd name="connsiteY113" fmla="*/ 1850386 h 3391524"/>
                      <a:gd name="connsiteX114" fmla="*/ 212326 w 3362066"/>
                      <a:gd name="connsiteY114" fmla="*/ 1991304 h 3391524"/>
                      <a:gd name="connsiteX115" fmla="*/ 235664 w 3362066"/>
                      <a:gd name="connsiteY115" fmla="*/ 2085719 h 3391524"/>
                      <a:gd name="connsiteX116" fmla="*/ 223447 w 3362066"/>
                      <a:gd name="connsiteY116" fmla="*/ 2076943 h 3391524"/>
                      <a:gd name="connsiteX117" fmla="*/ 65563 w 3362066"/>
                      <a:gd name="connsiteY117" fmla="*/ 1921896 h 3391524"/>
                      <a:gd name="connsiteX118" fmla="*/ 7652 w 3362066"/>
                      <a:gd name="connsiteY118" fmla="*/ 1847299 h 3391524"/>
                      <a:gd name="connsiteX119" fmla="*/ 0 w 3362066"/>
                      <a:gd name="connsiteY119" fmla="*/ 1695762 h 3391524"/>
                      <a:gd name="connsiteX120" fmla="*/ 1695762 w 3362066"/>
                      <a:gd name="connsiteY120"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15470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 name="connsiteX0" fmla="*/ 2502887 w 3362066"/>
                      <a:gd name="connsiteY0" fmla="*/ 2590747 h 3391524"/>
                      <a:gd name="connsiteX1" fmla="*/ 2488354 w 3362066"/>
                      <a:gd name="connsiteY1" fmla="*/ 2633919 h 3391524"/>
                      <a:gd name="connsiteX2" fmla="*/ 2236234 w 3362066"/>
                      <a:gd name="connsiteY2" fmla="*/ 3088942 h 3391524"/>
                      <a:gd name="connsiteX3" fmla="*/ 2211102 w 3362066"/>
                      <a:gd name="connsiteY3" fmla="*/ 3116497 h 3391524"/>
                      <a:gd name="connsiteX4" fmla="*/ 2317868 w 3362066"/>
                      <a:gd name="connsiteY4" fmla="*/ 3074590 h 3391524"/>
                      <a:gd name="connsiteX5" fmla="*/ 2896651 w 3362066"/>
                      <a:gd name="connsiteY5" fmla="*/ 2615085 h 3391524"/>
                      <a:gd name="connsiteX6" fmla="*/ 2913629 w 3362066"/>
                      <a:gd name="connsiteY6" fmla="*/ 2590747 h 3391524"/>
                      <a:gd name="connsiteX7" fmla="*/ 2502887 w 3362066"/>
                      <a:gd name="connsiteY7" fmla="*/ 2590747 h 3391524"/>
                      <a:gd name="connsiteX8" fmla="*/ 3197400 w 3362066"/>
                      <a:gd name="connsiteY8" fmla="*/ 1869492 h 3391524"/>
                      <a:gd name="connsiteX9" fmla="*/ 3362066 w 3362066"/>
                      <a:gd name="connsiteY9" fmla="*/ 2004799 h 3391524"/>
                      <a:gd name="connsiteX10" fmla="*/ 3357072 w 3362066"/>
                      <a:gd name="connsiteY10" fmla="*/ 2037517 h 3391524"/>
                      <a:gd name="connsiteX11" fmla="*/ 1695762 w 3362066"/>
                      <a:gd name="connsiteY11" fmla="*/ 3391524 h 3391524"/>
                      <a:gd name="connsiteX12" fmla="*/ 496678 w 3362066"/>
                      <a:gd name="connsiteY12" fmla="*/ 2894847 h 3391524"/>
                      <a:gd name="connsiteX13" fmla="*/ 402889 w 3362066"/>
                      <a:gd name="connsiteY13" fmla="*/ 2791653 h 3391524"/>
                      <a:gd name="connsiteX14" fmla="*/ 459383 w 3362066"/>
                      <a:gd name="connsiteY14" fmla="*/ 2806055 h 3391524"/>
                      <a:gd name="connsiteX15" fmla="*/ 623945 w 3362066"/>
                      <a:gd name="connsiteY15" fmla="*/ 2833135 h 3391524"/>
                      <a:gd name="connsiteX16" fmla="*/ 713228 w 3362066"/>
                      <a:gd name="connsiteY16" fmla="*/ 2840220 h 3391524"/>
                      <a:gd name="connsiteX17" fmla="*/ 814530 w 3362066"/>
                      <a:gd name="connsiteY17" fmla="*/ 2924921 h 3391524"/>
                      <a:gd name="connsiteX18" fmla="*/ 1214569 w 3362066"/>
                      <a:gd name="connsiteY18" fmla="*/ 3129900 h 3391524"/>
                      <a:gd name="connsiteX19" fmla="*/ 1235048 w 3362066"/>
                      <a:gd name="connsiteY19" fmla="*/ 3135624 h 3391524"/>
                      <a:gd name="connsiteX20" fmla="*/ 1192472 w 3362066"/>
                      <a:gd name="connsiteY20" fmla="*/ 3088942 h 3391524"/>
                      <a:gd name="connsiteX21" fmla="*/ 1054329 w 3362066"/>
                      <a:gd name="connsiteY21" fmla="*/ 2883236 h 3391524"/>
                      <a:gd name="connsiteX22" fmla="*/ 1033273 w 3362066"/>
                      <a:gd name="connsiteY22" fmla="*/ 2841425 h 3391524"/>
                      <a:gd name="connsiteX23" fmla="*/ 1153493 w 3362066"/>
                      <a:gd name="connsiteY23" fmla="*/ 2831247 h 3391524"/>
                      <a:gd name="connsiteX24" fmla="*/ 1160637 w 3362066"/>
                      <a:gd name="connsiteY24" fmla="*/ 2845425 h 3391524"/>
                      <a:gd name="connsiteX25" fmla="*/ 1469463 w 3362066"/>
                      <a:gd name="connsiteY25" fmla="*/ 3180157 h 3391524"/>
                      <a:gd name="connsiteX26" fmla="*/ 1499316 w 3362066"/>
                      <a:gd name="connsiteY26" fmla="*/ 3194679 h 3391524"/>
                      <a:gd name="connsiteX27" fmla="*/ 1658571 w 3362066"/>
                      <a:gd name="connsiteY27" fmla="*/ 3205864 h 3391524"/>
                      <a:gd name="connsiteX28" fmla="*/ 1658571 w 3362066"/>
                      <a:gd name="connsiteY28" fmla="*/ 2711266 h 3391524"/>
                      <a:gd name="connsiteX29" fmla="*/ 1732947 w 3362066"/>
                      <a:gd name="connsiteY29" fmla="*/ 2685985 h 3391524"/>
                      <a:gd name="connsiteX30" fmla="*/ 1732947 w 3362066"/>
                      <a:gd name="connsiteY30" fmla="*/ 3205864 h 3391524"/>
                      <a:gd name="connsiteX31" fmla="*/ 1876534 w 3362066"/>
                      <a:gd name="connsiteY31" fmla="*/ 3197371 h 3391524"/>
                      <a:gd name="connsiteX32" fmla="*/ 1949663 w 3362066"/>
                      <a:gd name="connsiteY32" fmla="*/ 3184816 h 3391524"/>
                      <a:gd name="connsiteX33" fmla="*/ 1959242 w 3362066"/>
                      <a:gd name="connsiteY33" fmla="*/ 3180157 h 3391524"/>
                      <a:gd name="connsiteX34" fmla="*/ 2349822 w 3362066"/>
                      <a:gd name="connsiteY34" fmla="*/ 2683179 h 3391524"/>
                      <a:gd name="connsiteX35" fmla="*/ 2386352 w 3362066"/>
                      <a:gd name="connsiteY35" fmla="*/ 2590747 h 3391524"/>
                      <a:gd name="connsiteX36" fmla="*/ 1949981 w 3362066"/>
                      <a:gd name="connsiteY36" fmla="*/ 2590747 h 3391524"/>
                      <a:gd name="connsiteX37" fmla="*/ 2128828 w 3362066"/>
                      <a:gd name="connsiteY37" fmla="*/ 2495286 h 3391524"/>
                      <a:gd name="connsiteX38" fmla="*/ 2292703 w 3362066"/>
                      <a:gd name="connsiteY38" fmla="*/ 2389935 h 3391524"/>
                      <a:gd name="connsiteX39" fmla="*/ 2446941 w 3362066"/>
                      <a:gd name="connsiteY39" fmla="*/ 2389935 h 3391524"/>
                      <a:gd name="connsiteX40" fmla="*/ 2473156 w 3362066"/>
                      <a:gd name="connsiteY40" fmla="*/ 2298549 h 3391524"/>
                      <a:gd name="connsiteX41" fmla="*/ 2481168 w 3362066"/>
                      <a:gd name="connsiteY41" fmla="*/ 2249714 h 3391524"/>
                      <a:gd name="connsiteX42" fmla="*/ 2513452 w 3362066"/>
                      <a:gd name="connsiteY42" fmla="*/ 2225081 h 3391524"/>
                      <a:gd name="connsiteX43" fmla="*/ 2614348 w 3362066"/>
                      <a:gd name="connsiteY43" fmla="*/ 2134578 h 3391524"/>
                      <a:gd name="connsiteX44" fmla="*/ 2574415 w 3362066"/>
                      <a:gd name="connsiteY44" fmla="*/ 2347764 h 3391524"/>
                      <a:gd name="connsiteX45" fmla="*/ 2563159 w 3362066"/>
                      <a:gd name="connsiteY45" fmla="*/ 2389935 h 3391524"/>
                      <a:gd name="connsiteX46" fmla="*/ 3039367 w 3362066"/>
                      <a:gd name="connsiteY46" fmla="*/ 2389935 h 3391524"/>
                      <a:gd name="connsiteX47" fmla="*/ 3179199 w 3362066"/>
                      <a:gd name="connsiteY47" fmla="*/ 1991304 h 3391524"/>
                      <a:gd name="connsiteX48" fmla="*/ 3197400 w 3362066"/>
                      <a:gd name="connsiteY48" fmla="*/ 1869492 h 3391524"/>
                      <a:gd name="connsiteX49" fmla="*/ 974651 w 3362066"/>
                      <a:gd name="connsiteY49" fmla="*/ 1018941 h 3391524"/>
                      <a:gd name="connsiteX50" fmla="*/ 955549 w 3362066"/>
                      <a:gd name="connsiteY50" fmla="*/ 1085530 h 3391524"/>
                      <a:gd name="connsiteX51" fmla="*/ 907564 w 3362066"/>
                      <a:gd name="connsiteY51" fmla="*/ 1378013 h 3391524"/>
                      <a:gd name="connsiteX52" fmla="*/ 895917 w 3362066"/>
                      <a:gd name="connsiteY52" fmla="*/ 1596595 h 3391524"/>
                      <a:gd name="connsiteX53" fmla="*/ 1658571 w 3362066"/>
                      <a:gd name="connsiteY53" fmla="*/ 1596595 h 3391524"/>
                      <a:gd name="connsiteX54" fmla="*/ 1658571 w 3362066"/>
                      <a:gd name="connsiteY54" fmla="*/ 1018941 h 3391524"/>
                      <a:gd name="connsiteX55" fmla="*/ 974651 w 3362066"/>
                      <a:gd name="connsiteY55" fmla="*/ 1018941 h 3391524"/>
                      <a:gd name="connsiteX56" fmla="*/ 344777 w 3362066"/>
                      <a:gd name="connsiteY56" fmla="*/ 1018941 h 3391524"/>
                      <a:gd name="connsiteX57" fmla="*/ 302306 w 3362066"/>
                      <a:gd name="connsiteY57" fmla="*/ 1107107 h 3391524"/>
                      <a:gd name="connsiteX58" fmla="*/ 191269 w 3362066"/>
                      <a:gd name="connsiteY58" fmla="*/ 1541138 h 3391524"/>
                      <a:gd name="connsiteX59" fmla="*/ 188469 w 3362066"/>
                      <a:gd name="connsiteY59" fmla="*/ 1596595 h 3391524"/>
                      <a:gd name="connsiteX60" fmla="*/ 783608 w 3362066"/>
                      <a:gd name="connsiteY60" fmla="*/ 1596595 h 3391524"/>
                      <a:gd name="connsiteX61" fmla="*/ 785757 w 3362066"/>
                      <a:gd name="connsiteY61" fmla="*/ 1519797 h 3391524"/>
                      <a:gd name="connsiteX62" fmla="*/ 854291 w 3362066"/>
                      <a:gd name="connsiteY62" fmla="*/ 1036313 h 3391524"/>
                      <a:gd name="connsiteX63" fmla="*/ 858928 w 3362066"/>
                      <a:gd name="connsiteY63" fmla="*/ 1018941 h 3391524"/>
                      <a:gd name="connsiteX64" fmla="*/ 344777 w 3362066"/>
                      <a:gd name="connsiteY64" fmla="*/ 1018941 h 3391524"/>
                      <a:gd name="connsiteX65" fmla="*/ 1226253 w 3362066"/>
                      <a:gd name="connsiteY65" fmla="*/ 258097 h 3391524"/>
                      <a:gd name="connsiteX66" fmla="*/ 1096526 w 3362066"/>
                      <a:gd name="connsiteY66" fmla="*/ 306828 h 3391524"/>
                      <a:gd name="connsiteX67" fmla="*/ 528798 w 3362066"/>
                      <a:gd name="connsiteY67" fmla="*/ 733798 h 3391524"/>
                      <a:gd name="connsiteX68" fmla="*/ 465736 w 3362066"/>
                      <a:gd name="connsiteY68" fmla="*/ 818129 h 3391524"/>
                      <a:gd name="connsiteX69" fmla="*/ 917471 w 3362066"/>
                      <a:gd name="connsiteY69" fmla="*/ 818129 h 3391524"/>
                      <a:gd name="connsiteX70" fmla="*/ 940351 w 3362066"/>
                      <a:gd name="connsiteY70" fmla="*/ 750159 h 3391524"/>
                      <a:gd name="connsiteX71" fmla="*/ 1192472 w 3362066"/>
                      <a:gd name="connsiteY71" fmla="*/ 295136 h 3391524"/>
                      <a:gd name="connsiteX72" fmla="*/ 1226253 w 3362066"/>
                      <a:gd name="connsiteY72" fmla="*/ 258097 h 3391524"/>
                      <a:gd name="connsiteX73" fmla="*/ 1658571 w 3362066"/>
                      <a:gd name="connsiteY73" fmla="*/ 185574 h 3391524"/>
                      <a:gd name="connsiteX74" fmla="*/ 1522109 w 3362066"/>
                      <a:gd name="connsiteY74" fmla="*/ 193323 h 3391524"/>
                      <a:gd name="connsiteX75" fmla="*/ 1475452 w 3362066"/>
                      <a:gd name="connsiteY75" fmla="*/ 201008 h 3391524"/>
                      <a:gd name="connsiteX76" fmla="*/ 1469463 w 3362066"/>
                      <a:gd name="connsiteY76" fmla="*/ 203922 h 3391524"/>
                      <a:gd name="connsiteX77" fmla="*/ 1078885 w 3362066"/>
                      <a:gd name="connsiteY77" fmla="*/ 700898 h 3391524"/>
                      <a:gd name="connsiteX78" fmla="*/ 1032553 w 3362066"/>
                      <a:gd name="connsiteY78" fmla="*/ 818129 h 3391524"/>
                      <a:gd name="connsiteX79" fmla="*/ 1658571 w 3362066"/>
                      <a:gd name="connsiteY79" fmla="*/ 818129 h 3391524"/>
                      <a:gd name="connsiteX80" fmla="*/ 1658571 w 3362066"/>
                      <a:gd name="connsiteY80" fmla="*/ 185574 h 3391524"/>
                      <a:gd name="connsiteX81" fmla="*/ 1695762 w 3362066"/>
                      <a:gd name="connsiteY81" fmla="*/ 0 h 3391524"/>
                      <a:gd name="connsiteX82" fmla="*/ 2894847 w 3362066"/>
                      <a:gd name="connsiteY82" fmla="*/ 496677 h 3391524"/>
                      <a:gd name="connsiteX83" fmla="*/ 2952732 w 3362066"/>
                      <a:gd name="connsiteY83" fmla="*/ 560367 h 3391524"/>
                      <a:gd name="connsiteX84" fmla="*/ 2763757 w 3362066"/>
                      <a:gd name="connsiteY84" fmla="*/ 627279 h 3391524"/>
                      <a:gd name="connsiteX85" fmla="*/ 2294999 w 3362066"/>
                      <a:gd name="connsiteY85" fmla="*/ 306828 h 3391524"/>
                      <a:gd name="connsiteX86" fmla="*/ 2221829 w 3362066"/>
                      <a:gd name="connsiteY86" fmla="*/ 279343 h 3391524"/>
                      <a:gd name="connsiteX87" fmla="*/ 2434620 w 3362066"/>
                      <a:gd name="connsiteY87" fmla="*/ 620472 h 3391524"/>
                      <a:gd name="connsiteX88" fmla="*/ 2479189 w 3362066"/>
                      <a:gd name="connsiteY88" fmla="*/ 728039 h 3391524"/>
                      <a:gd name="connsiteX89" fmla="*/ 2375112 w 3362066"/>
                      <a:gd name="connsiteY89" fmla="*/ 764890 h 3391524"/>
                      <a:gd name="connsiteX90" fmla="*/ 2349822 w 3362066"/>
                      <a:gd name="connsiteY90" fmla="*/ 700898 h 3391524"/>
                      <a:gd name="connsiteX91" fmla="*/ 2034904 w 3362066"/>
                      <a:gd name="connsiteY91" fmla="*/ 256318 h 3391524"/>
                      <a:gd name="connsiteX92" fmla="*/ 1967195 w 3362066"/>
                      <a:gd name="connsiteY92" fmla="*/ 209428 h 3391524"/>
                      <a:gd name="connsiteX93" fmla="*/ 1869416 w 3362066"/>
                      <a:gd name="connsiteY93" fmla="*/ 193323 h 3391524"/>
                      <a:gd name="connsiteX94" fmla="*/ 1732947 w 3362066"/>
                      <a:gd name="connsiteY94" fmla="*/ 185573 h 3391524"/>
                      <a:gd name="connsiteX95" fmla="*/ 1732947 w 3362066"/>
                      <a:gd name="connsiteY95" fmla="*/ 818129 h 3391524"/>
                      <a:gd name="connsiteX96" fmla="*/ 2039422 w 3362066"/>
                      <a:gd name="connsiteY96" fmla="*/ 811348 h 3391524"/>
                      <a:gd name="connsiteX97" fmla="*/ 1919541 w 3362066"/>
                      <a:gd name="connsiteY97" fmla="*/ 1019749 h 3391524"/>
                      <a:gd name="connsiteX98" fmla="*/ 1732947 w 3362066"/>
                      <a:gd name="connsiteY98" fmla="*/ 1018941 h 3391524"/>
                      <a:gd name="connsiteX99" fmla="*/ 1732947 w 3362066"/>
                      <a:gd name="connsiteY99" fmla="*/ 1596595 h 3391524"/>
                      <a:gd name="connsiteX100" fmla="*/ 2063964 w 3362066"/>
                      <a:gd name="connsiteY100" fmla="*/ 1596595 h 3391524"/>
                      <a:gd name="connsiteX101" fmla="*/ 1924258 w 3362066"/>
                      <a:gd name="connsiteY101" fmla="*/ 1712711 h 3391524"/>
                      <a:gd name="connsiteX102" fmla="*/ 1815019 w 3362066"/>
                      <a:gd name="connsiteY102" fmla="*/ 1797408 h 3391524"/>
                      <a:gd name="connsiteX103" fmla="*/ 1732947 w 3362066"/>
                      <a:gd name="connsiteY103" fmla="*/ 1797408 h 3391524"/>
                      <a:gd name="connsiteX104" fmla="*/ 1732947 w 3362066"/>
                      <a:gd name="connsiteY104" fmla="*/ 1858449 h 3391524"/>
                      <a:gd name="connsiteX105" fmla="*/ 1658571 w 3362066"/>
                      <a:gd name="connsiteY105" fmla="*/ 1910772 h 3391524"/>
                      <a:gd name="connsiteX106" fmla="*/ 1658571 w 3362066"/>
                      <a:gd name="connsiteY106" fmla="*/ 1797408 h 3391524"/>
                      <a:gd name="connsiteX107" fmla="*/ 896447 w 3362066"/>
                      <a:gd name="connsiteY107" fmla="*/ 1797408 h 3391524"/>
                      <a:gd name="connsiteX108" fmla="*/ 905138 w 3362066"/>
                      <a:gd name="connsiteY108" fmla="*/ 2263856 h 3391524"/>
                      <a:gd name="connsiteX109" fmla="*/ 786331 w 3362066"/>
                      <a:gd name="connsiteY109" fmla="*/ 2271092 h 3391524"/>
                      <a:gd name="connsiteX110" fmla="*/ 783886 w 3362066"/>
                      <a:gd name="connsiteY110" fmla="*/ 1797408 h 3391524"/>
                      <a:gd name="connsiteX111" fmla="*/ 188594 w 3362066"/>
                      <a:gd name="connsiteY111" fmla="*/ 1797408 h 3391524"/>
                      <a:gd name="connsiteX112" fmla="*/ 191269 w 3362066"/>
                      <a:gd name="connsiteY112" fmla="*/ 1850386 h 3391524"/>
                      <a:gd name="connsiteX113" fmla="*/ 212326 w 3362066"/>
                      <a:gd name="connsiteY113" fmla="*/ 1991304 h 3391524"/>
                      <a:gd name="connsiteX114" fmla="*/ 235664 w 3362066"/>
                      <a:gd name="connsiteY114" fmla="*/ 2085719 h 3391524"/>
                      <a:gd name="connsiteX115" fmla="*/ 223447 w 3362066"/>
                      <a:gd name="connsiteY115" fmla="*/ 2076943 h 3391524"/>
                      <a:gd name="connsiteX116" fmla="*/ 65563 w 3362066"/>
                      <a:gd name="connsiteY116" fmla="*/ 1921896 h 3391524"/>
                      <a:gd name="connsiteX117" fmla="*/ 7652 w 3362066"/>
                      <a:gd name="connsiteY117" fmla="*/ 1847299 h 3391524"/>
                      <a:gd name="connsiteX118" fmla="*/ 0 w 3362066"/>
                      <a:gd name="connsiteY118" fmla="*/ 1695762 h 3391524"/>
                      <a:gd name="connsiteX119" fmla="*/ 1695762 w 3362066"/>
                      <a:gd name="connsiteY119" fmla="*/ 0 h 3391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Lst>
                    <a:rect l="l" t="t" r="r" b="b"/>
                    <a:pathLst>
                      <a:path w="3362066" h="3391524">
                        <a:moveTo>
                          <a:pt x="2502887" y="2590747"/>
                        </a:moveTo>
                        <a:lnTo>
                          <a:pt x="2488354" y="2633919"/>
                        </a:lnTo>
                        <a:cubicBezTo>
                          <a:pt x="2421258" y="2813162"/>
                          <a:pt x="2335549" y="2967848"/>
                          <a:pt x="2236234" y="3088942"/>
                        </a:cubicBezTo>
                        <a:lnTo>
                          <a:pt x="2211102" y="3116497"/>
                        </a:lnTo>
                        <a:lnTo>
                          <a:pt x="2317868" y="3074590"/>
                        </a:lnTo>
                        <a:cubicBezTo>
                          <a:pt x="2546872" y="2971105"/>
                          <a:pt x="2745492" y="2812245"/>
                          <a:pt x="2896651" y="2615085"/>
                        </a:cubicBezTo>
                        <a:lnTo>
                          <a:pt x="2913629" y="2590747"/>
                        </a:lnTo>
                        <a:lnTo>
                          <a:pt x="2502887" y="2590747"/>
                        </a:lnTo>
                        <a:close/>
                        <a:moveTo>
                          <a:pt x="3197400" y="1869492"/>
                        </a:moveTo>
                        <a:lnTo>
                          <a:pt x="3362066" y="2004799"/>
                        </a:lnTo>
                        <a:lnTo>
                          <a:pt x="3357072" y="2037517"/>
                        </a:lnTo>
                        <a:cubicBezTo>
                          <a:pt x="3198949" y="2810247"/>
                          <a:pt x="2515237" y="3391524"/>
                          <a:pt x="1695762" y="3391524"/>
                        </a:cubicBezTo>
                        <a:cubicBezTo>
                          <a:pt x="1227491" y="3391524"/>
                          <a:pt x="803550" y="3201719"/>
                          <a:pt x="496678" y="2894847"/>
                        </a:cubicBezTo>
                        <a:lnTo>
                          <a:pt x="402889" y="2791653"/>
                        </a:lnTo>
                        <a:lnTo>
                          <a:pt x="459383" y="2806055"/>
                        </a:lnTo>
                        <a:cubicBezTo>
                          <a:pt x="512766" y="2817216"/>
                          <a:pt x="567687" y="2826291"/>
                          <a:pt x="623945" y="2833135"/>
                        </a:cubicBezTo>
                        <a:lnTo>
                          <a:pt x="713228" y="2840220"/>
                        </a:lnTo>
                        <a:lnTo>
                          <a:pt x="814530" y="2924921"/>
                        </a:lnTo>
                        <a:cubicBezTo>
                          <a:pt x="935708" y="3011953"/>
                          <a:pt x="1070284" y="3081509"/>
                          <a:pt x="1214569" y="3129900"/>
                        </a:cubicBezTo>
                        <a:lnTo>
                          <a:pt x="1235048" y="3135624"/>
                        </a:lnTo>
                        <a:lnTo>
                          <a:pt x="1192472" y="3088942"/>
                        </a:lnTo>
                        <a:cubicBezTo>
                          <a:pt x="1142814" y="3028395"/>
                          <a:pt x="1096558" y="2959450"/>
                          <a:pt x="1054329" y="2883236"/>
                        </a:cubicBezTo>
                        <a:lnTo>
                          <a:pt x="1033273" y="2841425"/>
                        </a:lnTo>
                        <a:lnTo>
                          <a:pt x="1153493" y="2831247"/>
                        </a:lnTo>
                        <a:lnTo>
                          <a:pt x="1160637" y="2845425"/>
                        </a:lnTo>
                        <a:cubicBezTo>
                          <a:pt x="1248385" y="2996325"/>
                          <a:pt x="1353422" y="3111867"/>
                          <a:pt x="1469463" y="3180157"/>
                        </a:cubicBezTo>
                        <a:lnTo>
                          <a:pt x="1499316" y="3194679"/>
                        </a:lnTo>
                        <a:lnTo>
                          <a:pt x="1658571" y="3205864"/>
                        </a:lnTo>
                        <a:lnTo>
                          <a:pt x="1658571" y="2711266"/>
                        </a:lnTo>
                        <a:lnTo>
                          <a:pt x="1732947" y="2685985"/>
                        </a:lnTo>
                        <a:lnTo>
                          <a:pt x="1732947" y="3205864"/>
                        </a:lnTo>
                        <a:lnTo>
                          <a:pt x="1876534" y="3197371"/>
                        </a:lnTo>
                        <a:lnTo>
                          <a:pt x="1949663" y="3184816"/>
                        </a:lnTo>
                        <a:lnTo>
                          <a:pt x="1959242" y="3180157"/>
                        </a:lnTo>
                        <a:cubicBezTo>
                          <a:pt x="2113964" y="3089103"/>
                          <a:pt x="2249123" y="2914046"/>
                          <a:pt x="2349822" y="2683179"/>
                        </a:cubicBezTo>
                        <a:lnTo>
                          <a:pt x="2386352" y="2590747"/>
                        </a:lnTo>
                        <a:lnTo>
                          <a:pt x="1949981" y="2590747"/>
                        </a:lnTo>
                        <a:lnTo>
                          <a:pt x="2128828" y="2495286"/>
                        </a:lnTo>
                        <a:lnTo>
                          <a:pt x="2292703" y="2389935"/>
                        </a:lnTo>
                        <a:lnTo>
                          <a:pt x="2446941" y="2389935"/>
                        </a:lnTo>
                        <a:lnTo>
                          <a:pt x="2473156" y="2298549"/>
                        </a:lnTo>
                        <a:lnTo>
                          <a:pt x="2481168" y="2249714"/>
                        </a:lnTo>
                        <a:lnTo>
                          <a:pt x="2513452" y="2225081"/>
                        </a:lnTo>
                        <a:lnTo>
                          <a:pt x="2614348" y="2134578"/>
                        </a:lnTo>
                        <a:lnTo>
                          <a:pt x="2574415" y="2347764"/>
                        </a:lnTo>
                        <a:lnTo>
                          <a:pt x="2563159" y="2389935"/>
                        </a:lnTo>
                        <a:lnTo>
                          <a:pt x="3039367" y="2389935"/>
                        </a:lnTo>
                        <a:cubicBezTo>
                          <a:pt x="3142805" y="2251892"/>
                          <a:pt x="3153252" y="2129347"/>
                          <a:pt x="3179199" y="1991304"/>
                        </a:cubicBezTo>
                        <a:lnTo>
                          <a:pt x="3197400" y="1869492"/>
                        </a:lnTo>
                        <a:close/>
                        <a:moveTo>
                          <a:pt x="974651" y="1018941"/>
                        </a:moveTo>
                        <a:lnTo>
                          <a:pt x="955549" y="1085530"/>
                        </a:lnTo>
                        <a:cubicBezTo>
                          <a:pt x="934712" y="1178738"/>
                          <a:pt x="918533" y="1276581"/>
                          <a:pt x="907564" y="1378013"/>
                        </a:cubicBezTo>
                        <a:lnTo>
                          <a:pt x="895917" y="1596595"/>
                        </a:lnTo>
                        <a:lnTo>
                          <a:pt x="1658571" y="1596595"/>
                        </a:lnTo>
                        <a:lnTo>
                          <a:pt x="1658571" y="1018941"/>
                        </a:lnTo>
                        <a:lnTo>
                          <a:pt x="974651" y="1018941"/>
                        </a:lnTo>
                        <a:close/>
                        <a:moveTo>
                          <a:pt x="344777" y="1018941"/>
                        </a:moveTo>
                        <a:lnTo>
                          <a:pt x="302306" y="1107107"/>
                        </a:lnTo>
                        <a:cubicBezTo>
                          <a:pt x="244911" y="1242803"/>
                          <a:pt x="206758" y="1388621"/>
                          <a:pt x="191269" y="1541138"/>
                        </a:cubicBezTo>
                        <a:lnTo>
                          <a:pt x="188469" y="1596595"/>
                        </a:lnTo>
                        <a:lnTo>
                          <a:pt x="783608" y="1596595"/>
                        </a:lnTo>
                        <a:cubicBezTo>
                          <a:pt x="784324" y="1570996"/>
                          <a:pt x="785041" y="1545396"/>
                          <a:pt x="785757" y="1519797"/>
                        </a:cubicBezTo>
                        <a:cubicBezTo>
                          <a:pt x="795318" y="1349903"/>
                          <a:pt x="818865" y="1187471"/>
                          <a:pt x="854291" y="1036313"/>
                        </a:cubicBezTo>
                        <a:lnTo>
                          <a:pt x="858928" y="1018941"/>
                        </a:lnTo>
                        <a:lnTo>
                          <a:pt x="344777" y="1018941"/>
                        </a:lnTo>
                        <a:close/>
                        <a:moveTo>
                          <a:pt x="1226253" y="258097"/>
                        </a:moveTo>
                        <a:lnTo>
                          <a:pt x="1096526" y="306828"/>
                        </a:lnTo>
                        <a:cubicBezTo>
                          <a:pt x="874766" y="402633"/>
                          <a:pt x="680488" y="549991"/>
                          <a:pt x="528798" y="733798"/>
                        </a:cubicBezTo>
                        <a:lnTo>
                          <a:pt x="465736" y="818129"/>
                        </a:lnTo>
                        <a:lnTo>
                          <a:pt x="917471" y="818129"/>
                        </a:lnTo>
                        <a:lnTo>
                          <a:pt x="940351" y="750159"/>
                        </a:lnTo>
                        <a:cubicBezTo>
                          <a:pt x="1007447" y="570915"/>
                          <a:pt x="1093156" y="416230"/>
                          <a:pt x="1192472" y="295136"/>
                        </a:cubicBezTo>
                        <a:lnTo>
                          <a:pt x="1226253" y="258097"/>
                        </a:lnTo>
                        <a:close/>
                        <a:moveTo>
                          <a:pt x="1658571" y="185574"/>
                        </a:moveTo>
                        <a:lnTo>
                          <a:pt x="1522109" y="193323"/>
                        </a:lnTo>
                        <a:lnTo>
                          <a:pt x="1475452" y="201008"/>
                        </a:lnTo>
                        <a:lnTo>
                          <a:pt x="1469463" y="203922"/>
                        </a:lnTo>
                        <a:cubicBezTo>
                          <a:pt x="1314742" y="294976"/>
                          <a:pt x="1179582" y="470033"/>
                          <a:pt x="1078885" y="700898"/>
                        </a:cubicBezTo>
                        <a:lnTo>
                          <a:pt x="1032553" y="818129"/>
                        </a:lnTo>
                        <a:lnTo>
                          <a:pt x="1658571" y="818129"/>
                        </a:lnTo>
                        <a:lnTo>
                          <a:pt x="1658571" y="185574"/>
                        </a:lnTo>
                        <a:close/>
                        <a:moveTo>
                          <a:pt x="1695762" y="0"/>
                        </a:moveTo>
                        <a:cubicBezTo>
                          <a:pt x="2164034" y="0"/>
                          <a:pt x="2587974" y="189805"/>
                          <a:pt x="2894847" y="496677"/>
                        </a:cubicBezTo>
                        <a:lnTo>
                          <a:pt x="2952732" y="560367"/>
                        </a:lnTo>
                        <a:lnTo>
                          <a:pt x="2763757" y="627279"/>
                        </a:lnTo>
                        <a:lnTo>
                          <a:pt x="2294999" y="306828"/>
                        </a:lnTo>
                        <a:lnTo>
                          <a:pt x="2221829" y="279343"/>
                        </a:lnTo>
                        <a:lnTo>
                          <a:pt x="2434620" y="620472"/>
                        </a:lnTo>
                        <a:lnTo>
                          <a:pt x="2479189" y="728039"/>
                        </a:lnTo>
                        <a:lnTo>
                          <a:pt x="2375112" y="764890"/>
                        </a:lnTo>
                        <a:lnTo>
                          <a:pt x="2349822" y="700898"/>
                        </a:lnTo>
                        <a:cubicBezTo>
                          <a:pt x="2265907" y="508510"/>
                          <a:pt x="2158060" y="354878"/>
                          <a:pt x="2034904" y="256318"/>
                        </a:cubicBezTo>
                        <a:lnTo>
                          <a:pt x="1967195" y="209428"/>
                        </a:lnTo>
                        <a:lnTo>
                          <a:pt x="1869416" y="193323"/>
                        </a:lnTo>
                        <a:lnTo>
                          <a:pt x="1732947" y="185573"/>
                        </a:lnTo>
                        <a:lnTo>
                          <a:pt x="1732947" y="818129"/>
                        </a:lnTo>
                        <a:lnTo>
                          <a:pt x="2039422" y="811348"/>
                        </a:lnTo>
                        <a:lnTo>
                          <a:pt x="1919541" y="1019749"/>
                        </a:lnTo>
                        <a:lnTo>
                          <a:pt x="1732947" y="1018941"/>
                        </a:lnTo>
                        <a:lnTo>
                          <a:pt x="1732947" y="1596595"/>
                        </a:lnTo>
                        <a:lnTo>
                          <a:pt x="2063964" y="1596595"/>
                        </a:lnTo>
                        <a:lnTo>
                          <a:pt x="1924258" y="1712711"/>
                        </a:lnTo>
                        <a:lnTo>
                          <a:pt x="1815019" y="1797408"/>
                        </a:lnTo>
                        <a:lnTo>
                          <a:pt x="1732947" y="1797408"/>
                        </a:lnTo>
                        <a:lnTo>
                          <a:pt x="1732947" y="1858449"/>
                        </a:lnTo>
                        <a:lnTo>
                          <a:pt x="1658571" y="1910772"/>
                        </a:lnTo>
                        <a:lnTo>
                          <a:pt x="1658571" y="1797408"/>
                        </a:lnTo>
                        <a:lnTo>
                          <a:pt x="896447" y="1797408"/>
                        </a:lnTo>
                        <a:cubicBezTo>
                          <a:pt x="890557" y="2011190"/>
                          <a:pt x="896799" y="1993764"/>
                          <a:pt x="905138" y="2263856"/>
                        </a:cubicBezTo>
                        <a:lnTo>
                          <a:pt x="786331" y="2271092"/>
                        </a:lnTo>
                        <a:cubicBezTo>
                          <a:pt x="795397" y="2095195"/>
                          <a:pt x="785353" y="2041670"/>
                          <a:pt x="783886" y="1797408"/>
                        </a:cubicBezTo>
                        <a:lnTo>
                          <a:pt x="188594" y="1797408"/>
                        </a:lnTo>
                        <a:lnTo>
                          <a:pt x="191269" y="1850386"/>
                        </a:lnTo>
                        <a:cubicBezTo>
                          <a:pt x="196110" y="1898048"/>
                          <a:pt x="203163" y="1945056"/>
                          <a:pt x="212326" y="1991304"/>
                        </a:cubicBezTo>
                        <a:lnTo>
                          <a:pt x="235664" y="2085719"/>
                        </a:lnTo>
                        <a:lnTo>
                          <a:pt x="223447" y="2076943"/>
                        </a:lnTo>
                        <a:cubicBezTo>
                          <a:pt x="169529" y="2033757"/>
                          <a:pt x="116809" y="1982344"/>
                          <a:pt x="65563" y="1921896"/>
                        </a:cubicBezTo>
                        <a:lnTo>
                          <a:pt x="7652" y="1847299"/>
                        </a:lnTo>
                        <a:lnTo>
                          <a:pt x="0" y="1695762"/>
                        </a:lnTo>
                        <a:cubicBezTo>
                          <a:pt x="0" y="759219"/>
                          <a:pt x="759219" y="0"/>
                          <a:pt x="1695762" y="0"/>
                        </a:cubicBezTo>
                        <a:close/>
                      </a:path>
                    </a:pathLst>
                  </a:cu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Univers for KPMG" panose="020B0603020202020204" pitchFamily="34" charset="0"/>
                      <a:cs typeface="Arial" panose="020B0604020202020204" pitchFamily="34" charset="0"/>
                    </a:endParaRPr>
                  </a:p>
                </p:txBody>
              </p:sp>
              <p:sp>
                <p:nvSpPr>
                  <p:cNvPr id="112" name="Freeform 111"/>
                  <p:cNvSpPr/>
                  <p:nvPr/>
                </p:nvSpPr>
                <p:spPr>
                  <a:xfrm rot="4481485">
                    <a:off x="4177149" y="1285502"/>
                    <a:ext cx="1472196" cy="3717124"/>
                  </a:xfrm>
                  <a:custGeom>
                    <a:avLst/>
                    <a:gdLst>
                      <a:gd name="connsiteX0" fmla="*/ 0 w 1479755"/>
                      <a:gd name="connsiteY0" fmla="*/ 0 h 3714855"/>
                      <a:gd name="connsiteX1" fmla="*/ 1188936 w 1479755"/>
                      <a:gd name="connsiteY1" fmla="*/ 331910 h 3714855"/>
                      <a:gd name="connsiteX2" fmla="*/ 864813 w 1479755"/>
                      <a:gd name="connsiteY2" fmla="*/ 589079 h 3714855"/>
                      <a:gd name="connsiteX3" fmla="*/ 1050997 w 1479755"/>
                      <a:gd name="connsiteY3" fmla="*/ 925282 h 3714855"/>
                      <a:gd name="connsiteX4" fmla="*/ 1050747 w 1479755"/>
                      <a:gd name="connsiteY4" fmla="*/ 3592169 h 3714855"/>
                      <a:gd name="connsiteX5" fmla="*/ 592836 w 1479755"/>
                      <a:gd name="connsiteY5" fmla="*/ 3713710 h 3714855"/>
                      <a:gd name="connsiteX6" fmla="*/ 485076 w 1479755"/>
                      <a:gd name="connsiteY6" fmla="*/ 951998 h 3714855"/>
                      <a:gd name="connsiteX7" fmla="*/ 463706 w 1479755"/>
                      <a:gd name="connsiteY7" fmla="*/ 907329 h 3714855"/>
                      <a:gd name="connsiteX8" fmla="*/ 88282 w 1479755"/>
                      <a:gd name="connsiteY8" fmla="*/ 1205202 h 3714855"/>
                      <a:gd name="connsiteX0" fmla="*/ 0 w 1479755"/>
                      <a:gd name="connsiteY0" fmla="*/ 0 h 3718276"/>
                      <a:gd name="connsiteX1" fmla="*/ 1188936 w 1479755"/>
                      <a:gd name="connsiteY1" fmla="*/ 331910 h 3718276"/>
                      <a:gd name="connsiteX2" fmla="*/ 864813 w 1479755"/>
                      <a:gd name="connsiteY2" fmla="*/ 589079 h 3718276"/>
                      <a:gd name="connsiteX3" fmla="*/ 1050997 w 1479755"/>
                      <a:gd name="connsiteY3" fmla="*/ 925282 h 3718276"/>
                      <a:gd name="connsiteX4" fmla="*/ 1050747 w 1479755"/>
                      <a:gd name="connsiteY4" fmla="*/ 3592169 h 3718276"/>
                      <a:gd name="connsiteX5" fmla="*/ 592836 w 1479755"/>
                      <a:gd name="connsiteY5" fmla="*/ 3713710 h 3718276"/>
                      <a:gd name="connsiteX6" fmla="*/ 485076 w 1479755"/>
                      <a:gd name="connsiteY6" fmla="*/ 951998 h 3718276"/>
                      <a:gd name="connsiteX7" fmla="*/ 463706 w 1479755"/>
                      <a:gd name="connsiteY7" fmla="*/ 907329 h 3718276"/>
                      <a:gd name="connsiteX8" fmla="*/ 88282 w 1479755"/>
                      <a:gd name="connsiteY8" fmla="*/ 1205202 h 3718276"/>
                      <a:gd name="connsiteX9" fmla="*/ 0 w 1479755"/>
                      <a:gd name="connsiteY9" fmla="*/ 0 h 3718276"/>
                      <a:gd name="connsiteX0" fmla="*/ 0 w 1479755"/>
                      <a:gd name="connsiteY0" fmla="*/ 0 h 3725513"/>
                      <a:gd name="connsiteX1" fmla="*/ 1188936 w 1479755"/>
                      <a:gd name="connsiteY1" fmla="*/ 331910 h 3725513"/>
                      <a:gd name="connsiteX2" fmla="*/ 864813 w 1479755"/>
                      <a:gd name="connsiteY2" fmla="*/ 589079 h 3725513"/>
                      <a:gd name="connsiteX3" fmla="*/ 1050997 w 1479755"/>
                      <a:gd name="connsiteY3" fmla="*/ 925282 h 3725513"/>
                      <a:gd name="connsiteX4" fmla="*/ 1050747 w 1479755"/>
                      <a:gd name="connsiteY4" fmla="*/ 3592169 h 3725513"/>
                      <a:gd name="connsiteX5" fmla="*/ 592836 w 1479755"/>
                      <a:gd name="connsiteY5" fmla="*/ 3713710 h 3725513"/>
                      <a:gd name="connsiteX6" fmla="*/ 485076 w 1479755"/>
                      <a:gd name="connsiteY6" fmla="*/ 951998 h 3725513"/>
                      <a:gd name="connsiteX7" fmla="*/ 463706 w 1479755"/>
                      <a:gd name="connsiteY7" fmla="*/ 907329 h 3725513"/>
                      <a:gd name="connsiteX8" fmla="*/ 88282 w 1479755"/>
                      <a:gd name="connsiteY8" fmla="*/ 1205202 h 3725513"/>
                      <a:gd name="connsiteX9" fmla="*/ 0 w 1479755"/>
                      <a:gd name="connsiteY9" fmla="*/ 0 h 3725513"/>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9755"/>
                      <a:gd name="connsiteY0" fmla="*/ 0 h 3713710"/>
                      <a:gd name="connsiteX1" fmla="*/ 1188936 w 1479755"/>
                      <a:gd name="connsiteY1" fmla="*/ 331910 h 3713710"/>
                      <a:gd name="connsiteX2" fmla="*/ 864813 w 1479755"/>
                      <a:gd name="connsiteY2" fmla="*/ 589079 h 3713710"/>
                      <a:gd name="connsiteX3" fmla="*/ 1050997 w 1479755"/>
                      <a:gd name="connsiteY3" fmla="*/ 925282 h 3713710"/>
                      <a:gd name="connsiteX4" fmla="*/ 1050747 w 1479755"/>
                      <a:gd name="connsiteY4" fmla="*/ 3592169 h 3713710"/>
                      <a:gd name="connsiteX5" fmla="*/ 592836 w 1479755"/>
                      <a:gd name="connsiteY5" fmla="*/ 3713710 h 3713710"/>
                      <a:gd name="connsiteX6" fmla="*/ 485076 w 1479755"/>
                      <a:gd name="connsiteY6" fmla="*/ 951998 h 3713710"/>
                      <a:gd name="connsiteX7" fmla="*/ 463706 w 1479755"/>
                      <a:gd name="connsiteY7" fmla="*/ 907329 h 3713710"/>
                      <a:gd name="connsiteX8" fmla="*/ 88282 w 1479755"/>
                      <a:gd name="connsiteY8" fmla="*/ 1205202 h 3713710"/>
                      <a:gd name="connsiteX9" fmla="*/ 0 w 1479755"/>
                      <a:gd name="connsiteY9" fmla="*/ 0 h 3713710"/>
                      <a:gd name="connsiteX0" fmla="*/ 0 w 1472196"/>
                      <a:gd name="connsiteY0" fmla="*/ 0 h 3713710"/>
                      <a:gd name="connsiteX1" fmla="*/ 1188936 w 1472196"/>
                      <a:gd name="connsiteY1" fmla="*/ 331910 h 3713710"/>
                      <a:gd name="connsiteX2" fmla="*/ 864813 w 1472196"/>
                      <a:gd name="connsiteY2" fmla="*/ 589079 h 3713710"/>
                      <a:gd name="connsiteX3" fmla="*/ 1050997 w 1472196"/>
                      <a:gd name="connsiteY3" fmla="*/ 925282 h 3713710"/>
                      <a:gd name="connsiteX4" fmla="*/ 1037164 w 1472196"/>
                      <a:gd name="connsiteY4" fmla="*/ 3583093 h 3713710"/>
                      <a:gd name="connsiteX5" fmla="*/ 592836 w 1472196"/>
                      <a:gd name="connsiteY5" fmla="*/ 3713710 h 3713710"/>
                      <a:gd name="connsiteX6" fmla="*/ 485076 w 1472196"/>
                      <a:gd name="connsiteY6" fmla="*/ 951998 h 3713710"/>
                      <a:gd name="connsiteX7" fmla="*/ 463706 w 1472196"/>
                      <a:gd name="connsiteY7" fmla="*/ 907329 h 3713710"/>
                      <a:gd name="connsiteX8" fmla="*/ 88282 w 1472196"/>
                      <a:gd name="connsiteY8" fmla="*/ 1205202 h 3713710"/>
                      <a:gd name="connsiteX9" fmla="*/ 0 w 1472196"/>
                      <a:gd name="connsiteY9" fmla="*/ 0 h 3713710"/>
                      <a:gd name="connsiteX0" fmla="*/ 0 w 1472196"/>
                      <a:gd name="connsiteY0" fmla="*/ 0 h 3717124"/>
                      <a:gd name="connsiteX1" fmla="*/ 1188936 w 1472196"/>
                      <a:gd name="connsiteY1" fmla="*/ 331910 h 3717124"/>
                      <a:gd name="connsiteX2" fmla="*/ 864813 w 1472196"/>
                      <a:gd name="connsiteY2" fmla="*/ 589079 h 3717124"/>
                      <a:gd name="connsiteX3" fmla="*/ 1050997 w 1472196"/>
                      <a:gd name="connsiteY3" fmla="*/ 925282 h 3717124"/>
                      <a:gd name="connsiteX4" fmla="*/ 1037164 w 1472196"/>
                      <a:gd name="connsiteY4" fmla="*/ 3583093 h 3717124"/>
                      <a:gd name="connsiteX5" fmla="*/ 592836 w 1472196"/>
                      <a:gd name="connsiteY5" fmla="*/ 3713710 h 3717124"/>
                      <a:gd name="connsiteX6" fmla="*/ 485076 w 1472196"/>
                      <a:gd name="connsiteY6" fmla="*/ 951998 h 3717124"/>
                      <a:gd name="connsiteX7" fmla="*/ 463706 w 1472196"/>
                      <a:gd name="connsiteY7" fmla="*/ 907329 h 3717124"/>
                      <a:gd name="connsiteX8" fmla="*/ 88282 w 1472196"/>
                      <a:gd name="connsiteY8" fmla="*/ 1205202 h 3717124"/>
                      <a:gd name="connsiteX9" fmla="*/ 0 w 1472196"/>
                      <a:gd name="connsiteY9" fmla="*/ 0 h 37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72196" h="3717124">
                        <a:moveTo>
                          <a:pt x="0" y="0"/>
                        </a:moveTo>
                        <a:lnTo>
                          <a:pt x="1188936" y="331910"/>
                        </a:lnTo>
                        <a:lnTo>
                          <a:pt x="864813" y="589079"/>
                        </a:lnTo>
                        <a:lnTo>
                          <a:pt x="1050997" y="925282"/>
                        </a:lnTo>
                        <a:cubicBezTo>
                          <a:pt x="1524596" y="1867666"/>
                          <a:pt x="1699557" y="2920475"/>
                          <a:pt x="1037164" y="3583093"/>
                        </a:cubicBezTo>
                        <a:cubicBezTo>
                          <a:pt x="828853" y="3768493"/>
                          <a:pt x="723685" y="3704280"/>
                          <a:pt x="592836" y="3713710"/>
                        </a:cubicBezTo>
                        <a:cubicBezTo>
                          <a:pt x="1645275" y="3048201"/>
                          <a:pt x="875934" y="1745143"/>
                          <a:pt x="485076" y="951998"/>
                        </a:cubicBezTo>
                        <a:lnTo>
                          <a:pt x="463706" y="907329"/>
                        </a:lnTo>
                        <a:lnTo>
                          <a:pt x="88282" y="1205202"/>
                        </a:lnTo>
                        <a:lnTo>
                          <a:pt x="0" y="0"/>
                        </a:lnTo>
                        <a:close/>
                      </a:path>
                    </a:pathLst>
                  </a:custGeom>
                  <a:grpFill/>
                  <a:ln w="1905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Univers for KPMG" panose="020B0603020202020204" pitchFamily="34" charset="0"/>
                      <a:cs typeface="Arial" panose="020B0604020202020204" pitchFamily="34" charset="0"/>
                    </a:endParaRPr>
                  </a:p>
                </p:txBody>
              </p:sp>
            </p:grpSp>
          </p:grpSp>
        </p:grpSp>
      </p:grpSp>
    </p:spTree>
    <p:extLst>
      <p:ext uri="{BB962C8B-B14F-4D97-AF65-F5344CB8AC3E}">
        <p14:creationId xmlns:p14="http://schemas.microsoft.com/office/powerpoint/2010/main" val="20424440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DV_TOP" val="502.4668"/>
  <p:tag name="ADV_LEFT" val="21.45512"/>
  <p:tag name="ADV_HEIGHT" val="36"/>
  <p:tag name="ADV_WIDTH" val="714.4101"/>
  <p:tag name="ADV_COPYRIGHT"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PMG_Widescreen_16:9 02/02/2016">
  <a:themeElements>
    <a:clrScheme name="New KPMG Colours">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extLst>
    <a:ext uri="{05A4C25C-085E-4340-85A3-A5531E510DB2}">
      <thm15:themeFamily xmlns:thm15="http://schemas.microsoft.com/office/thememl/2012/main" name="KPMG Widescreen Standard Template.potx" id="{6913FBE4-5C9D-48D4-9B13-39B3B1FB023D}" vid="{6372ECA7-2E22-4698-9B67-7946B51B7E44}"/>
    </a:ext>
  </a:extLst>
</a:theme>
</file>

<file path=ppt/theme/theme2.xml><?xml version="1.0" encoding="utf-8"?>
<a:theme xmlns:a="http://schemas.openxmlformats.org/drawingml/2006/main" name="1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3.xml><?xml version="1.0" encoding="utf-8"?>
<a:theme xmlns:a="http://schemas.openxmlformats.org/drawingml/2006/main" name="2_KPMG_Widescreen_16:9 02/02/2016">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Widescreen Standard Template.potx" id="{E0B5F27A-357D-46AB-9AB7-E03BD97BC0EE}" vid="{EF09E91E-5F5B-44CD-8A6A-189306B1D8CE}"/>
    </a:ext>
  </a:extLst>
</a:theme>
</file>

<file path=ppt/theme/theme4.xml><?xml version="1.0" encoding="utf-8"?>
<a:theme xmlns:a="http://schemas.openxmlformats.org/drawingml/2006/main" name="1_KPMG_Standard_4x3_0922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Screen Standard Template.potx" id="{32F9CA8E-23B2-4F27-97D5-D13B48472974}" vid="{41B3CA61-CA54-45BF-A8CA-F3559622C17D}"/>
    </a:ext>
  </a:extLst>
</a:theme>
</file>

<file path=ppt/theme/theme5.xml><?xml version="1.0" encoding="utf-8"?>
<a:theme xmlns:a="http://schemas.openxmlformats.org/drawingml/2006/main" name="2_KPMG_Standard_4x3_0922_2015">
  <a:themeElements>
    <a:clrScheme name="New KPMG Colours">
      <a:dk1>
        <a:srgbClr val="000000"/>
      </a:dk1>
      <a:lt1>
        <a:sysClr val="window" lastClr="FFFFFF"/>
      </a:lt1>
      <a:dk2>
        <a:srgbClr val="00338D"/>
      </a:dk2>
      <a:lt2>
        <a:srgbClr val="F0F0F0"/>
      </a:lt2>
      <a:accent1>
        <a:srgbClr val="0091DA"/>
      </a:accent1>
      <a:accent2>
        <a:srgbClr val="6D2077"/>
      </a:accent2>
      <a:accent3>
        <a:srgbClr val="005EB8"/>
      </a:accent3>
      <a:accent4>
        <a:srgbClr val="00A3A1"/>
      </a:accent4>
      <a:accent5>
        <a:srgbClr val="EAAA00"/>
      </a:accent5>
      <a:accent6>
        <a:srgbClr val="43B02A"/>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610" tIns="54610" rIns="54610" bIns="54610" rtlCol="0" anchor="ctr"/>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1500" dirty="0" err="1" smtClean="0">
            <a:solidFill>
              <a:schemeClr val="tx2"/>
            </a:solidFill>
          </a:defRPr>
        </a:defPPr>
      </a:lstStyle>
    </a:txDef>
  </a:objectDefaults>
  <a:extraClrSchemeLst/>
  <a:custClrLst>
    <a:custClr name="KPMG Blue">
      <a:srgbClr val="00338D"/>
    </a:custClr>
    <a:custClr name="Medium Blue">
      <a:srgbClr val="005EB8"/>
    </a:custClr>
    <a:custClr name="Light Blue">
      <a:srgbClr val="0091DA"/>
    </a:custClr>
    <a:custClr name="Violet">
      <a:srgbClr val="483698"/>
    </a:custClr>
    <a:custClr name="Purple">
      <a:srgbClr val="470A68"/>
    </a:custClr>
    <a:custClr name="Light Purple">
      <a:srgbClr val="6D2077"/>
    </a:custClr>
    <a:custClr name="Green">
      <a:srgbClr val="00A3A1"/>
    </a:custClr>
    <a:custClr name="Dark Green">
      <a:srgbClr val="009A44"/>
    </a:custClr>
    <a:custClr name="Light Green">
      <a:srgbClr val="43B02A"/>
    </a:custClr>
    <a:custClr name="Yellow">
      <a:srgbClr val="EAAA00"/>
    </a:custClr>
    <a:custClr name="Orange">
      <a:srgbClr val="F68D2E"/>
    </a:custClr>
    <a:custClr name="Red ">
      <a:srgbClr val="BC204B"/>
    </a:custClr>
    <a:custClr name="Pink">
      <a:srgbClr val="C6007E"/>
    </a:custClr>
    <a:custClr name="Dark Brown">
      <a:srgbClr val="753F19"/>
    </a:custClr>
    <a:custClr name="Light Brown">
      <a:srgbClr val="9B642E"/>
    </a:custClr>
    <a:custClr name="Olive">
      <a:srgbClr val="9D9375"/>
    </a:custClr>
    <a:custClr name="Beige">
      <a:srgbClr val="E3BC9F"/>
    </a:custClr>
    <a:custClr name="Light Pink">
      <a:srgbClr val="E36877"/>
    </a:custClr>
  </a:custClrLst>
  <a:extLst>
    <a:ext uri="{05A4C25C-085E-4340-85A3-A5531E510DB2}">
      <thm15:themeFamily xmlns:thm15="http://schemas.microsoft.com/office/thememl/2012/main" name="KPMG Screen Standard Template.potx" id="{32F9CA8E-23B2-4F27-97D5-D13B48472974}" vid="{41B3CA61-CA54-45BF-A8CA-F3559622C17D}"/>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778</TotalTime>
  <Words>2463</Words>
  <Application>Microsoft Office PowerPoint</Application>
  <PresentationFormat>Widescreen</PresentationFormat>
  <Paragraphs>467</Paragraphs>
  <Slides>23</Slides>
  <Notes>13</Notes>
  <HiddenSlides>0</HiddenSlides>
  <MMClips>0</MMClips>
  <ScaleCrop>false</ScaleCrop>
  <HeadingPairs>
    <vt:vector size="8" baseType="variant">
      <vt:variant>
        <vt:lpstr>Fonts Used</vt:lpstr>
      </vt:variant>
      <vt:variant>
        <vt:i4>13</vt:i4>
      </vt:variant>
      <vt:variant>
        <vt:lpstr>Theme</vt:lpstr>
      </vt:variant>
      <vt:variant>
        <vt:i4>5</vt:i4>
      </vt:variant>
      <vt:variant>
        <vt:lpstr>Embedded OLE Servers</vt:lpstr>
      </vt:variant>
      <vt:variant>
        <vt:i4>1</vt:i4>
      </vt:variant>
      <vt:variant>
        <vt:lpstr>Slide Titles</vt:lpstr>
      </vt:variant>
      <vt:variant>
        <vt:i4>23</vt:i4>
      </vt:variant>
    </vt:vector>
  </HeadingPairs>
  <TitlesOfParts>
    <vt:vector size="42" baseType="lpstr">
      <vt:lpstr>Angsana New</vt:lpstr>
      <vt:lpstr>Arial</vt:lpstr>
      <vt:lpstr>Calibri</vt:lpstr>
      <vt:lpstr>Calibri Light</vt:lpstr>
      <vt:lpstr>Cambria</vt:lpstr>
      <vt:lpstr>CiscoSans Thin</vt:lpstr>
      <vt:lpstr>KPMG Extralight</vt:lpstr>
      <vt:lpstr>KPMG Light</vt:lpstr>
      <vt:lpstr>Segoe UI</vt:lpstr>
      <vt:lpstr>Times New Roman</vt:lpstr>
      <vt:lpstr>Univers for KPMG</vt:lpstr>
      <vt:lpstr>Univers for KPMG Light</vt:lpstr>
      <vt:lpstr>Wingdings</vt:lpstr>
      <vt:lpstr>KPMG_Widescreen_16:9 02/02/2016</vt:lpstr>
      <vt:lpstr>1_KPMG_Widescreen_16:9 02/02/2016</vt:lpstr>
      <vt:lpstr>2_KPMG_Widescreen_16:9 02/02/2016</vt:lpstr>
      <vt:lpstr>1_KPMG_Standard_4x3_0922_2015</vt:lpstr>
      <vt:lpstr>2_KPMG_Standard_4x3_0922_2015</vt:lpstr>
      <vt:lpstr>think-cell Slide</vt:lpstr>
      <vt:lpstr>Smart Cities- BSNL Offerings</vt:lpstr>
      <vt:lpstr>Contents</vt:lpstr>
      <vt:lpstr>India is experiencing rapid pace of urbanization with urban population expected to reach 590 Million by 2030</vt:lpstr>
      <vt:lpstr>Hence there is a need to build smart cities that are smart not only physically but also technologically</vt:lpstr>
      <vt:lpstr>Smart Cities for Urbanization: India’s Perspective</vt:lpstr>
      <vt:lpstr>Smart Cities Ecosystem: “System of Systems” and related Services</vt:lpstr>
      <vt:lpstr>The core infrastructure elements in a smart city would include… </vt:lpstr>
      <vt:lpstr>Contents</vt:lpstr>
      <vt:lpstr>BSNL – Key Highlights</vt:lpstr>
      <vt:lpstr>PowerPoint Presentation</vt:lpstr>
      <vt:lpstr>BSNL has won Smart Solution projects worth more than INR 220+ Crores</vt:lpstr>
      <vt:lpstr>PowerPoint Presentation</vt:lpstr>
      <vt:lpstr>Contents</vt:lpstr>
      <vt:lpstr>We are working on a wide number of use cases...</vt:lpstr>
      <vt:lpstr>BSNL Prestigious Engagements – Bharat Net Phase 1</vt:lpstr>
      <vt:lpstr>BSNL Prestigious Engagements – Network for Spectrum </vt:lpstr>
      <vt:lpstr>BSNL Smart City Engagements - Pune City Surveillance Project </vt:lpstr>
      <vt:lpstr>BSNL Smart City Engagements - Integrated Traffic Management, Kanpur</vt:lpstr>
      <vt:lpstr>BSNL Smart City Engagements - ICT based Solid Waste Management, 4041 ULBs, MoUD</vt:lpstr>
      <vt:lpstr>BSNL Smart City Engagements - Smart Toilets Online feedback, Municipal Authorities</vt:lpstr>
      <vt:lpstr>BSNL Smart City Engagements - Modernizing Indian Prisons, Bihar</vt:lpstr>
      <vt:lpstr>BSNL Smart City Engagements - Smart Pole in Bhagalpur, Ghazipur</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de screen template</dc:title>
  <dc:creator>Karnatak, Tanay</dc:creator>
  <cp:lastModifiedBy>Admin</cp:lastModifiedBy>
  <cp:revision>677</cp:revision>
  <dcterms:created xsi:type="dcterms:W3CDTF">2017-09-12T05:41:26Z</dcterms:created>
  <dcterms:modified xsi:type="dcterms:W3CDTF">2020-10-29T14:49:50Z</dcterms:modified>
  <cp:category>BSNL Confidential</cp:category>
</cp:coreProperties>
</file>